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1.xml" ContentType="application/vnd.openxmlformats-officedocument.presentationml.tags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2.xml" ContentType="application/vnd.openxmlformats-officedocument.theme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3.xml" ContentType="application/vnd.openxmlformats-officedocument.theme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theme/theme4.xml" ContentType="application/vnd.openxmlformats-officedocument.them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theme/theme5.xml" ContentType="application/vnd.openxmlformats-officedocument.theme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theme/theme6.xml" ContentType="application/vnd.openxmlformats-officedocument.them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theme/theme7.xml" ContentType="application/vnd.openxmlformats-officedocument.theme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theme/theme8.xml" ContentType="application/vnd.openxmlformats-officedocument.theme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443" r:id="rId4"/>
    <p:sldMasterId id="2147484049" r:id="rId5"/>
    <p:sldMasterId id="2147484084" r:id="rId6"/>
    <p:sldMasterId id="2147485946" r:id="rId7"/>
    <p:sldMasterId id="2147486388" r:id="rId8"/>
    <p:sldMasterId id="2147487294" r:id="rId9"/>
    <p:sldMasterId id="2147487359" r:id="rId10"/>
    <p:sldMasterId id="2147487393" r:id="rId11"/>
  </p:sldMasterIdLst>
  <p:notesMasterIdLst>
    <p:notesMasterId r:id="rId31"/>
  </p:notesMasterIdLst>
  <p:sldIdLst>
    <p:sldId id="282" r:id="rId12"/>
    <p:sldId id="2147483515" r:id="rId13"/>
    <p:sldId id="1119" r:id="rId14"/>
    <p:sldId id="2147483615" r:id="rId15"/>
    <p:sldId id="2147483601" r:id="rId16"/>
    <p:sldId id="266" r:id="rId17"/>
    <p:sldId id="2147483561" r:id="rId18"/>
    <p:sldId id="2147483646" r:id="rId19"/>
    <p:sldId id="257" r:id="rId20"/>
    <p:sldId id="269" r:id="rId21"/>
    <p:sldId id="295" r:id="rId22"/>
    <p:sldId id="278" r:id="rId23"/>
    <p:sldId id="2147483623" r:id="rId24"/>
    <p:sldId id="2147483647" r:id="rId25"/>
    <p:sldId id="2147483628" r:id="rId26"/>
    <p:sldId id="390" r:id="rId27"/>
    <p:sldId id="380" r:id="rId28"/>
    <p:sldId id="258" r:id="rId29"/>
    <p:sldId id="2147470711" r:id="rId30"/>
  </p:sldIdLst>
  <p:sldSz cx="12192000" cy="6858000"/>
  <p:notesSz cx="9926638" cy="6797675"/>
  <p:defaultTextStyle>
    <a:defPPr>
      <a:defRPr lang="en-CH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351A2A7-A824-4EE2-B01C-CF0A6873A51C}">
          <p14:sldIdLst>
            <p14:sldId id="282"/>
            <p14:sldId id="2147483515"/>
            <p14:sldId id="1119"/>
            <p14:sldId id="2147483615"/>
            <p14:sldId id="2147483601"/>
            <p14:sldId id="266"/>
            <p14:sldId id="2147483561"/>
            <p14:sldId id="2147483646"/>
            <p14:sldId id="257"/>
            <p14:sldId id="269"/>
            <p14:sldId id="295"/>
            <p14:sldId id="278"/>
            <p14:sldId id="2147483623"/>
            <p14:sldId id="2147483647"/>
            <p14:sldId id="2147483628"/>
            <p14:sldId id="390"/>
            <p14:sldId id="380"/>
            <p14:sldId id="258"/>
            <p14:sldId id="214747071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9051C18-F31D-6FEF-204A-253623C1DFF0}" name="Alban Pré" initials="AP" userId="S::Alban.Pre@ecaeurope.com::b3342dd7-276e-4e79-adcb-b102fb44a5a8" providerId="AD"/>
  <p188:author id="{07A1163D-1FE3-2701-2A39-4F3562163971}" name="Ani González" initials="AG" userId="20671353f43d3b94" providerId="Windows Live"/>
  <p188:author id="{64A3626C-EBDD-40AF-8B31-FFCCDCC91F1B}" name="Jeremy Cottino" initials="JC" userId="S::Jeremy.Cottino@ecaeurope.com::7f563f49-48f0-4165-adb9-df6517bac2b6" providerId="AD"/>
  <p188:author id="{75B9C486-DEFA-D4D6-B7D5-3B99C414E581}" name="Žaneta Corr" initials="ZC" userId="S::Zaneta.Corr@ecaeurope.com::3246951a-0632-48ff-a2a3-1a00b90ae980" providerId="AD"/>
  <p188:author id="{07559293-F57A-3C57-7AE4-BC54CF9465DD}" name="Michael Short" initials="MS" userId="S::Michael.Short@ecaeurope.com::20de95b6-37ef-4026-8dd1-7f0b89fc0965" providerId="AD"/>
  <p188:author id="{4E34D39D-3C32-9095-BCD5-747D2CE70EAF}" name="wouter" initials="wo" userId="S::wouter_spl-sport.com#ext#@ecaeurope.onmicrosoft.com::50f433e2-c814-4786-8dae-33f91f5281ee" providerId="AD"/>
  <p188:author id="{CC7054A1-EFA4-3F59-6A6D-A65FF43DEE46}" name="Jeremy Cottino" initials="JC" userId="S::jeremy.cottino@ecaeurope.com::7f563f49-48f0-4165-adb9-df6517bac2b6" providerId="AD"/>
  <p188:author id="{773356A7-7CF7-6563-ED7B-B64294A6BED4}" name="Hugo Hamon" initials="" userId="S::Hugo.Hamon@ecaeurope.com::355e48a8-e793-4fcd-ad7a-5be30d9bd318" providerId="AD"/>
  <p188:author id="{051B32C1-9237-FDDE-87C4-90D7FF551B39}" name="José Luis Andrade" initials="JA" userId="S::joseluis.andrade@ecaeurope.com::3462ca14-dfdf-4a96-8fc1-3527040f321a" providerId="AD"/>
  <p188:author id="{336DD0C4-E6A1-E0C8-4A57-DE6F4705D177}" name="Hugo Hamon" initials="HH" userId="Hugo Hamon" providerId="None"/>
  <p188:author id="{1F0744E7-3485-447F-027F-9ECA1AA1C9D0}" name="Hugo Hamon" initials="HH" userId="S::hugo.hamon@ecaeurope.com::355e48a8-e793-4fcd-ad7a-5be30d9bd318" providerId="AD"/>
  <p188:author id="{E94806F5-F1DD-79F5-3D8D-85F6927CF9C2}" name="Author" initials="A" userId="Author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3997D9"/>
    <a:srgbClr val="0B301A"/>
    <a:srgbClr val="B7ECFF"/>
    <a:srgbClr val="525252"/>
    <a:srgbClr val="28A357"/>
    <a:srgbClr val="FF6A00"/>
    <a:srgbClr val="003C8B"/>
    <a:srgbClr val="104624"/>
    <a:srgbClr val="0E3C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C7E4B2-0D0B-404E-B2E7-CB4D9C4C34EA}" v="73" dt="2024-10-29T16:50:45.087"/>
    <p1510:client id="{F5E74316-32B6-4FE5-8064-803869BCCC8E}" v="119" dt="2024-10-29T18:53:11.6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10" autoAdjust="0"/>
    <p:restoredTop sz="94660"/>
  </p:normalViewPr>
  <p:slideViewPr>
    <p:cSldViewPr snapToGrid="0">
      <p:cViewPr varScale="1">
        <p:scale>
          <a:sx n="59" d="100"/>
          <a:sy n="59" d="100"/>
        </p:scale>
        <p:origin x="1016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21" Type="http://schemas.openxmlformats.org/officeDocument/2006/relationships/slide" Target="slides/slide10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viewProps" Target="view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microsoft.com/office/2016/11/relationships/changesInfo" Target="changesInfos/changesInfo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zymon Szemberg E.H.C." userId="282bf525-96de-4c8d-9919-5544f557666c" providerId="ADAL" clId="{C0AE65D6-1D14-445B-91E5-976A3C24DD0C}"/>
    <pc:docChg chg="modSld">
      <pc:chgData name="Szymon Szemberg E.H.C." userId="282bf525-96de-4c8d-9919-5544f557666c" providerId="ADAL" clId="{C0AE65D6-1D14-445B-91E5-976A3C24DD0C}" dt="2024-10-29T21:08:45.815" v="1" actId="20577"/>
      <pc:docMkLst>
        <pc:docMk/>
      </pc:docMkLst>
      <pc:sldChg chg="modSp mod">
        <pc:chgData name="Szymon Szemberg E.H.C." userId="282bf525-96de-4c8d-9919-5544f557666c" providerId="ADAL" clId="{C0AE65D6-1D14-445B-91E5-976A3C24DD0C}" dt="2024-10-29T21:08:45.815" v="1" actId="20577"/>
        <pc:sldMkLst>
          <pc:docMk/>
          <pc:sldMk cId="1315031292" sldId="282"/>
        </pc:sldMkLst>
        <pc:spChg chg="mod">
          <ac:chgData name="Szymon Szemberg E.H.C." userId="282bf525-96de-4c8d-9919-5544f557666c" providerId="ADAL" clId="{C0AE65D6-1D14-445B-91E5-976A3C24DD0C}" dt="2024-10-29T21:08:45.815" v="1" actId="20577"/>
          <ac:spMkLst>
            <pc:docMk/>
            <pc:sldMk cId="1315031292" sldId="282"/>
            <ac:spMk id="5" creationId="{17A9AF01-4036-0549-83A9-DB193EE0A767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ecaeurope-my.sharepoint.com/personal/alban_pre_ecaeurope_com/Documents/Bureau/Additional%20slide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A$3</c:f>
              <c:strCache>
                <c:ptCount val="1"/>
                <c:pt idx="0">
                  <c:v>Revenues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Sheet2!$B$2:$ZV$2</c:f>
              <c:strCache>
                <c:ptCount val="697"/>
                <c:pt idx="0">
                  <c:v>Manchester City </c:v>
                </c:pt>
                <c:pt idx="1">
                  <c:v>PSG</c:v>
                </c:pt>
                <c:pt idx="2">
                  <c:v>Manchester United</c:v>
                </c:pt>
                <c:pt idx="3">
                  <c:v>Bayern Munich </c:v>
                </c:pt>
                <c:pt idx="4">
                  <c:v>Liverpool </c:v>
                </c:pt>
                <c:pt idx="5">
                  <c:v>Tottenham</c:v>
                </c:pt>
                <c:pt idx="6">
                  <c:v>Chelsea </c:v>
                </c:pt>
                <c:pt idx="7">
                  <c:v>Arsenal </c:v>
                </c:pt>
                <c:pt idx="8">
                  <c:v>Juventus</c:v>
                </c:pt>
                <c:pt idx="9">
                  <c:v>Dortmund</c:v>
                </c:pt>
                <c:pt idx="10">
                  <c:v>Milan </c:v>
                </c:pt>
                <c:pt idx="11">
                  <c:v>Inter</c:v>
                </c:pt>
                <c:pt idx="12">
                  <c:v>Athletico</c:v>
                </c:pt>
                <c:pt idx="13">
                  <c:v>Red Bull</c:v>
                </c:pt>
                <c:pt idx="14">
                  <c:v>Frankfurt </c:v>
                </c:pt>
                <c:pt idx="15">
                  <c:v>Newcastle</c:v>
                </c:pt>
                <c:pt idx="16">
                  <c:v>Napoli</c:v>
                </c:pt>
                <c:pt idx="17">
                  <c:v>Aston Villa</c:v>
                </c:pt>
                <c:pt idx="18">
                  <c:v>Brighton </c:v>
                </c:pt>
                <c:pt idx="19">
                  <c:v>Marseille</c:v>
                </c:pt>
                <c:pt idx="20">
                  <c:v>Club </c:v>
                </c:pt>
                <c:pt idx="21">
                  <c:v>Club </c:v>
                </c:pt>
                <c:pt idx="22">
                  <c:v>Club </c:v>
                </c:pt>
                <c:pt idx="23">
                  <c:v>Club </c:v>
                </c:pt>
                <c:pt idx="24">
                  <c:v>Club </c:v>
                </c:pt>
                <c:pt idx="25">
                  <c:v>Club </c:v>
                </c:pt>
                <c:pt idx="26">
                  <c:v>Club </c:v>
                </c:pt>
                <c:pt idx="27">
                  <c:v>Club </c:v>
                </c:pt>
                <c:pt idx="28">
                  <c:v>Club </c:v>
                </c:pt>
                <c:pt idx="29">
                  <c:v>Club </c:v>
                </c:pt>
                <c:pt idx="30">
                  <c:v>Club </c:v>
                </c:pt>
                <c:pt idx="31">
                  <c:v>Club </c:v>
                </c:pt>
                <c:pt idx="32">
                  <c:v>Club </c:v>
                </c:pt>
                <c:pt idx="33">
                  <c:v>Club </c:v>
                </c:pt>
                <c:pt idx="34">
                  <c:v>Club </c:v>
                </c:pt>
                <c:pt idx="35">
                  <c:v>Club </c:v>
                </c:pt>
                <c:pt idx="36">
                  <c:v>Club </c:v>
                </c:pt>
                <c:pt idx="37">
                  <c:v>Club </c:v>
                </c:pt>
                <c:pt idx="38">
                  <c:v>Club </c:v>
                </c:pt>
                <c:pt idx="39">
                  <c:v>Club </c:v>
                </c:pt>
                <c:pt idx="40">
                  <c:v>Club </c:v>
                </c:pt>
                <c:pt idx="41">
                  <c:v>Club </c:v>
                </c:pt>
                <c:pt idx="42">
                  <c:v>Club </c:v>
                </c:pt>
                <c:pt idx="43">
                  <c:v>Club </c:v>
                </c:pt>
                <c:pt idx="44">
                  <c:v>Club </c:v>
                </c:pt>
                <c:pt idx="45">
                  <c:v>Club </c:v>
                </c:pt>
                <c:pt idx="46">
                  <c:v>Club </c:v>
                </c:pt>
                <c:pt idx="47">
                  <c:v>Club </c:v>
                </c:pt>
                <c:pt idx="48">
                  <c:v>Club </c:v>
                </c:pt>
                <c:pt idx="49">
                  <c:v>Club </c:v>
                </c:pt>
                <c:pt idx="50">
                  <c:v>Club </c:v>
                </c:pt>
                <c:pt idx="51">
                  <c:v>Club </c:v>
                </c:pt>
                <c:pt idx="52">
                  <c:v>Club </c:v>
                </c:pt>
                <c:pt idx="53">
                  <c:v>Club </c:v>
                </c:pt>
                <c:pt idx="54">
                  <c:v>Club </c:v>
                </c:pt>
                <c:pt idx="55">
                  <c:v>Club </c:v>
                </c:pt>
                <c:pt idx="56">
                  <c:v>Club </c:v>
                </c:pt>
                <c:pt idx="57">
                  <c:v>Club </c:v>
                </c:pt>
                <c:pt idx="58">
                  <c:v>Club </c:v>
                </c:pt>
                <c:pt idx="59">
                  <c:v>Club </c:v>
                </c:pt>
                <c:pt idx="60">
                  <c:v>Club </c:v>
                </c:pt>
                <c:pt idx="61">
                  <c:v>Club </c:v>
                </c:pt>
                <c:pt idx="62">
                  <c:v>Club </c:v>
                </c:pt>
                <c:pt idx="63">
                  <c:v>Club </c:v>
                </c:pt>
                <c:pt idx="64">
                  <c:v>Club </c:v>
                </c:pt>
                <c:pt idx="65">
                  <c:v>Club </c:v>
                </c:pt>
                <c:pt idx="66">
                  <c:v>Club </c:v>
                </c:pt>
                <c:pt idx="67">
                  <c:v>Club </c:v>
                </c:pt>
                <c:pt idx="68">
                  <c:v>Club </c:v>
                </c:pt>
                <c:pt idx="69">
                  <c:v>Club </c:v>
                </c:pt>
                <c:pt idx="70">
                  <c:v>Club </c:v>
                </c:pt>
                <c:pt idx="71">
                  <c:v>Club </c:v>
                </c:pt>
                <c:pt idx="72">
                  <c:v>Club </c:v>
                </c:pt>
                <c:pt idx="73">
                  <c:v>Club </c:v>
                </c:pt>
                <c:pt idx="74">
                  <c:v>Club </c:v>
                </c:pt>
                <c:pt idx="75">
                  <c:v>Club </c:v>
                </c:pt>
                <c:pt idx="76">
                  <c:v>Club </c:v>
                </c:pt>
                <c:pt idx="77">
                  <c:v>Club </c:v>
                </c:pt>
                <c:pt idx="78">
                  <c:v>Club </c:v>
                </c:pt>
                <c:pt idx="79">
                  <c:v>Club </c:v>
                </c:pt>
                <c:pt idx="80">
                  <c:v>Club </c:v>
                </c:pt>
                <c:pt idx="81">
                  <c:v>Club </c:v>
                </c:pt>
                <c:pt idx="82">
                  <c:v>Club </c:v>
                </c:pt>
                <c:pt idx="83">
                  <c:v>Club </c:v>
                </c:pt>
                <c:pt idx="84">
                  <c:v>Club </c:v>
                </c:pt>
                <c:pt idx="85">
                  <c:v>Club </c:v>
                </c:pt>
                <c:pt idx="86">
                  <c:v>Club </c:v>
                </c:pt>
                <c:pt idx="87">
                  <c:v>Club </c:v>
                </c:pt>
                <c:pt idx="88">
                  <c:v>Club </c:v>
                </c:pt>
                <c:pt idx="89">
                  <c:v>Club </c:v>
                </c:pt>
                <c:pt idx="90">
                  <c:v>Club </c:v>
                </c:pt>
                <c:pt idx="91">
                  <c:v>Club </c:v>
                </c:pt>
                <c:pt idx="92">
                  <c:v>Club </c:v>
                </c:pt>
                <c:pt idx="93">
                  <c:v>Club </c:v>
                </c:pt>
                <c:pt idx="94">
                  <c:v>Club </c:v>
                </c:pt>
                <c:pt idx="95">
                  <c:v>Club </c:v>
                </c:pt>
                <c:pt idx="96">
                  <c:v>Club </c:v>
                </c:pt>
                <c:pt idx="97">
                  <c:v>Club </c:v>
                </c:pt>
                <c:pt idx="98">
                  <c:v>Club </c:v>
                </c:pt>
                <c:pt idx="99">
                  <c:v>Club </c:v>
                </c:pt>
                <c:pt idx="100">
                  <c:v>Club </c:v>
                </c:pt>
                <c:pt idx="101">
                  <c:v>Club </c:v>
                </c:pt>
                <c:pt idx="102">
                  <c:v>Club </c:v>
                </c:pt>
                <c:pt idx="103">
                  <c:v>Club </c:v>
                </c:pt>
                <c:pt idx="104">
                  <c:v>Club </c:v>
                </c:pt>
                <c:pt idx="105">
                  <c:v>Club </c:v>
                </c:pt>
                <c:pt idx="106">
                  <c:v>Club </c:v>
                </c:pt>
                <c:pt idx="107">
                  <c:v>Club </c:v>
                </c:pt>
                <c:pt idx="108">
                  <c:v>Club </c:v>
                </c:pt>
                <c:pt idx="109">
                  <c:v>Club </c:v>
                </c:pt>
                <c:pt idx="110">
                  <c:v>Club </c:v>
                </c:pt>
                <c:pt idx="111">
                  <c:v>Club </c:v>
                </c:pt>
                <c:pt idx="112">
                  <c:v>Club </c:v>
                </c:pt>
                <c:pt idx="113">
                  <c:v>Club </c:v>
                </c:pt>
                <c:pt idx="114">
                  <c:v>Club </c:v>
                </c:pt>
                <c:pt idx="115">
                  <c:v>Club </c:v>
                </c:pt>
                <c:pt idx="116">
                  <c:v>Club </c:v>
                </c:pt>
                <c:pt idx="117">
                  <c:v>Club </c:v>
                </c:pt>
                <c:pt idx="118">
                  <c:v>Club </c:v>
                </c:pt>
                <c:pt idx="119">
                  <c:v>Club </c:v>
                </c:pt>
                <c:pt idx="120">
                  <c:v>Club </c:v>
                </c:pt>
                <c:pt idx="121">
                  <c:v>Club </c:v>
                </c:pt>
                <c:pt idx="122">
                  <c:v>Club </c:v>
                </c:pt>
                <c:pt idx="123">
                  <c:v>Club </c:v>
                </c:pt>
                <c:pt idx="124">
                  <c:v>Club </c:v>
                </c:pt>
                <c:pt idx="125">
                  <c:v>Club </c:v>
                </c:pt>
                <c:pt idx="126">
                  <c:v>Club </c:v>
                </c:pt>
                <c:pt idx="127">
                  <c:v>Club </c:v>
                </c:pt>
                <c:pt idx="128">
                  <c:v>Club </c:v>
                </c:pt>
                <c:pt idx="129">
                  <c:v>Club </c:v>
                </c:pt>
                <c:pt idx="130">
                  <c:v>Club </c:v>
                </c:pt>
                <c:pt idx="131">
                  <c:v>Club </c:v>
                </c:pt>
                <c:pt idx="132">
                  <c:v>Club </c:v>
                </c:pt>
                <c:pt idx="133">
                  <c:v>Club </c:v>
                </c:pt>
                <c:pt idx="134">
                  <c:v>Club </c:v>
                </c:pt>
                <c:pt idx="135">
                  <c:v>Club </c:v>
                </c:pt>
                <c:pt idx="136">
                  <c:v>Club </c:v>
                </c:pt>
                <c:pt idx="137">
                  <c:v>Club </c:v>
                </c:pt>
                <c:pt idx="138">
                  <c:v>Club </c:v>
                </c:pt>
                <c:pt idx="139">
                  <c:v>Club </c:v>
                </c:pt>
                <c:pt idx="140">
                  <c:v>Club </c:v>
                </c:pt>
                <c:pt idx="141">
                  <c:v>Club </c:v>
                </c:pt>
                <c:pt idx="142">
                  <c:v>Club </c:v>
                </c:pt>
                <c:pt idx="143">
                  <c:v>Club </c:v>
                </c:pt>
                <c:pt idx="144">
                  <c:v>Club </c:v>
                </c:pt>
                <c:pt idx="145">
                  <c:v>Club </c:v>
                </c:pt>
                <c:pt idx="146">
                  <c:v>Club </c:v>
                </c:pt>
                <c:pt idx="147">
                  <c:v>Club </c:v>
                </c:pt>
                <c:pt idx="148">
                  <c:v>Club </c:v>
                </c:pt>
                <c:pt idx="149">
                  <c:v>Club </c:v>
                </c:pt>
                <c:pt idx="150">
                  <c:v>Club </c:v>
                </c:pt>
                <c:pt idx="151">
                  <c:v>Club </c:v>
                </c:pt>
                <c:pt idx="152">
                  <c:v>Club </c:v>
                </c:pt>
                <c:pt idx="153">
                  <c:v>Club </c:v>
                </c:pt>
                <c:pt idx="154">
                  <c:v>Club </c:v>
                </c:pt>
                <c:pt idx="155">
                  <c:v>Club </c:v>
                </c:pt>
                <c:pt idx="156">
                  <c:v>Club </c:v>
                </c:pt>
                <c:pt idx="157">
                  <c:v>Club </c:v>
                </c:pt>
                <c:pt idx="158">
                  <c:v>Club </c:v>
                </c:pt>
                <c:pt idx="159">
                  <c:v>Club </c:v>
                </c:pt>
                <c:pt idx="160">
                  <c:v>Club </c:v>
                </c:pt>
                <c:pt idx="161">
                  <c:v>Club </c:v>
                </c:pt>
                <c:pt idx="162">
                  <c:v>Club </c:v>
                </c:pt>
                <c:pt idx="163">
                  <c:v>Club </c:v>
                </c:pt>
                <c:pt idx="164">
                  <c:v>Club </c:v>
                </c:pt>
                <c:pt idx="165">
                  <c:v>Club </c:v>
                </c:pt>
                <c:pt idx="166">
                  <c:v>Club </c:v>
                </c:pt>
                <c:pt idx="167">
                  <c:v>Club </c:v>
                </c:pt>
                <c:pt idx="168">
                  <c:v>Club </c:v>
                </c:pt>
                <c:pt idx="169">
                  <c:v>Club </c:v>
                </c:pt>
                <c:pt idx="170">
                  <c:v>Club </c:v>
                </c:pt>
                <c:pt idx="171">
                  <c:v>Club </c:v>
                </c:pt>
                <c:pt idx="172">
                  <c:v>Club </c:v>
                </c:pt>
                <c:pt idx="173">
                  <c:v>Club </c:v>
                </c:pt>
                <c:pt idx="174">
                  <c:v>Club </c:v>
                </c:pt>
                <c:pt idx="175">
                  <c:v>Club </c:v>
                </c:pt>
                <c:pt idx="176">
                  <c:v>Club </c:v>
                </c:pt>
                <c:pt idx="177">
                  <c:v>Club </c:v>
                </c:pt>
                <c:pt idx="178">
                  <c:v>Club </c:v>
                </c:pt>
                <c:pt idx="179">
                  <c:v>Club </c:v>
                </c:pt>
                <c:pt idx="180">
                  <c:v>Club </c:v>
                </c:pt>
                <c:pt idx="181">
                  <c:v>Club </c:v>
                </c:pt>
                <c:pt idx="182">
                  <c:v>Club </c:v>
                </c:pt>
                <c:pt idx="183">
                  <c:v>Club </c:v>
                </c:pt>
                <c:pt idx="184">
                  <c:v>Club </c:v>
                </c:pt>
                <c:pt idx="185">
                  <c:v>Club </c:v>
                </c:pt>
                <c:pt idx="186">
                  <c:v>Club </c:v>
                </c:pt>
                <c:pt idx="187">
                  <c:v>Club </c:v>
                </c:pt>
                <c:pt idx="188">
                  <c:v>Club </c:v>
                </c:pt>
                <c:pt idx="189">
                  <c:v>Club </c:v>
                </c:pt>
                <c:pt idx="190">
                  <c:v>Club </c:v>
                </c:pt>
                <c:pt idx="191">
                  <c:v>Club </c:v>
                </c:pt>
                <c:pt idx="192">
                  <c:v>Club </c:v>
                </c:pt>
                <c:pt idx="193">
                  <c:v>Club </c:v>
                </c:pt>
                <c:pt idx="194">
                  <c:v>Club </c:v>
                </c:pt>
                <c:pt idx="195">
                  <c:v>Club </c:v>
                </c:pt>
                <c:pt idx="196">
                  <c:v>Club </c:v>
                </c:pt>
                <c:pt idx="197">
                  <c:v>Club </c:v>
                </c:pt>
                <c:pt idx="198">
                  <c:v>Club </c:v>
                </c:pt>
                <c:pt idx="199">
                  <c:v>Club </c:v>
                </c:pt>
                <c:pt idx="200">
                  <c:v>Club </c:v>
                </c:pt>
                <c:pt idx="201">
                  <c:v>Club </c:v>
                </c:pt>
                <c:pt idx="202">
                  <c:v>Club </c:v>
                </c:pt>
                <c:pt idx="203">
                  <c:v>Club </c:v>
                </c:pt>
                <c:pt idx="204">
                  <c:v>Club </c:v>
                </c:pt>
                <c:pt idx="205">
                  <c:v>Club </c:v>
                </c:pt>
                <c:pt idx="206">
                  <c:v>Club </c:v>
                </c:pt>
                <c:pt idx="207">
                  <c:v>Club </c:v>
                </c:pt>
                <c:pt idx="208">
                  <c:v>Club </c:v>
                </c:pt>
                <c:pt idx="209">
                  <c:v>Club </c:v>
                </c:pt>
                <c:pt idx="210">
                  <c:v>Club </c:v>
                </c:pt>
                <c:pt idx="211">
                  <c:v>Club </c:v>
                </c:pt>
                <c:pt idx="212">
                  <c:v>Club </c:v>
                </c:pt>
                <c:pt idx="213">
                  <c:v>Club </c:v>
                </c:pt>
                <c:pt idx="214">
                  <c:v>Club </c:v>
                </c:pt>
                <c:pt idx="215">
                  <c:v>Club </c:v>
                </c:pt>
                <c:pt idx="216">
                  <c:v>Club </c:v>
                </c:pt>
                <c:pt idx="217">
                  <c:v>Club </c:v>
                </c:pt>
                <c:pt idx="218">
                  <c:v>Club </c:v>
                </c:pt>
                <c:pt idx="219">
                  <c:v>Club </c:v>
                </c:pt>
                <c:pt idx="220">
                  <c:v>Club </c:v>
                </c:pt>
                <c:pt idx="221">
                  <c:v>Club </c:v>
                </c:pt>
                <c:pt idx="222">
                  <c:v>Club </c:v>
                </c:pt>
                <c:pt idx="223">
                  <c:v>Club </c:v>
                </c:pt>
                <c:pt idx="224">
                  <c:v>Club </c:v>
                </c:pt>
                <c:pt idx="225">
                  <c:v>Club </c:v>
                </c:pt>
                <c:pt idx="226">
                  <c:v>Club </c:v>
                </c:pt>
                <c:pt idx="227">
                  <c:v>Club </c:v>
                </c:pt>
                <c:pt idx="228">
                  <c:v>Club </c:v>
                </c:pt>
                <c:pt idx="229">
                  <c:v>Club </c:v>
                </c:pt>
                <c:pt idx="230">
                  <c:v>Club </c:v>
                </c:pt>
                <c:pt idx="231">
                  <c:v>Club </c:v>
                </c:pt>
                <c:pt idx="232">
                  <c:v>Club </c:v>
                </c:pt>
                <c:pt idx="233">
                  <c:v>Club </c:v>
                </c:pt>
                <c:pt idx="234">
                  <c:v>Club </c:v>
                </c:pt>
                <c:pt idx="235">
                  <c:v>Club </c:v>
                </c:pt>
                <c:pt idx="236">
                  <c:v>Club </c:v>
                </c:pt>
                <c:pt idx="237">
                  <c:v>Club </c:v>
                </c:pt>
                <c:pt idx="238">
                  <c:v>Club </c:v>
                </c:pt>
                <c:pt idx="239">
                  <c:v>Club </c:v>
                </c:pt>
                <c:pt idx="240">
                  <c:v>Club </c:v>
                </c:pt>
                <c:pt idx="241">
                  <c:v>Club </c:v>
                </c:pt>
                <c:pt idx="242">
                  <c:v>Club </c:v>
                </c:pt>
                <c:pt idx="243">
                  <c:v>Club </c:v>
                </c:pt>
                <c:pt idx="244">
                  <c:v>Club </c:v>
                </c:pt>
                <c:pt idx="245">
                  <c:v>Club </c:v>
                </c:pt>
                <c:pt idx="246">
                  <c:v>Club </c:v>
                </c:pt>
                <c:pt idx="247">
                  <c:v>Club </c:v>
                </c:pt>
                <c:pt idx="248">
                  <c:v>Club </c:v>
                </c:pt>
                <c:pt idx="249">
                  <c:v>Club </c:v>
                </c:pt>
                <c:pt idx="250">
                  <c:v>Club </c:v>
                </c:pt>
                <c:pt idx="251">
                  <c:v>Club </c:v>
                </c:pt>
                <c:pt idx="252">
                  <c:v>Club </c:v>
                </c:pt>
                <c:pt idx="253">
                  <c:v>Club </c:v>
                </c:pt>
                <c:pt idx="254">
                  <c:v>Club </c:v>
                </c:pt>
                <c:pt idx="255">
                  <c:v>Club </c:v>
                </c:pt>
                <c:pt idx="256">
                  <c:v>Club </c:v>
                </c:pt>
                <c:pt idx="257">
                  <c:v>Club </c:v>
                </c:pt>
                <c:pt idx="258">
                  <c:v>Club </c:v>
                </c:pt>
                <c:pt idx="259">
                  <c:v>Club </c:v>
                </c:pt>
                <c:pt idx="260">
                  <c:v>Club </c:v>
                </c:pt>
                <c:pt idx="261">
                  <c:v>Club </c:v>
                </c:pt>
                <c:pt idx="262">
                  <c:v>Club </c:v>
                </c:pt>
                <c:pt idx="263">
                  <c:v>Club </c:v>
                </c:pt>
                <c:pt idx="264">
                  <c:v>Club </c:v>
                </c:pt>
                <c:pt idx="265">
                  <c:v>Club </c:v>
                </c:pt>
                <c:pt idx="266">
                  <c:v>Club </c:v>
                </c:pt>
                <c:pt idx="267">
                  <c:v>Club </c:v>
                </c:pt>
                <c:pt idx="268">
                  <c:v>Club </c:v>
                </c:pt>
                <c:pt idx="269">
                  <c:v>Club </c:v>
                </c:pt>
                <c:pt idx="270">
                  <c:v>Club </c:v>
                </c:pt>
                <c:pt idx="271">
                  <c:v>Club </c:v>
                </c:pt>
                <c:pt idx="272">
                  <c:v>Club </c:v>
                </c:pt>
                <c:pt idx="273">
                  <c:v>Club </c:v>
                </c:pt>
                <c:pt idx="274">
                  <c:v>Club </c:v>
                </c:pt>
                <c:pt idx="275">
                  <c:v>Club </c:v>
                </c:pt>
                <c:pt idx="276">
                  <c:v>Club </c:v>
                </c:pt>
                <c:pt idx="277">
                  <c:v>Club </c:v>
                </c:pt>
                <c:pt idx="278">
                  <c:v>Club </c:v>
                </c:pt>
                <c:pt idx="279">
                  <c:v>Club </c:v>
                </c:pt>
                <c:pt idx="280">
                  <c:v>Club </c:v>
                </c:pt>
                <c:pt idx="281">
                  <c:v>Club </c:v>
                </c:pt>
                <c:pt idx="282">
                  <c:v>Club </c:v>
                </c:pt>
                <c:pt idx="283">
                  <c:v>Club </c:v>
                </c:pt>
                <c:pt idx="284">
                  <c:v>Club </c:v>
                </c:pt>
                <c:pt idx="285">
                  <c:v>Club </c:v>
                </c:pt>
                <c:pt idx="286">
                  <c:v>Club </c:v>
                </c:pt>
                <c:pt idx="287">
                  <c:v>Club </c:v>
                </c:pt>
                <c:pt idx="288">
                  <c:v>Club </c:v>
                </c:pt>
                <c:pt idx="289">
                  <c:v>Club </c:v>
                </c:pt>
                <c:pt idx="290">
                  <c:v>Club </c:v>
                </c:pt>
                <c:pt idx="291">
                  <c:v>Club </c:v>
                </c:pt>
                <c:pt idx="292">
                  <c:v>Club </c:v>
                </c:pt>
                <c:pt idx="293">
                  <c:v>Club </c:v>
                </c:pt>
                <c:pt idx="294">
                  <c:v>Club </c:v>
                </c:pt>
                <c:pt idx="295">
                  <c:v>Club </c:v>
                </c:pt>
                <c:pt idx="296">
                  <c:v>Club </c:v>
                </c:pt>
                <c:pt idx="297">
                  <c:v>Club </c:v>
                </c:pt>
                <c:pt idx="298">
                  <c:v>Club </c:v>
                </c:pt>
                <c:pt idx="299">
                  <c:v>Club </c:v>
                </c:pt>
                <c:pt idx="300">
                  <c:v>Club </c:v>
                </c:pt>
                <c:pt idx="301">
                  <c:v>Club </c:v>
                </c:pt>
                <c:pt idx="302">
                  <c:v>Club </c:v>
                </c:pt>
                <c:pt idx="303">
                  <c:v>Club </c:v>
                </c:pt>
                <c:pt idx="304">
                  <c:v>Club </c:v>
                </c:pt>
                <c:pt idx="305">
                  <c:v>Club </c:v>
                </c:pt>
                <c:pt idx="306">
                  <c:v>Club </c:v>
                </c:pt>
                <c:pt idx="307">
                  <c:v>Club </c:v>
                </c:pt>
                <c:pt idx="308">
                  <c:v>Club </c:v>
                </c:pt>
                <c:pt idx="309">
                  <c:v>Club </c:v>
                </c:pt>
                <c:pt idx="310">
                  <c:v>Club </c:v>
                </c:pt>
                <c:pt idx="311">
                  <c:v>Club </c:v>
                </c:pt>
                <c:pt idx="312">
                  <c:v>Club </c:v>
                </c:pt>
                <c:pt idx="313">
                  <c:v>Club </c:v>
                </c:pt>
                <c:pt idx="314">
                  <c:v>Club </c:v>
                </c:pt>
                <c:pt idx="315">
                  <c:v>Club </c:v>
                </c:pt>
                <c:pt idx="316">
                  <c:v>Club </c:v>
                </c:pt>
                <c:pt idx="317">
                  <c:v>Club </c:v>
                </c:pt>
                <c:pt idx="318">
                  <c:v>Club </c:v>
                </c:pt>
                <c:pt idx="319">
                  <c:v>Club </c:v>
                </c:pt>
                <c:pt idx="320">
                  <c:v>Club </c:v>
                </c:pt>
                <c:pt idx="321">
                  <c:v>Club </c:v>
                </c:pt>
                <c:pt idx="322">
                  <c:v>Club </c:v>
                </c:pt>
                <c:pt idx="323">
                  <c:v>Club </c:v>
                </c:pt>
                <c:pt idx="324">
                  <c:v>Club </c:v>
                </c:pt>
                <c:pt idx="325">
                  <c:v>Club </c:v>
                </c:pt>
                <c:pt idx="326">
                  <c:v>Club </c:v>
                </c:pt>
                <c:pt idx="327">
                  <c:v>Club </c:v>
                </c:pt>
                <c:pt idx="328">
                  <c:v>Club </c:v>
                </c:pt>
                <c:pt idx="329">
                  <c:v>Club </c:v>
                </c:pt>
                <c:pt idx="330">
                  <c:v>Club </c:v>
                </c:pt>
                <c:pt idx="331">
                  <c:v>Club </c:v>
                </c:pt>
                <c:pt idx="332">
                  <c:v>Club </c:v>
                </c:pt>
                <c:pt idx="333">
                  <c:v>Club </c:v>
                </c:pt>
                <c:pt idx="334">
                  <c:v>Club </c:v>
                </c:pt>
                <c:pt idx="335">
                  <c:v>Club </c:v>
                </c:pt>
                <c:pt idx="336">
                  <c:v>Club </c:v>
                </c:pt>
                <c:pt idx="337">
                  <c:v>Club </c:v>
                </c:pt>
                <c:pt idx="338">
                  <c:v>Club </c:v>
                </c:pt>
                <c:pt idx="339">
                  <c:v>Club </c:v>
                </c:pt>
                <c:pt idx="340">
                  <c:v>Club </c:v>
                </c:pt>
                <c:pt idx="341">
                  <c:v>Club </c:v>
                </c:pt>
                <c:pt idx="342">
                  <c:v>Club </c:v>
                </c:pt>
                <c:pt idx="343">
                  <c:v>Club </c:v>
                </c:pt>
                <c:pt idx="344">
                  <c:v>Club </c:v>
                </c:pt>
                <c:pt idx="345">
                  <c:v>Club </c:v>
                </c:pt>
                <c:pt idx="346">
                  <c:v>Club </c:v>
                </c:pt>
                <c:pt idx="347">
                  <c:v>Club </c:v>
                </c:pt>
                <c:pt idx="348">
                  <c:v>Club </c:v>
                </c:pt>
                <c:pt idx="349">
                  <c:v>Club </c:v>
                </c:pt>
                <c:pt idx="350">
                  <c:v>Club </c:v>
                </c:pt>
                <c:pt idx="351">
                  <c:v>Club </c:v>
                </c:pt>
                <c:pt idx="352">
                  <c:v>Club </c:v>
                </c:pt>
                <c:pt idx="353">
                  <c:v>Club </c:v>
                </c:pt>
                <c:pt idx="354">
                  <c:v>Club </c:v>
                </c:pt>
                <c:pt idx="355">
                  <c:v>Club </c:v>
                </c:pt>
                <c:pt idx="356">
                  <c:v>Club </c:v>
                </c:pt>
                <c:pt idx="357">
                  <c:v>Club </c:v>
                </c:pt>
                <c:pt idx="358">
                  <c:v>Club </c:v>
                </c:pt>
                <c:pt idx="359">
                  <c:v>Club </c:v>
                </c:pt>
                <c:pt idx="360">
                  <c:v>Club </c:v>
                </c:pt>
                <c:pt idx="361">
                  <c:v>Club </c:v>
                </c:pt>
                <c:pt idx="362">
                  <c:v>Club </c:v>
                </c:pt>
                <c:pt idx="363">
                  <c:v>Club </c:v>
                </c:pt>
                <c:pt idx="364">
                  <c:v>Club </c:v>
                </c:pt>
                <c:pt idx="365">
                  <c:v>Club </c:v>
                </c:pt>
                <c:pt idx="366">
                  <c:v>Club </c:v>
                </c:pt>
                <c:pt idx="367">
                  <c:v>Club </c:v>
                </c:pt>
                <c:pt idx="368">
                  <c:v>Club </c:v>
                </c:pt>
                <c:pt idx="369">
                  <c:v>Club </c:v>
                </c:pt>
                <c:pt idx="370">
                  <c:v>Club </c:v>
                </c:pt>
                <c:pt idx="371">
                  <c:v>Club </c:v>
                </c:pt>
                <c:pt idx="372">
                  <c:v>Club </c:v>
                </c:pt>
                <c:pt idx="373">
                  <c:v>Club </c:v>
                </c:pt>
                <c:pt idx="374">
                  <c:v>Club </c:v>
                </c:pt>
                <c:pt idx="375">
                  <c:v>Club </c:v>
                </c:pt>
                <c:pt idx="376">
                  <c:v>Club </c:v>
                </c:pt>
                <c:pt idx="377">
                  <c:v>Club </c:v>
                </c:pt>
                <c:pt idx="378">
                  <c:v>Club </c:v>
                </c:pt>
                <c:pt idx="379">
                  <c:v>Club </c:v>
                </c:pt>
                <c:pt idx="380">
                  <c:v>Club </c:v>
                </c:pt>
                <c:pt idx="381">
                  <c:v>Club </c:v>
                </c:pt>
                <c:pt idx="382">
                  <c:v>Club </c:v>
                </c:pt>
                <c:pt idx="383">
                  <c:v>Club </c:v>
                </c:pt>
                <c:pt idx="384">
                  <c:v>Club </c:v>
                </c:pt>
                <c:pt idx="385">
                  <c:v>Club </c:v>
                </c:pt>
                <c:pt idx="386">
                  <c:v>Club </c:v>
                </c:pt>
                <c:pt idx="387">
                  <c:v>Club </c:v>
                </c:pt>
                <c:pt idx="388">
                  <c:v>Club </c:v>
                </c:pt>
                <c:pt idx="389">
                  <c:v>Club </c:v>
                </c:pt>
                <c:pt idx="390">
                  <c:v>Club </c:v>
                </c:pt>
                <c:pt idx="391">
                  <c:v>Club </c:v>
                </c:pt>
                <c:pt idx="392">
                  <c:v>Club </c:v>
                </c:pt>
                <c:pt idx="393">
                  <c:v>Club </c:v>
                </c:pt>
                <c:pt idx="394">
                  <c:v>Club </c:v>
                </c:pt>
                <c:pt idx="395">
                  <c:v>Club </c:v>
                </c:pt>
                <c:pt idx="396">
                  <c:v>Club </c:v>
                </c:pt>
                <c:pt idx="397">
                  <c:v>Club </c:v>
                </c:pt>
                <c:pt idx="398">
                  <c:v>Club </c:v>
                </c:pt>
                <c:pt idx="399">
                  <c:v>Club </c:v>
                </c:pt>
                <c:pt idx="400">
                  <c:v>Club </c:v>
                </c:pt>
                <c:pt idx="401">
                  <c:v>Club </c:v>
                </c:pt>
                <c:pt idx="402">
                  <c:v>Club </c:v>
                </c:pt>
                <c:pt idx="403">
                  <c:v>Club </c:v>
                </c:pt>
                <c:pt idx="404">
                  <c:v>Club </c:v>
                </c:pt>
                <c:pt idx="405">
                  <c:v>Club </c:v>
                </c:pt>
                <c:pt idx="406">
                  <c:v>Club </c:v>
                </c:pt>
                <c:pt idx="407">
                  <c:v>Club </c:v>
                </c:pt>
                <c:pt idx="408">
                  <c:v>Club </c:v>
                </c:pt>
                <c:pt idx="409">
                  <c:v>Club </c:v>
                </c:pt>
                <c:pt idx="410">
                  <c:v>Club </c:v>
                </c:pt>
                <c:pt idx="411">
                  <c:v>Club </c:v>
                </c:pt>
                <c:pt idx="412">
                  <c:v>Club </c:v>
                </c:pt>
                <c:pt idx="413">
                  <c:v>Club </c:v>
                </c:pt>
                <c:pt idx="414">
                  <c:v>Club </c:v>
                </c:pt>
                <c:pt idx="415">
                  <c:v>Club </c:v>
                </c:pt>
                <c:pt idx="416">
                  <c:v>Club </c:v>
                </c:pt>
                <c:pt idx="417">
                  <c:v>Club </c:v>
                </c:pt>
                <c:pt idx="418">
                  <c:v>Club </c:v>
                </c:pt>
                <c:pt idx="419">
                  <c:v>Club </c:v>
                </c:pt>
                <c:pt idx="420">
                  <c:v>Club </c:v>
                </c:pt>
                <c:pt idx="421">
                  <c:v>Club </c:v>
                </c:pt>
                <c:pt idx="422">
                  <c:v>Club </c:v>
                </c:pt>
                <c:pt idx="423">
                  <c:v>Club </c:v>
                </c:pt>
                <c:pt idx="424">
                  <c:v>Club </c:v>
                </c:pt>
                <c:pt idx="425">
                  <c:v>Club </c:v>
                </c:pt>
                <c:pt idx="426">
                  <c:v>Club </c:v>
                </c:pt>
                <c:pt idx="427">
                  <c:v>Club </c:v>
                </c:pt>
                <c:pt idx="428">
                  <c:v>Club </c:v>
                </c:pt>
                <c:pt idx="429">
                  <c:v>Club </c:v>
                </c:pt>
                <c:pt idx="430">
                  <c:v>Club </c:v>
                </c:pt>
                <c:pt idx="431">
                  <c:v>Club </c:v>
                </c:pt>
                <c:pt idx="432">
                  <c:v>Club </c:v>
                </c:pt>
                <c:pt idx="433">
                  <c:v>Club </c:v>
                </c:pt>
                <c:pt idx="434">
                  <c:v>Club </c:v>
                </c:pt>
                <c:pt idx="435">
                  <c:v>Club </c:v>
                </c:pt>
                <c:pt idx="436">
                  <c:v>Club </c:v>
                </c:pt>
                <c:pt idx="437">
                  <c:v>Club </c:v>
                </c:pt>
                <c:pt idx="438">
                  <c:v>Club </c:v>
                </c:pt>
                <c:pt idx="439">
                  <c:v>Club </c:v>
                </c:pt>
                <c:pt idx="440">
                  <c:v>Club </c:v>
                </c:pt>
                <c:pt idx="441">
                  <c:v>Club </c:v>
                </c:pt>
                <c:pt idx="442">
                  <c:v>Club </c:v>
                </c:pt>
                <c:pt idx="443">
                  <c:v>Club </c:v>
                </c:pt>
                <c:pt idx="444">
                  <c:v>Club </c:v>
                </c:pt>
                <c:pt idx="445">
                  <c:v>Club </c:v>
                </c:pt>
                <c:pt idx="446">
                  <c:v>Club </c:v>
                </c:pt>
                <c:pt idx="447">
                  <c:v>Club </c:v>
                </c:pt>
                <c:pt idx="448">
                  <c:v>Club </c:v>
                </c:pt>
                <c:pt idx="449">
                  <c:v>Club </c:v>
                </c:pt>
                <c:pt idx="450">
                  <c:v>Club </c:v>
                </c:pt>
                <c:pt idx="451">
                  <c:v>Club </c:v>
                </c:pt>
                <c:pt idx="452">
                  <c:v>Club </c:v>
                </c:pt>
                <c:pt idx="453">
                  <c:v>Club </c:v>
                </c:pt>
                <c:pt idx="454">
                  <c:v>Club </c:v>
                </c:pt>
                <c:pt idx="455">
                  <c:v>Club </c:v>
                </c:pt>
                <c:pt idx="456">
                  <c:v>Club </c:v>
                </c:pt>
                <c:pt idx="457">
                  <c:v>Club </c:v>
                </c:pt>
                <c:pt idx="458">
                  <c:v>Club </c:v>
                </c:pt>
                <c:pt idx="459">
                  <c:v>Club </c:v>
                </c:pt>
                <c:pt idx="460">
                  <c:v>Club </c:v>
                </c:pt>
                <c:pt idx="461">
                  <c:v>Club </c:v>
                </c:pt>
                <c:pt idx="462">
                  <c:v>Club </c:v>
                </c:pt>
                <c:pt idx="463">
                  <c:v>Club </c:v>
                </c:pt>
                <c:pt idx="464">
                  <c:v>Club </c:v>
                </c:pt>
                <c:pt idx="465">
                  <c:v>Club </c:v>
                </c:pt>
                <c:pt idx="466">
                  <c:v>Club </c:v>
                </c:pt>
                <c:pt idx="467">
                  <c:v>Club </c:v>
                </c:pt>
                <c:pt idx="468">
                  <c:v>Club </c:v>
                </c:pt>
                <c:pt idx="469">
                  <c:v>Club </c:v>
                </c:pt>
                <c:pt idx="470">
                  <c:v>Club </c:v>
                </c:pt>
                <c:pt idx="471">
                  <c:v>Club </c:v>
                </c:pt>
                <c:pt idx="472">
                  <c:v>Club </c:v>
                </c:pt>
                <c:pt idx="473">
                  <c:v>Club </c:v>
                </c:pt>
                <c:pt idx="474">
                  <c:v>Club </c:v>
                </c:pt>
                <c:pt idx="475">
                  <c:v>Club </c:v>
                </c:pt>
                <c:pt idx="476">
                  <c:v>Club </c:v>
                </c:pt>
                <c:pt idx="477">
                  <c:v>Club </c:v>
                </c:pt>
                <c:pt idx="478">
                  <c:v>Club </c:v>
                </c:pt>
                <c:pt idx="479">
                  <c:v>Club </c:v>
                </c:pt>
                <c:pt idx="480">
                  <c:v>Club </c:v>
                </c:pt>
                <c:pt idx="481">
                  <c:v>Club </c:v>
                </c:pt>
                <c:pt idx="482">
                  <c:v>Club </c:v>
                </c:pt>
                <c:pt idx="483">
                  <c:v>Club </c:v>
                </c:pt>
                <c:pt idx="484">
                  <c:v>Club </c:v>
                </c:pt>
                <c:pt idx="485">
                  <c:v>Club </c:v>
                </c:pt>
                <c:pt idx="486">
                  <c:v>Club </c:v>
                </c:pt>
                <c:pt idx="487">
                  <c:v>Club </c:v>
                </c:pt>
                <c:pt idx="488">
                  <c:v>Club </c:v>
                </c:pt>
                <c:pt idx="489">
                  <c:v>Club </c:v>
                </c:pt>
                <c:pt idx="490">
                  <c:v>Club </c:v>
                </c:pt>
                <c:pt idx="491">
                  <c:v>Club </c:v>
                </c:pt>
                <c:pt idx="492">
                  <c:v>Club </c:v>
                </c:pt>
                <c:pt idx="493">
                  <c:v>Club </c:v>
                </c:pt>
                <c:pt idx="494">
                  <c:v>Club </c:v>
                </c:pt>
                <c:pt idx="495">
                  <c:v>Club </c:v>
                </c:pt>
                <c:pt idx="496">
                  <c:v>Club </c:v>
                </c:pt>
                <c:pt idx="497">
                  <c:v>Club </c:v>
                </c:pt>
                <c:pt idx="498">
                  <c:v>Club </c:v>
                </c:pt>
                <c:pt idx="499">
                  <c:v>Club </c:v>
                </c:pt>
                <c:pt idx="500">
                  <c:v>Club </c:v>
                </c:pt>
                <c:pt idx="501">
                  <c:v>Club </c:v>
                </c:pt>
                <c:pt idx="502">
                  <c:v>Club </c:v>
                </c:pt>
                <c:pt idx="503">
                  <c:v>Club </c:v>
                </c:pt>
                <c:pt idx="504">
                  <c:v>Club </c:v>
                </c:pt>
                <c:pt idx="505">
                  <c:v>Club </c:v>
                </c:pt>
                <c:pt idx="506">
                  <c:v>Club </c:v>
                </c:pt>
                <c:pt idx="507">
                  <c:v>Club </c:v>
                </c:pt>
                <c:pt idx="508">
                  <c:v>Club </c:v>
                </c:pt>
                <c:pt idx="509">
                  <c:v>Club </c:v>
                </c:pt>
                <c:pt idx="510">
                  <c:v>Club </c:v>
                </c:pt>
                <c:pt idx="511">
                  <c:v>Club </c:v>
                </c:pt>
                <c:pt idx="512">
                  <c:v>Club </c:v>
                </c:pt>
                <c:pt idx="513">
                  <c:v>Club </c:v>
                </c:pt>
                <c:pt idx="514">
                  <c:v>Club </c:v>
                </c:pt>
                <c:pt idx="515">
                  <c:v>Club </c:v>
                </c:pt>
                <c:pt idx="516">
                  <c:v>Club </c:v>
                </c:pt>
                <c:pt idx="517">
                  <c:v>Club </c:v>
                </c:pt>
                <c:pt idx="518">
                  <c:v>Club </c:v>
                </c:pt>
                <c:pt idx="519">
                  <c:v>Club </c:v>
                </c:pt>
                <c:pt idx="520">
                  <c:v>Club </c:v>
                </c:pt>
                <c:pt idx="521">
                  <c:v>Club </c:v>
                </c:pt>
                <c:pt idx="522">
                  <c:v>Club </c:v>
                </c:pt>
                <c:pt idx="523">
                  <c:v>Club </c:v>
                </c:pt>
                <c:pt idx="524">
                  <c:v>Club </c:v>
                </c:pt>
                <c:pt idx="525">
                  <c:v>Club </c:v>
                </c:pt>
                <c:pt idx="526">
                  <c:v>Club </c:v>
                </c:pt>
                <c:pt idx="527">
                  <c:v>Club </c:v>
                </c:pt>
                <c:pt idx="528">
                  <c:v>Club </c:v>
                </c:pt>
                <c:pt idx="529">
                  <c:v>Club </c:v>
                </c:pt>
                <c:pt idx="530">
                  <c:v>Club </c:v>
                </c:pt>
                <c:pt idx="531">
                  <c:v>Club </c:v>
                </c:pt>
                <c:pt idx="532">
                  <c:v>Club </c:v>
                </c:pt>
                <c:pt idx="533">
                  <c:v>Club </c:v>
                </c:pt>
                <c:pt idx="534">
                  <c:v>Club </c:v>
                </c:pt>
                <c:pt idx="535">
                  <c:v>Club </c:v>
                </c:pt>
                <c:pt idx="536">
                  <c:v>Club </c:v>
                </c:pt>
                <c:pt idx="537">
                  <c:v>Club </c:v>
                </c:pt>
                <c:pt idx="538">
                  <c:v>Club </c:v>
                </c:pt>
                <c:pt idx="539">
                  <c:v>Club </c:v>
                </c:pt>
                <c:pt idx="540">
                  <c:v>Club </c:v>
                </c:pt>
                <c:pt idx="541">
                  <c:v>Club </c:v>
                </c:pt>
                <c:pt idx="542">
                  <c:v>Club </c:v>
                </c:pt>
                <c:pt idx="543">
                  <c:v>Club </c:v>
                </c:pt>
                <c:pt idx="544">
                  <c:v>Club </c:v>
                </c:pt>
                <c:pt idx="545">
                  <c:v>Club </c:v>
                </c:pt>
                <c:pt idx="546">
                  <c:v>Club </c:v>
                </c:pt>
                <c:pt idx="547">
                  <c:v>Club </c:v>
                </c:pt>
                <c:pt idx="548">
                  <c:v>Club </c:v>
                </c:pt>
                <c:pt idx="549">
                  <c:v>Club </c:v>
                </c:pt>
                <c:pt idx="550">
                  <c:v>Club </c:v>
                </c:pt>
                <c:pt idx="551">
                  <c:v>Club </c:v>
                </c:pt>
                <c:pt idx="552">
                  <c:v>Club </c:v>
                </c:pt>
                <c:pt idx="553">
                  <c:v>Club </c:v>
                </c:pt>
                <c:pt idx="554">
                  <c:v>Club </c:v>
                </c:pt>
                <c:pt idx="555">
                  <c:v>Club </c:v>
                </c:pt>
                <c:pt idx="556">
                  <c:v>Club </c:v>
                </c:pt>
                <c:pt idx="557">
                  <c:v>Club </c:v>
                </c:pt>
                <c:pt idx="558">
                  <c:v>Club </c:v>
                </c:pt>
                <c:pt idx="559">
                  <c:v>Club </c:v>
                </c:pt>
                <c:pt idx="560">
                  <c:v>Club </c:v>
                </c:pt>
                <c:pt idx="561">
                  <c:v>Club </c:v>
                </c:pt>
                <c:pt idx="562">
                  <c:v>Club </c:v>
                </c:pt>
                <c:pt idx="563">
                  <c:v>Club </c:v>
                </c:pt>
                <c:pt idx="564">
                  <c:v>Club </c:v>
                </c:pt>
                <c:pt idx="565">
                  <c:v>Club </c:v>
                </c:pt>
                <c:pt idx="566">
                  <c:v>Club </c:v>
                </c:pt>
                <c:pt idx="567">
                  <c:v>Club </c:v>
                </c:pt>
                <c:pt idx="568">
                  <c:v>Club </c:v>
                </c:pt>
                <c:pt idx="569">
                  <c:v>Club </c:v>
                </c:pt>
                <c:pt idx="570">
                  <c:v>Club </c:v>
                </c:pt>
                <c:pt idx="571">
                  <c:v>Club </c:v>
                </c:pt>
                <c:pt idx="572">
                  <c:v>Club </c:v>
                </c:pt>
                <c:pt idx="573">
                  <c:v>Club </c:v>
                </c:pt>
                <c:pt idx="574">
                  <c:v>Club </c:v>
                </c:pt>
                <c:pt idx="575">
                  <c:v>Club </c:v>
                </c:pt>
                <c:pt idx="576">
                  <c:v>Club </c:v>
                </c:pt>
                <c:pt idx="577">
                  <c:v>Club </c:v>
                </c:pt>
                <c:pt idx="578">
                  <c:v>Club </c:v>
                </c:pt>
                <c:pt idx="579">
                  <c:v>Club </c:v>
                </c:pt>
                <c:pt idx="580">
                  <c:v>Club </c:v>
                </c:pt>
                <c:pt idx="581">
                  <c:v>Club </c:v>
                </c:pt>
                <c:pt idx="582">
                  <c:v>Club </c:v>
                </c:pt>
                <c:pt idx="583">
                  <c:v>Club </c:v>
                </c:pt>
                <c:pt idx="584">
                  <c:v>Club </c:v>
                </c:pt>
                <c:pt idx="585">
                  <c:v>Club </c:v>
                </c:pt>
                <c:pt idx="586">
                  <c:v>Club </c:v>
                </c:pt>
                <c:pt idx="587">
                  <c:v>Club </c:v>
                </c:pt>
                <c:pt idx="588">
                  <c:v>Club </c:v>
                </c:pt>
                <c:pt idx="589">
                  <c:v>Club </c:v>
                </c:pt>
                <c:pt idx="590">
                  <c:v>Club </c:v>
                </c:pt>
                <c:pt idx="591">
                  <c:v>Club </c:v>
                </c:pt>
                <c:pt idx="592">
                  <c:v>Club </c:v>
                </c:pt>
                <c:pt idx="593">
                  <c:v>Club </c:v>
                </c:pt>
                <c:pt idx="594">
                  <c:v>Club </c:v>
                </c:pt>
                <c:pt idx="595">
                  <c:v>Club </c:v>
                </c:pt>
                <c:pt idx="596">
                  <c:v>Club </c:v>
                </c:pt>
                <c:pt idx="597">
                  <c:v>Club </c:v>
                </c:pt>
                <c:pt idx="598">
                  <c:v>Club </c:v>
                </c:pt>
                <c:pt idx="599">
                  <c:v>Club </c:v>
                </c:pt>
                <c:pt idx="600">
                  <c:v>Club </c:v>
                </c:pt>
                <c:pt idx="601">
                  <c:v>Club </c:v>
                </c:pt>
                <c:pt idx="602">
                  <c:v>Club </c:v>
                </c:pt>
                <c:pt idx="603">
                  <c:v>Club </c:v>
                </c:pt>
                <c:pt idx="604">
                  <c:v>Club </c:v>
                </c:pt>
                <c:pt idx="605">
                  <c:v>Club </c:v>
                </c:pt>
                <c:pt idx="606">
                  <c:v>Club </c:v>
                </c:pt>
                <c:pt idx="607">
                  <c:v>Club </c:v>
                </c:pt>
                <c:pt idx="608">
                  <c:v>Club </c:v>
                </c:pt>
                <c:pt idx="609">
                  <c:v>Club </c:v>
                </c:pt>
                <c:pt idx="610">
                  <c:v>Club </c:v>
                </c:pt>
                <c:pt idx="611">
                  <c:v>Club </c:v>
                </c:pt>
                <c:pt idx="612">
                  <c:v>Club </c:v>
                </c:pt>
                <c:pt idx="613">
                  <c:v>Club </c:v>
                </c:pt>
                <c:pt idx="614">
                  <c:v>Club </c:v>
                </c:pt>
                <c:pt idx="615">
                  <c:v>Club </c:v>
                </c:pt>
                <c:pt idx="616">
                  <c:v>Club </c:v>
                </c:pt>
                <c:pt idx="617">
                  <c:v>Club </c:v>
                </c:pt>
                <c:pt idx="618">
                  <c:v>Club </c:v>
                </c:pt>
                <c:pt idx="619">
                  <c:v>Club </c:v>
                </c:pt>
                <c:pt idx="620">
                  <c:v>Club </c:v>
                </c:pt>
                <c:pt idx="621">
                  <c:v>Club </c:v>
                </c:pt>
                <c:pt idx="622">
                  <c:v>Club </c:v>
                </c:pt>
                <c:pt idx="623">
                  <c:v>Club </c:v>
                </c:pt>
                <c:pt idx="624">
                  <c:v>Club </c:v>
                </c:pt>
                <c:pt idx="625">
                  <c:v>Club </c:v>
                </c:pt>
                <c:pt idx="626">
                  <c:v>Club </c:v>
                </c:pt>
                <c:pt idx="627">
                  <c:v>Club </c:v>
                </c:pt>
                <c:pt idx="628">
                  <c:v>Club </c:v>
                </c:pt>
                <c:pt idx="629">
                  <c:v>Club </c:v>
                </c:pt>
                <c:pt idx="630">
                  <c:v>Club </c:v>
                </c:pt>
                <c:pt idx="631">
                  <c:v>Club </c:v>
                </c:pt>
                <c:pt idx="632">
                  <c:v>Club </c:v>
                </c:pt>
                <c:pt idx="633">
                  <c:v>Club </c:v>
                </c:pt>
                <c:pt idx="634">
                  <c:v>Club </c:v>
                </c:pt>
                <c:pt idx="635">
                  <c:v>Club </c:v>
                </c:pt>
                <c:pt idx="636">
                  <c:v>Club </c:v>
                </c:pt>
                <c:pt idx="637">
                  <c:v>Club </c:v>
                </c:pt>
                <c:pt idx="638">
                  <c:v>Club </c:v>
                </c:pt>
                <c:pt idx="639">
                  <c:v>Club </c:v>
                </c:pt>
                <c:pt idx="640">
                  <c:v>Club </c:v>
                </c:pt>
                <c:pt idx="641">
                  <c:v>Club </c:v>
                </c:pt>
                <c:pt idx="642">
                  <c:v>Club </c:v>
                </c:pt>
                <c:pt idx="643">
                  <c:v>Club </c:v>
                </c:pt>
                <c:pt idx="644">
                  <c:v>Club </c:v>
                </c:pt>
                <c:pt idx="645">
                  <c:v>Club </c:v>
                </c:pt>
                <c:pt idx="646">
                  <c:v>Club </c:v>
                </c:pt>
                <c:pt idx="647">
                  <c:v>Club </c:v>
                </c:pt>
                <c:pt idx="648">
                  <c:v>Club </c:v>
                </c:pt>
                <c:pt idx="649">
                  <c:v>Club </c:v>
                </c:pt>
                <c:pt idx="650">
                  <c:v>Club </c:v>
                </c:pt>
                <c:pt idx="651">
                  <c:v>Club </c:v>
                </c:pt>
                <c:pt idx="652">
                  <c:v>Club </c:v>
                </c:pt>
                <c:pt idx="653">
                  <c:v>Club </c:v>
                </c:pt>
                <c:pt idx="654">
                  <c:v>Club </c:v>
                </c:pt>
                <c:pt idx="655">
                  <c:v>Club </c:v>
                </c:pt>
                <c:pt idx="656">
                  <c:v>Club </c:v>
                </c:pt>
                <c:pt idx="657">
                  <c:v>Club </c:v>
                </c:pt>
                <c:pt idx="658">
                  <c:v>Club </c:v>
                </c:pt>
                <c:pt idx="659">
                  <c:v>Club </c:v>
                </c:pt>
                <c:pt idx="660">
                  <c:v>Club </c:v>
                </c:pt>
                <c:pt idx="661">
                  <c:v>Club </c:v>
                </c:pt>
                <c:pt idx="662">
                  <c:v>Club </c:v>
                </c:pt>
                <c:pt idx="663">
                  <c:v>Club </c:v>
                </c:pt>
                <c:pt idx="664">
                  <c:v>Club </c:v>
                </c:pt>
                <c:pt idx="665">
                  <c:v>Club </c:v>
                </c:pt>
                <c:pt idx="666">
                  <c:v>Club </c:v>
                </c:pt>
                <c:pt idx="667">
                  <c:v>Club </c:v>
                </c:pt>
                <c:pt idx="668">
                  <c:v>Club </c:v>
                </c:pt>
                <c:pt idx="669">
                  <c:v>Club </c:v>
                </c:pt>
                <c:pt idx="670">
                  <c:v>Club </c:v>
                </c:pt>
                <c:pt idx="671">
                  <c:v>Club </c:v>
                </c:pt>
                <c:pt idx="672">
                  <c:v>Club </c:v>
                </c:pt>
                <c:pt idx="673">
                  <c:v>Club </c:v>
                </c:pt>
                <c:pt idx="674">
                  <c:v>Club </c:v>
                </c:pt>
                <c:pt idx="675">
                  <c:v>Club </c:v>
                </c:pt>
                <c:pt idx="676">
                  <c:v>Club </c:v>
                </c:pt>
                <c:pt idx="677">
                  <c:v>Club </c:v>
                </c:pt>
                <c:pt idx="678">
                  <c:v>Club </c:v>
                </c:pt>
                <c:pt idx="679">
                  <c:v>Club </c:v>
                </c:pt>
                <c:pt idx="680">
                  <c:v>Club </c:v>
                </c:pt>
                <c:pt idx="681">
                  <c:v>Club </c:v>
                </c:pt>
                <c:pt idx="682">
                  <c:v>Club </c:v>
                </c:pt>
                <c:pt idx="683">
                  <c:v>Club </c:v>
                </c:pt>
                <c:pt idx="684">
                  <c:v>Club </c:v>
                </c:pt>
                <c:pt idx="685">
                  <c:v>Club </c:v>
                </c:pt>
                <c:pt idx="686">
                  <c:v>Club </c:v>
                </c:pt>
                <c:pt idx="687">
                  <c:v>Club </c:v>
                </c:pt>
                <c:pt idx="688">
                  <c:v>Club </c:v>
                </c:pt>
                <c:pt idx="689">
                  <c:v>Club </c:v>
                </c:pt>
                <c:pt idx="690">
                  <c:v>Club </c:v>
                </c:pt>
                <c:pt idx="691">
                  <c:v>Club </c:v>
                </c:pt>
                <c:pt idx="692">
                  <c:v>Club </c:v>
                </c:pt>
                <c:pt idx="693">
                  <c:v>Club </c:v>
                </c:pt>
                <c:pt idx="694">
                  <c:v>Club </c:v>
                </c:pt>
                <c:pt idx="695">
                  <c:v>Club </c:v>
                </c:pt>
                <c:pt idx="696">
                  <c:v>Club </c:v>
                </c:pt>
              </c:strCache>
            </c:strRef>
          </c:cat>
          <c:val>
            <c:numRef>
              <c:f>Sheet2!$B$3:$ZV$3</c:f>
              <c:numCache>
                <c:formatCode>General</c:formatCode>
                <c:ptCount val="697"/>
                <c:pt idx="0">
                  <c:v>836</c:v>
                </c:pt>
                <c:pt idx="1">
                  <c:v>807</c:v>
                </c:pt>
                <c:pt idx="2">
                  <c:v>747</c:v>
                </c:pt>
                <c:pt idx="3">
                  <c:v>744</c:v>
                </c:pt>
                <c:pt idx="4">
                  <c:v>683</c:v>
                </c:pt>
                <c:pt idx="5">
                  <c:v>632</c:v>
                </c:pt>
                <c:pt idx="6">
                  <c:v>589</c:v>
                </c:pt>
                <c:pt idx="7">
                  <c:v>535</c:v>
                </c:pt>
                <c:pt idx="8">
                  <c:v>437</c:v>
                </c:pt>
                <c:pt idx="9">
                  <c:v>423</c:v>
                </c:pt>
                <c:pt idx="10">
                  <c:v>399</c:v>
                </c:pt>
                <c:pt idx="11">
                  <c:v>386</c:v>
                </c:pt>
                <c:pt idx="12">
                  <c:v>371</c:v>
                </c:pt>
                <c:pt idx="13">
                  <c:v>354</c:v>
                </c:pt>
                <c:pt idx="14">
                  <c:v>293</c:v>
                </c:pt>
                <c:pt idx="15">
                  <c:v>288</c:v>
                </c:pt>
                <c:pt idx="16">
                  <c:v>277</c:v>
                </c:pt>
                <c:pt idx="17">
                  <c:v>275</c:v>
                </c:pt>
                <c:pt idx="18">
                  <c:v>264</c:v>
                </c:pt>
                <c:pt idx="19">
                  <c:v>258</c:v>
                </c:pt>
                <c:pt idx="20">
                  <c:v>250</c:v>
                </c:pt>
                <c:pt idx="21">
                  <c:v>245</c:v>
                </c:pt>
                <c:pt idx="22">
                  <c:v>240.1</c:v>
                </c:pt>
                <c:pt idx="23">
                  <c:v>235.298</c:v>
                </c:pt>
                <c:pt idx="24">
                  <c:v>230.59204</c:v>
                </c:pt>
                <c:pt idx="25">
                  <c:v>225.98019919999999</c:v>
                </c:pt>
                <c:pt idx="26">
                  <c:v>221.460595216</c:v>
                </c:pt>
                <c:pt idx="27">
                  <c:v>217.03138331168</c:v>
                </c:pt>
                <c:pt idx="28">
                  <c:v>212.69075564544642</c:v>
                </c:pt>
                <c:pt idx="29">
                  <c:v>208.43694053253748</c:v>
                </c:pt>
                <c:pt idx="30">
                  <c:v>204.26820172188673</c:v>
                </c:pt>
                <c:pt idx="31">
                  <c:v>200.18283768744899</c:v>
                </c:pt>
                <c:pt idx="32">
                  <c:v>196.17918093370002</c:v>
                </c:pt>
                <c:pt idx="33">
                  <c:v>192.25559731502602</c:v>
                </c:pt>
                <c:pt idx="34">
                  <c:v>188.41048536872549</c:v>
                </c:pt>
                <c:pt idx="35">
                  <c:v>184.64227566135099</c:v>
                </c:pt>
                <c:pt idx="36">
                  <c:v>180.94943014812398</c:v>
                </c:pt>
                <c:pt idx="37">
                  <c:v>177.33044154516151</c:v>
                </c:pt>
                <c:pt idx="38">
                  <c:v>173.78383271425827</c:v>
                </c:pt>
                <c:pt idx="39">
                  <c:v>170.3081560599731</c:v>
                </c:pt>
                <c:pt idx="40">
                  <c:v>166.90199293877365</c:v>
                </c:pt>
                <c:pt idx="41">
                  <c:v>163.56395307999819</c:v>
                </c:pt>
                <c:pt idx="42">
                  <c:v>160.29267401839823</c:v>
                </c:pt>
                <c:pt idx="43">
                  <c:v>157.08682053803025</c:v>
                </c:pt>
                <c:pt idx="44">
                  <c:v>153.94508412726964</c:v>
                </c:pt>
                <c:pt idx="45">
                  <c:v>150.86618244472425</c:v>
                </c:pt>
                <c:pt idx="46">
                  <c:v>147.84885879582976</c:v>
                </c:pt>
                <c:pt idx="47">
                  <c:v>144.89188161991316</c:v>
                </c:pt>
                <c:pt idx="48">
                  <c:v>141.99404398751491</c:v>
                </c:pt>
                <c:pt idx="49">
                  <c:v>139.15416310776462</c:v>
                </c:pt>
                <c:pt idx="50">
                  <c:v>136.37107984560933</c:v>
                </c:pt>
                <c:pt idx="51">
                  <c:v>133.64365824869714</c:v>
                </c:pt>
                <c:pt idx="52">
                  <c:v>130.9707850837232</c:v>
                </c:pt>
                <c:pt idx="53">
                  <c:v>128.35136938204874</c:v>
                </c:pt>
                <c:pt idx="54">
                  <c:v>125.78434199440777</c:v>
                </c:pt>
                <c:pt idx="55">
                  <c:v>123.26865515451961</c:v>
                </c:pt>
                <c:pt idx="56">
                  <c:v>120.80328205142922</c:v>
                </c:pt>
                <c:pt idx="57">
                  <c:v>118.38721641040064</c:v>
                </c:pt>
                <c:pt idx="58">
                  <c:v>116.01947208219262</c:v>
                </c:pt>
                <c:pt idx="59">
                  <c:v>113.69908264054877</c:v>
                </c:pt>
                <c:pt idx="60">
                  <c:v>111.42510098773779</c:v>
                </c:pt>
                <c:pt idx="61">
                  <c:v>109.19659896798304</c:v>
                </c:pt>
                <c:pt idx="62">
                  <c:v>100</c:v>
                </c:pt>
                <c:pt idx="63">
                  <c:v>98</c:v>
                </c:pt>
                <c:pt idx="64">
                  <c:v>96.04</c:v>
                </c:pt>
                <c:pt idx="65">
                  <c:v>95.079599999999999</c:v>
                </c:pt>
                <c:pt idx="66">
                  <c:v>93.653406000000004</c:v>
                </c:pt>
                <c:pt idx="67">
                  <c:v>92.248604909999997</c:v>
                </c:pt>
                <c:pt idx="68">
                  <c:v>90.864875836349995</c:v>
                </c:pt>
                <c:pt idx="69">
                  <c:v>89.501902698804741</c:v>
                </c:pt>
                <c:pt idx="70">
                  <c:v>88.159374158322677</c:v>
                </c:pt>
                <c:pt idx="71">
                  <c:v>86.836983545947831</c:v>
                </c:pt>
                <c:pt idx="72">
                  <c:v>85.534428792758618</c:v>
                </c:pt>
                <c:pt idx="73">
                  <c:v>84.251412360867235</c:v>
                </c:pt>
                <c:pt idx="74">
                  <c:v>82.987641175454229</c:v>
                </c:pt>
                <c:pt idx="75">
                  <c:v>81.742826557822411</c:v>
                </c:pt>
                <c:pt idx="76">
                  <c:v>80.516684159455082</c:v>
                </c:pt>
                <c:pt idx="77">
                  <c:v>79.308933897063255</c:v>
                </c:pt>
                <c:pt idx="78">
                  <c:v>78.119299888607301</c:v>
                </c:pt>
                <c:pt idx="79">
                  <c:v>76.947510390278197</c:v>
                </c:pt>
                <c:pt idx="80">
                  <c:v>75.79329773442403</c:v>
                </c:pt>
                <c:pt idx="81">
                  <c:v>74.656398268407671</c:v>
                </c:pt>
                <c:pt idx="82">
                  <c:v>73.536552294381551</c:v>
                </c:pt>
                <c:pt idx="83">
                  <c:v>72.43350400996583</c:v>
                </c:pt>
                <c:pt idx="84">
                  <c:v>71.347001449816347</c:v>
                </c:pt>
                <c:pt idx="85">
                  <c:v>70.276796428069105</c:v>
                </c:pt>
                <c:pt idx="86">
                  <c:v>69.222644481648075</c:v>
                </c:pt>
                <c:pt idx="87">
                  <c:v>68.184304814423356</c:v>
                </c:pt>
                <c:pt idx="88">
                  <c:v>67.16154024220701</c:v>
                </c:pt>
                <c:pt idx="89">
                  <c:v>66.154117138573909</c:v>
                </c:pt>
                <c:pt idx="90">
                  <c:v>65.161805381495299</c:v>
                </c:pt>
                <c:pt idx="91">
                  <c:v>64.184378300772863</c:v>
                </c:pt>
                <c:pt idx="92">
                  <c:v>63.221612626261269</c:v>
                </c:pt>
                <c:pt idx="93">
                  <c:v>62.273288436867347</c:v>
                </c:pt>
                <c:pt idx="94">
                  <c:v>61.339189110314337</c:v>
                </c:pt>
                <c:pt idx="95">
                  <c:v>60.419101273659621</c:v>
                </c:pt>
                <c:pt idx="96">
                  <c:v>59.512814754554725</c:v>
                </c:pt>
                <c:pt idx="97">
                  <c:v>58.620122533236405</c:v>
                </c:pt>
                <c:pt idx="98">
                  <c:v>57.740820695237858</c:v>
                </c:pt>
                <c:pt idx="99">
                  <c:v>56.874708384809288</c:v>
                </c:pt>
                <c:pt idx="100">
                  <c:v>56.021587759037146</c:v>
                </c:pt>
                <c:pt idx="101">
                  <c:v>55.18126394265159</c:v>
                </c:pt>
                <c:pt idx="102">
                  <c:v>54.353544983511817</c:v>
                </c:pt>
                <c:pt idx="103">
                  <c:v>53.538241808759139</c:v>
                </c:pt>
                <c:pt idx="104">
                  <c:v>52.735168181627749</c:v>
                </c:pt>
                <c:pt idx="105">
                  <c:v>51.944140658903336</c:v>
                </c:pt>
                <c:pt idx="106">
                  <c:v>50</c:v>
                </c:pt>
                <c:pt idx="107">
                  <c:v>49.5</c:v>
                </c:pt>
                <c:pt idx="108">
                  <c:v>49.005000000000003</c:v>
                </c:pt>
                <c:pt idx="109">
                  <c:v>48.514950000000006</c:v>
                </c:pt>
                <c:pt idx="110">
                  <c:v>48.029800500000007</c:v>
                </c:pt>
                <c:pt idx="111">
                  <c:v>47.549502495000006</c:v>
                </c:pt>
                <c:pt idx="112">
                  <c:v>47.074007470050006</c:v>
                </c:pt>
                <c:pt idx="113">
                  <c:v>46.603267395349505</c:v>
                </c:pt>
                <c:pt idx="114">
                  <c:v>46.137234721396013</c:v>
                </c:pt>
                <c:pt idx="115">
                  <c:v>45.675862374182053</c:v>
                </c:pt>
                <c:pt idx="116">
                  <c:v>45.219103750440233</c:v>
                </c:pt>
                <c:pt idx="117">
                  <c:v>44.766912712935827</c:v>
                </c:pt>
                <c:pt idx="118">
                  <c:v>44.319243585806468</c:v>
                </c:pt>
                <c:pt idx="119">
                  <c:v>43.876051149948402</c:v>
                </c:pt>
                <c:pt idx="120">
                  <c:v>43.437290638448921</c:v>
                </c:pt>
                <c:pt idx="121">
                  <c:v>43.002917732064432</c:v>
                </c:pt>
                <c:pt idx="122">
                  <c:v>42.572888554743791</c:v>
                </c:pt>
                <c:pt idx="123">
                  <c:v>42.147159669196355</c:v>
                </c:pt>
                <c:pt idx="124">
                  <c:v>41.72568807250439</c:v>
                </c:pt>
                <c:pt idx="125">
                  <c:v>41.308431191779349</c:v>
                </c:pt>
                <c:pt idx="126">
                  <c:v>40.895346879861556</c:v>
                </c:pt>
                <c:pt idx="127">
                  <c:v>40.486393411062942</c:v>
                </c:pt>
                <c:pt idx="128">
                  <c:v>40.081529476952312</c:v>
                </c:pt>
                <c:pt idx="129">
                  <c:v>39.68071418218279</c:v>
                </c:pt>
                <c:pt idx="130">
                  <c:v>39.283907040360965</c:v>
                </c:pt>
                <c:pt idx="131">
                  <c:v>38.891067969957355</c:v>
                </c:pt>
                <c:pt idx="132">
                  <c:v>38.502157290257784</c:v>
                </c:pt>
                <c:pt idx="133">
                  <c:v>38.117135717355204</c:v>
                </c:pt>
                <c:pt idx="134">
                  <c:v>37.735964360181654</c:v>
                </c:pt>
                <c:pt idx="135">
                  <c:v>37.35860471657984</c:v>
                </c:pt>
                <c:pt idx="136">
                  <c:v>36.985018669414039</c:v>
                </c:pt>
                <c:pt idx="137">
                  <c:v>36.615168482719902</c:v>
                </c:pt>
                <c:pt idx="138">
                  <c:v>36.2490167978927</c:v>
                </c:pt>
                <c:pt idx="139">
                  <c:v>35.886526629913774</c:v>
                </c:pt>
                <c:pt idx="140">
                  <c:v>35.527661363614634</c:v>
                </c:pt>
                <c:pt idx="141">
                  <c:v>35.172384749978484</c:v>
                </c:pt>
                <c:pt idx="142">
                  <c:v>34.8206609024787</c:v>
                </c:pt>
                <c:pt idx="143">
                  <c:v>34.472454293453914</c:v>
                </c:pt>
                <c:pt idx="144">
                  <c:v>34.127729750519379</c:v>
                </c:pt>
                <c:pt idx="145">
                  <c:v>33.786452453014185</c:v>
                </c:pt>
                <c:pt idx="146">
                  <c:v>33.448587928484045</c:v>
                </c:pt>
                <c:pt idx="147">
                  <c:v>33.114102049199204</c:v>
                </c:pt>
                <c:pt idx="148">
                  <c:v>32.782961028707213</c:v>
                </c:pt>
                <c:pt idx="149">
                  <c:v>32.455131418420137</c:v>
                </c:pt>
                <c:pt idx="150">
                  <c:v>32.130580104235939</c:v>
                </c:pt>
                <c:pt idx="151">
                  <c:v>31.809274303193579</c:v>
                </c:pt>
                <c:pt idx="152">
                  <c:v>31.491181560161642</c:v>
                </c:pt>
                <c:pt idx="153">
                  <c:v>31.176269744560027</c:v>
                </c:pt>
                <c:pt idx="154">
                  <c:v>30.864507047114426</c:v>
                </c:pt>
                <c:pt idx="155">
                  <c:v>30.555861976643282</c:v>
                </c:pt>
                <c:pt idx="156">
                  <c:v>30.250303356876849</c:v>
                </c:pt>
                <c:pt idx="157">
                  <c:v>29.94780032330808</c:v>
                </c:pt>
                <c:pt idx="158">
                  <c:v>29.648322320075</c:v>
                </c:pt>
                <c:pt idx="159">
                  <c:v>29.351839096874251</c:v>
                </c:pt>
                <c:pt idx="160">
                  <c:v>29.058320705905508</c:v>
                </c:pt>
                <c:pt idx="161">
                  <c:v>28.767737498846454</c:v>
                </c:pt>
                <c:pt idx="162">
                  <c:v>28.480060123857989</c:v>
                </c:pt>
                <c:pt idx="163">
                  <c:v>28.195259522619409</c:v>
                </c:pt>
                <c:pt idx="164">
                  <c:v>27.913306927393215</c:v>
                </c:pt>
                <c:pt idx="165">
                  <c:v>27.634173858119283</c:v>
                </c:pt>
                <c:pt idx="166">
                  <c:v>27.357832119538092</c:v>
                </c:pt>
                <c:pt idx="167">
                  <c:v>27.084253798342711</c:v>
                </c:pt>
                <c:pt idx="168">
                  <c:v>26.813411260359285</c:v>
                </c:pt>
                <c:pt idx="169">
                  <c:v>26.545277147755691</c:v>
                </c:pt>
                <c:pt idx="170">
                  <c:v>26.279824376278135</c:v>
                </c:pt>
                <c:pt idx="171">
                  <c:v>26.017026132515355</c:v>
                </c:pt>
                <c:pt idx="172">
                  <c:v>25.756855871190201</c:v>
                </c:pt>
                <c:pt idx="173">
                  <c:v>25.499287312478298</c:v>
                </c:pt>
                <c:pt idx="174">
                  <c:v>25.244294439353514</c:v>
                </c:pt>
                <c:pt idx="175">
                  <c:v>24.991851494959977</c:v>
                </c:pt>
                <c:pt idx="176">
                  <c:v>24.741932980010379</c:v>
                </c:pt>
                <c:pt idx="177">
                  <c:v>24.494513650210276</c:v>
                </c:pt>
                <c:pt idx="178">
                  <c:v>24.249568513708173</c:v>
                </c:pt>
                <c:pt idx="179">
                  <c:v>24.00707282857109</c:v>
                </c:pt>
                <c:pt idx="180">
                  <c:v>23.767002100285378</c:v>
                </c:pt>
                <c:pt idx="181">
                  <c:v>23.529332079282526</c:v>
                </c:pt>
                <c:pt idx="182">
                  <c:v>23.294038758489702</c:v>
                </c:pt>
                <c:pt idx="183">
                  <c:v>23.061098370904805</c:v>
                </c:pt>
                <c:pt idx="184">
                  <c:v>22.830487387195756</c:v>
                </c:pt>
                <c:pt idx="185">
                  <c:v>22.602182513323797</c:v>
                </c:pt>
                <c:pt idx="186">
                  <c:v>22.376160688190559</c:v>
                </c:pt>
                <c:pt idx="187">
                  <c:v>22.152399081308655</c:v>
                </c:pt>
                <c:pt idx="188">
                  <c:v>21.930875090495569</c:v>
                </c:pt>
                <c:pt idx="189">
                  <c:v>21.711566339590615</c:v>
                </c:pt>
                <c:pt idx="190">
                  <c:v>21.49445067619471</c:v>
                </c:pt>
                <c:pt idx="191">
                  <c:v>21.279506169432764</c:v>
                </c:pt>
                <c:pt idx="192">
                  <c:v>21.066711107738438</c:v>
                </c:pt>
                <c:pt idx="193">
                  <c:v>20.856043996661054</c:v>
                </c:pt>
                <c:pt idx="194">
                  <c:v>20.647483556694443</c:v>
                </c:pt>
                <c:pt idx="195">
                  <c:v>20.441008721127499</c:v>
                </c:pt>
                <c:pt idx="196">
                  <c:v>20.236598633916223</c:v>
                </c:pt>
                <c:pt idx="197">
                  <c:v>20.03423264757706</c:v>
                </c:pt>
                <c:pt idx="198">
                  <c:v>19.83389032110129</c:v>
                </c:pt>
                <c:pt idx="199">
                  <c:v>19.635551417890277</c:v>
                </c:pt>
                <c:pt idx="200">
                  <c:v>19.439195903711372</c:v>
                </c:pt>
                <c:pt idx="201">
                  <c:v>19.24480394467426</c:v>
                </c:pt>
                <c:pt idx="202">
                  <c:v>19.052355905227518</c:v>
                </c:pt>
                <c:pt idx="203">
                  <c:v>18.861832346175245</c:v>
                </c:pt>
                <c:pt idx="204">
                  <c:v>18.673214022713491</c:v>
                </c:pt>
                <c:pt idx="205">
                  <c:v>18.486481882486355</c:v>
                </c:pt>
                <c:pt idx="206">
                  <c:v>18.301617063661492</c:v>
                </c:pt>
                <c:pt idx="207">
                  <c:v>18.118600893024876</c:v>
                </c:pt>
                <c:pt idx="208">
                  <c:v>17.937414884094629</c:v>
                </c:pt>
                <c:pt idx="209">
                  <c:v>17.758040735253683</c:v>
                </c:pt>
                <c:pt idx="210">
                  <c:v>17.580460327901147</c:v>
                </c:pt>
                <c:pt idx="211">
                  <c:v>17.404655724622135</c:v>
                </c:pt>
                <c:pt idx="212">
                  <c:v>17.230609167375913</c:v>
                </c:pt>
                <c:pt idx="213">
                  <c:v>17.058303075702153</c:v>
                </c:pt>
                <c:pt idx="214">
                  <c:v>16.88772004494513</c:v>
                </c:pt>
                <c:pt idx="215">
                  <c:v>16.718842844495679</c:v>
                </c:pt>
                <c:pt idx="216">
                  <c:v>16.551654416050724</c:v>
                </c:pt>
                <c:pt idx="217">
                  <c:v>16.386137871890217</c:v>
                </c:pt>
                <c:pt idx="218">
                  <c:v>16.222276493171314</c:v>
                </c:pt>
                <c:pt idx="219">
                  <c:v>16.060053728239602</c:v>
                </c:pt>
                <c:pt idx="220">
                  <c:v>15.899453190957205</c:v>
                </c:pt>
                <c:pt idx="221">
                  <c:v>15.740458659047633</c:v>
                </c:pt>
                <c:pt idx="222">
                  <c:v>15.583054072457156</c:v>
                </c:pt>
                <c:pt idx="223">
                  <c:v>15.427223531732585</c:v>
                </c:pt>
                <c:pt idx="224">
                  <c:v>15.272951296415259</c:v>
                </c:pt>
                <c:pt idx="225">
                  <c:v>15.120221783451107</c:v>
                </c:pt>
                <c:pt idx="226">
                  <c:v>14.969019565616597</c:v>
                </c:pt>
                <c:pt idx="227">
                  <c:v>14.81932936996043</c:v>
                </c:pt>
                <c:pt idx="228">
                  <c:v>14.671136076260826</c:v>
                </c:pt>
                <c:pt idx="229">
                  <c:v>14.524424715498217</c:v>
                </c:pt>
                <c:pt idx="230">
                  <c:v>14.379180468343234</c:v>
                </c:pt>
                <c:pt idx="231">
                  <c:v>14.235388663659801</c:v>
                </c:pt>
                <c:pt idx="232">
                  <c:v>14.093034777023203</c:v>
                </c:pt>
                <c:pt idx="233">
                  <c:v>13.952104429252971</c:v>
                </c:pt>
                <c:pt idx="234">
                  <c:v>13.812583384960442</c:v>
                </c:pt>
                <c:pt idx="235">
                  <c:v>13.674457551110837</c:v>
                </c:pt>
                <c:pt idx="236">
                  <c:v>13.537712975599728</c:v>
                </c:pt>
                <c:pt idx="237">
                  <c:v>13.40233584584373</c:v>
                </c:pt>
                <c:pt idx="238">
                  <c:v>13.268312487385293</c:v>
                </c:pt>
                <c:pt idx="239">
                  <c:v>13.135629362511439</c:v>
                </c:pt>
                <c:pt idx="240">
                  <c:v>13.004273068886326</c:v>
                </c:pt>
                <c:pt idx="241">
                  <c:v>12.874230338197462</c:v>
                </c:pt>
                <c:pt idx="242">
                  <c:v>12.745488034815487</c:v>
                </c:pt>
                <c:pt idx="243">
                  <c:v>12.618033154467332</c:v>
                </c:pt>
                <c:pt idx="244">
                  <c:v>12.491852822922658</c:v>
                </c:pt>
                <c:pt idx="245">
                  <c:v>12.366934294693431</c:v>
                </c:pt>
                <c:pt idx="246">
                  <c:v>12.243264951746497</c:v>
                </c:pt>
                <c:pt idx="247">
                  <c:v>12.120832302229031</c:v>
                </c:pt>
                <c:pt idx="248">
                  <c:v>11.99962397920674</c:v>
                </c:pt>
                <c:pt idx="249">
                  <c:v>11.879627739414673</c:v>
                </c:pt>
                <c:pt idx="250">
                  <c:v>11.760831462020526</c:v>
                </c:pt>
                <c:pt idx="251">
                  <c:v>11.64322314740032</c:v>
                </c:pt>
                <c:pt idx="252">
                  <c:v>11.526790915926316</c:v>
                </c:pt>
                <c:pt idx="253">
                  <c:v>11.411523006767053</c:v>
                </c:pt>
                <c:pt idx="254">
                  <c:v>10</c:v>
                </c:pt>
                <c:pt idx="255">
                  <c:v>9.99</c:v>
                </c:pt>
                <c:pt idx="256">
                  <c:v>9.98001</c:v>
                </c:pt>
                <c:pt idx="257">
                  <c:v>9.9700299900000005</c:v>
                </c:pt>
                <c:pt idx="258">
                  <c:v>9.9600599600099997</c:v>
                </c:pt>
                <c:pt idx="259">
                  <c:v>9.9500999000499899</c:v>
                </c:pt>
                <c:pt idx="260">
                  <c:v>9.9401498001499391</c:v>
                </c:pt>
                <c:pt idx="261">
                  <c:v>9.9302096503497896</c:v>
                </c:pt>
                <c:pt idx="262">
                  <c:v>9.9202794406994403</c:v>
                </c:pt>
                <c:pt idx="263">
                  <c:v>9.9103591612587412</c:v>
                </c:pt>
                <c:pt idx="264">
                  <c:v>9.9004488020974826</c:v>
                </c:pt>
                <c:pt idx="265">
                  <c:v>9.8905483532953848</c:v>
                </c:pt>
                <c:pt idx="266">
                  <c:v>9.8806578049420892</c:v>
                </c:pt>
                <c:pt idx="267">
                  <c:v>9.8707771471371473</c:v>
                </c:pt>
                <c:pt idx="268">
                  <c:v>9.8609063699900101</c:v>
                </c:pt>
                <c:pt idx="269">
                  <c:v>9.8510454636200198</c:v>
                </c:pt>
                <c:pt idx="270">
                  <c:v>9.8411944181563999</c:v>
                </c:pt>
                <c:pt idx="271">
                  <c:v>9.8313532237382439</c:v>
                </c:pt>
                <c:pt idx="272">
                  <c:v>9.8215218705145055</c:v>
                </c:pt>
                <c:pt idx="273">
                  <c:v>9.8117003486439902</c:v>
                </c:pt>
                <c:pt idx="274">
                  <c:v>9.8018886482953462</c:v>
                </c:pt>
                <c:pt idx="275">
                  <c:v>9.7920867596470504</c:v>
                </c:pt>
                <c:pt idx="276">
                  <c:v>9.782294672887403</c:v>
                </c:pt>
                <c:pt idx="277">
                  <c:v>9.7725123782145147</c:v>
                </c:pt>
                <c:pt idx="278">
                  <c:v>9.7627398658363003</c:v>
                </c:pt>
                <c:pt idx="279">
                  <c:v>9.7529771259704638</c:v>
                </c:pt>
                <c:pt idx="280">
                  <c:v>9.7432241488444937</c:v>
                </c:pt>
                <c:pt idx="281">
                  <c:v>9.73348092469565</c:v>
                </c:pt>
                <c:pt idx="282">
                  <c:v>9.7237474437709537</c:v>
                </c:pt>
                <c:pt idx="283">
                  <c:v>9.7140236963271835</c:v>
                </c:pt>
                <c:pt idx="284">
                  <c:v>9.7043096726308562</c:v>
                </c:pt>
                <c:pt idx="285">
                  <c:v>9.6946053629582245</c:v>
                </c:pt>
                <c:pt idx="286">
                  <c:v>9.6849107575952669</c:v>
                </c:pt>
                <c:pt idx="287">
                  <c:v>9.6752258468376713</c:v>
                </c:pt>
                <c:pt idx="288">
                  <c:v>9.6655506209908335</c:v>
                </c:pt>
                <c:pt idx="289">
                  <c:v>9.6558850703698429</c:v>
                </c:pt>
                <c:pt idx="290">
                  <c:v>9.6462291852994735</c:v>
                </c:pt>
                <c:pt idx="291">
                  <c:v>9.6365829561141734</c:v>
                </c:pt>
                <c:pt idx="292">
                  <c:v>9.6269463731580593</c:v>
                </c:pt>
                <c:pt idx="293">
                  <c:v>9.6173194267849009</c:v>
                </c:pt>
                <c:pt idx="294">
                  <c:v>9.6077021073581168</c:v>
                </c:pt>
                <c:pt idx="295">
                  <c:v>9.5980944052507589</c:v>
                </c:pt>
                <c:pt idx="296">
                  <c:v>9.5884963108455086</c:v>
                </c:pt>
                <c:pt idx="297">
                  <c:v>9.5789078145346629</c:v>
                </c:pt>
                <c:pt idx="298">
                  <c:v>9.5693289067201288</c:v>
                </c:pt>
                <c:pt idx="299">
                  <c:v>9.5597595778134092</c:v>
                </c:pt>
                <c:pt idx="300">
                  <c:v>9.5501998182355958</c:v>
                </c:pt>
                <c:pt idx="301">
                  <c:v>9.5406496184173601</c:v>
                </c:pt>
                <c:pt idx="302">
                  <c:v>9.531108968798943</c:v>
                </c:pt>
                <c:pt idx="303">
                  <c:v>9.5215778598301437</c:v>
                </c:pt>
                <c:pt idx="304">
                  <c:v>9.5120562819703132</c:v>
                </c:pt>
                <c:pt idx="305">
                  <c:v>9.502544225688343</c:v>
                </c:pt>
                <c:pt idx="306">
                  <c:v>9.493041681462655</c:v>
                </c:pt>
                <c:pt idx="307">
                  <c:v>9.4835486397811923</c:v>
                </c:pt>
                <c:pt idx="308">
                  <c:v>9.4740650911414104</c:v>
                </c:pt>
                <c:pt idx="309">
                  <c:v>9.4645910260502681</c:v>
                </c:pt>
                <c:pt idx="310">
                  <c:v>9.4551264350242175</c:v>
                </c:pt>
                <c:pt idx="311">
                  <c:v>9.4456713085891941</c:v>
                </c:pt>
                <c:pt idx="312">
                  <c:v>9.4362256372806055</c:v>
                </c:pt>
                <c:pt idx="313">
                  <c:v>9.4267894116433251</c:v>
                </c:pt>
                <c:pt idx="314">
                  <c:v>9.417362622231682</c:v>
                </c:pt>
                <c:pt idx="315">
                  <c:v>9.4079452596094502</c:v>
                </c:pt>
                <c:pt idx="316">
                  <c:v>9.3985373143498414</c:v>
                </c:pt>
                <c:pt idx="317">
                  <c:v>9.389138777035491</c:v>
                </c:pt>
                <c:pt idx="318">
                  <c:v>9.3797496382584562</c:v>
                </c:pt>
                <c:pt idx="319">
                  <c:v>9.370369888620198</c:v>
                </c:pt>
                <c:pt idx="320">
                  <c:v>9.3609995187315782</c:v>
                </c:pt>
                <c:pt idx="321">
                  <c:v>9.3516385192128464</c:v>
                </c:pt>
                <c:pt idx="322">
                  <c:v>9.3422868806936332</c:v>
                </c:pt>
                <c:pt idx="323">
                  <c:v>9.3329445938129396</c:v>
                </c:pt>
                <c:pt idx="324">
                  <c:v>9.3236116492191261</c:v>
                </c:pt>
                <c:pt idx="325">
                  <c:v>9.3142880375699075</c:v>
                </c:pt>
                <c:pt idx="326">
                  <c:v>9.304973749532337</c:v>
                </c:pt>
                <c:pt idx="327">
                  <c:v>9.2956687757828043</c:v>
                </c:pt>
                <c:pt idx="328">
                  <c:v>9.2863731070070212</c:v>
                </c:pt>
                <c:pt idx="329">
                  <c:v>9.2770867339000134</c:v>
                </c:pt>
                <c:pt idx="330">
                  <c:v>9.2678096471661142</c:v>
                </c:pt>
                <c:pt idx="331">
                  <c:v>9.2585418375189477</c:v>
                </c:pt>
                <c:pt idx="332">
                  <c:v>9.2492832956814279</c:v>
                </c:pt>
                <c:pt idx="333">
                  <c:v>9.2400340123857472</c:v>
                </c:pt>
                <c:pt idx="334">
                  <c:v>9.2307939783733612</c:v>
                </c:pt>
                <c:pt idx="335">
                  <c:v>9.2215631843949879</c:v>
                </c:pt>
                <c:pt idx="336">
                  <c:v>9.2123416212105926</c:v>
                </c:pt>
                <c:pt idx="337">
                  <c:v>9.2031292795893815</c:v>
                </c:pt>
                <c:pt idx="338">
                  <c:v>9.1939261503097924</c:v>
                </c:pt>
                <c:pt idx="339">
                  <c:v>9.1847322241594824</c:v>
                </c:pt>
                <c:pt idx="340">
                  <c:v>9.1755474919353226</c:v>
                </c:pt>
                <c:pt idx="341">
                  <c:v>9.1663719444433873</c:v>
                </c:pt>
                <c:pt idx="342">
                  <c:v>9.1572055724989436</c:v>
                </c:pt>
                <c:pt idx="343">
                  <c:v>9.1480483669264441</c:v>
                </c:pt>
                <c:pt idx="344">
                  <c:v>9.1389003185595179</c:v>
                </c:pt>
                <c:pt idx="345">
                  <c:v>9.1297614182409585</c:v>
                </c:pt>
                <c:pt idx="346">
                  <c:v>9.1206316568227184</c:v>
                </c:pt>
                <c:pt idx="347">
                  <c:v>9.1115110251658962</c:v>
                </c:pt>
                <c:pt idx="348">
                  <c:v>9.1023995141407301</c:v>
                </c:pt>
                <c:pt idx="349">
                  <c:v>9.0932971146265889</c:v>
                </c:pt>
                <c:pt idx="350">
                  <c:v>9.0842038175119626</c:v>
                </c:pt>
                <c:pt idx="351">
                  <c:v>9.0751196136944507</c:v>
                </c:pt>
                <c:pt idx="352">
                  <c:v>9.0660444940807565</c:v>
                </c:pt>
                <c:pt idx="353">
                  <c:v>9.0569784495866763</c:v>
                </c:pt>
                <c:pt idx="354">
                  <c:v>9.047921471137089</c:v>
                </c:pt>
                <c:pt idx="355">
                  <c:v>9.0388735496659525</c:v>
                </c:pt>
                <c:pt idx="356">
                  <c:v>9.0298346761162858</c:v>
                </c:pt>
                <c:pt idx="357">
                  <c:v>9.0208048414401691</c:v>
                </c:pt>
                <c:pt idx="358">
                  <c:v>9.0117840365987298</c:v>
                </c:pt>
                <c:pt idx="359">
                  <c:v>9.0027722525621314</c:v>
                </c:pt>
                <c:pt idx="360">
                  <c:v>8.9937694803095685</c:v>
                </c:pt>
                <c:pt idx="361">
                  <c:v>8.9847757108292594</c:v>
                </c:pt>
                <c:pt idx="362">
                  <c:v>8.9757909351184306</c:v>
                </c:pt>
                <c:pt idx="363">
                  <c:v>8.9668151441833128</c:v>
                </c:pt>
                <c:pt idx="364">
                  <c:v>8.9578483290391286</c:v>
                </c:pt>
                <c:pt idx="365">
                  <c:v>8.9488904807100891</c:v>
                </c:pt>
                <c:pt idx="366">
                  <c:v>8.9399415902293793</c:v>
                </c:pt>
                <c:pt idx="367">
                  <c:v>8.9310016486391497</c:v>
                </c:pt>
                <c:pt idx="368">
                  <c:v>8.9220706469905107</c:v>
                </c:pt>
                <c:pt idx="369">
                  <c:v>8.9131485763435201</c:v>
                </c:pt>
                <c:pt idx="370">
                  <c:v>8.9042354277671762</c:v>
                </c:pt>
                <c:pt idx="371">
                  <c:v>8.8953311923394089</c:v>
                </c:pt>
                <c:pt idx="372">
                  <c:v>8.8864358611470688</c:v>
                </c:pt>
                <c:pt idx="373">
                  <c:v>8.8775494252859222</c:v>
                </c:pt>
                <c:pt idx="374">
                  <c:v>8.8686718758606364</c:v>
                </c:pt>
                <c:pt idx="375">
                  <c:v>8.8598032039847752</c:v>
                </c:pt>
                <c:pt idx="376">
                  <c:v>8.8509434007807908</c:v>
                </c:pt>
                <c:pt idx="377">
                  <c:v>8.8420924573800104</c:v>
                </c:pt>
                <c:pt idx="378">
                  <c:v>8.8332503649226304</c:v>
                </c:pt>
                <c:pt idx="379">
                  <c:v>8.8244171145577077</c:v>
                </c:pt>
                <c:pt idx="380">
                  <c:v>8.8155926974431509</c:v>
                </c:pt>
                <c:pt idx="381">
                  <c:v>8.8067771047457075</c:v>
                </c:pt>
                <c:pt idx="382">
                  <c:v>8.7979703276409627</c:v>
                </c:pt>
                <c:pt idx="383">
                  <c:v>8.7891723573133209</c:v>
                </c:pt>
                <c:pt idx="384">
                  <c:v>8.7803831849560083</c:v>
                </c:pt>
                <c:pt idx="385">
                  <c:v>8.7716028017710528</c:v>
                </c:pt>
                <c:pt idx="386">
                  <c:v>8.7628311989692822</c:v>
                </c:pt>
                <c:pt idx="387">
                  <c:v>8.7540683677703122</c:v>
                </c:pt>
                <c:pt idx="388">
                  <c:v>8.7453142994025423</c:v>
                </c:pt>
                <c:pt idx="389">
                  <c:v>8.7365689851031405</c:v>
                </c:pt>
                <c:pt idx="390">
                  <c:v>8.7278324161180372</c:v>
                </c:pt>
                <c:pt idx="391">
                  <c:v>8.7191045837019185</c:v>
                </c:pt>
                <c:pt idx="392">
                  <c:v>8.7103854791182158</c:v>
                </c:pt>
                <c:pt idx="393">
                  <c:v>8.7016750936390981</c:v>
                </c:pt>
                <c:pt idx="394">
                  <c:v>8.6929734185454581</c:v>
                </c:pt>
                <c:pt idx="395">
                  <c:v>8.6842804451269124</c:v>
                </c:pt>
                <c:pt idx="396">
                  <c:v>8.6755961646817852</c:v>
                </c:pt>
                <c:pt idx="397">
                  <c:v>8.6669205685171029</c:v>
                </c:pt>
                <c:pt idx="398">
                  <c:v>8.6582536479485857</c:v>
                </c:pt>
                <c:pt idx="399">
                  <c:v>8.6495953943006363</c:v>
                </c:pt>
                <c:pt idx="400">
                  <c:v>8.6409457989063352</c:v>
                </c:pt>
                <c:pt idx="401">
                  <c:v>8.6323048531074296</c:v>
                </c:pt>
                <c:pt idx="402">
                  <c:v>8.6236725482543228</c:v>
                </c:pt>
                <c:pt idx="403">
                  <c:v>8.6150488757060693</c:v>
                </c:pt>
                <c:pt idx="404">
                  <c:v>8.6064338268303633</c:v>
                </c:pt>
                <c:pt idx="405">
                  <c:v>8.5978273930035325</c:v>
                </c:pt>
                <c:pt idx="406">
                  <c:v>8.5892295656105286</c:v>
                </c:pt>
                <c:pt idx="407">
                  <c:v>8.5806403360449188</c:v>
                </c:pt>
                <c:pt idx="408">
                  <c:v>8.5720596957088731</c:v>
                </c:pt>
                <c:pt idx="409">
                  <c:v>8.5634876360131642</c:v>
                </c:pt>
                <c:pt idx="410">
                  <c:v>8.5549241483771503</c:v>
                </c:pt>
                <c:pt idx="411">
                  <c:v>8.5463692242287728</c:v>
                </c:pt>
                <c:pt idx="412">
                  <c:v>8.5378228550045439</c:v>
                </c:pt>
                <c:pt idx="413">
                  <c:v>8.5292850321495397</c:v>
                </c:pt>
                <c:pt idx="414">
                  <c:v>8.5207557471173896</c:v>
                </c:pt>
                <c:pt idx="415">
                  <c:v>8.5122349913702724</c:v>
                </c:pt>
                <c:pt idx="416">
                  <c:v>8.5037227563789024</c:v>
                </c:pt>
                <c:pt idx="417">
                  <c:v>8.495219033622524</c:v>
                </c:pt>
                <c:pt idx="418">
                  <c:v>8.4867238145889008</c:v>
                </c:pt>
                <c:pt idx="419">
                  <c:v>8.4782370907743125</c:v>
                </c:pt>
                <c:pt idx="420">
                  <c:v>8.4697588536835386</c:v>
                </c:pt>
                <c:pt idx="421">
                  <c:v>8.4612890948298549</c:v>
                </c:pt>
                <c:pt idx="422">
                  <c:v>8.4528278057350246</c:v>
                </c:pt>
                <c:pt idx="423">
                  <c:v>8.4443749779292894</c:v>
                </c:pt>
                <c:pt idx="424">
                  <c:v>8.4359306029513608</c:v>
                </c:pt>
                <c:pt idx="425">
                  <c:v>8.4274946723484092</c:v>
                </c:pt>
                <c:pt idx="426">
                  <c:v>8.4190671776760606</c:v>
                </c:pt>
                <c:pt idx="427">
                  <c:v>8.4106481104983839</c:v>
                </c:pt>
                <c:pt idx="428">
                  <c:v>8.4022374623878857</c:v>
                </c:pt>
                <c:pt idx="429">
                  <c:v>8.3938352249254979</c:v>
                </c:pt>
                <c:pt idx="430">
                  <c:v>8.3854413897005724</c:v>
                </c:pt>
                <c:pt idx="431">
                  <c:v>8.377055948310872</c:v>
                </c:pt>
                <c:pt idx="432">
                  <c:v>8.3686788923625617</c:v>
                </c:pt>
                <c:pt idx="433">
                  <c:v>8.3603102134701999</c:v>
                </c:pt>
                <c:pt idx="434">
                  <c:v>8.3519499032567293</c:v>
                </c:pt>
                <c:pt idx="435">
                  <c:v>8.3435979533534717</c:v>
                </c:pt>
                <c:pt idx="436">
                  <c:v>8.3352543554001191</c:v>
                </c:pt>
                <c:pt idx="437">
                  <c:v>8.3269191010447194</c:v>
                </c:pt>
                <c:pt idx="438">
                  <c:v>8.318592181943675</c:v>
                </c:pt>
                <c:pt idx="439">
                  <c:v>8.3102735897617315</c:v>
                </c:pt>
                <c:pt idx="440">
                  <c:v>8.3019633161719693</c:v>
                </c:pt>
                <c:pt idx="441">
                  <c:v>8.2936613528557981</c:v>
                </c:pt>
                <c:pt idx="442">
                  <c:v>8.2853676915029428</c:v>
                </c:pt>
                <c:pt idx="443">
                  <c:v>8.2770823238114399</c:v>
                </c:pt>
                <c:pt idx="444">
                  <c:v>8.2688052414876285</c:v>
                </c:pt>
                <c:pt idx="445">
                  <c:v>8.2605364362461415</c:v>
                </c:pt>
                <c:pt idx="446">
                  <c:v>8.2522758998098951</c:v>
                </c:pt>
                <c:pt idx="447">
                  <c:v>8.2440236239100848</c:v>
                </c:pt>
                <c:pt idx="448">
                  <c:v>8.2357796002861754</c:v>
                </c:pt>
                <c:pt idx="449">
                  <c:v>8.2275438206858897</c:v>
                </c:pt>
                <c:pt idx="450">
                  <c:v>8.2193162768652037</c:v>
                </c:pt>
                <c:pt idx="451">
                  <c:v>8.211096960588339</c:v>
                </c:pt>
                <c:pt idx="452">
                  <c:v>8.2028858636277509</c:v>
                </c:pt>
                <c:pt idx="453">
                  <c:v>8.1946829777641224</c:v>
                </c:pt>
                <c:pt idx="454">
                  <c:v>8.1864882947863578</c:v>
                </c:pt>
                <c:pt idx="455">
                  <c:v>8.1783018064915716</c:v>
                </c:pt>
                <c:pt idx="456">
                  <c:v>8.1701235046850798</c:v>
                </c:pt>
                <c:pt idx="457">
                  <c:v>8.1619533811803944</c:v>
                </c:pt>
                <c:pt idx="458">
                  <c:v>8.1537914277992147</c:v>
                </c:pt>
                <c:pt idx="459">
                  <c:v>8.1456376363714149</c:v>
                </c:pt>
                <c:pt idx="460">
                  <c:v>8.1374919987350438</c:v>
                </c:pt>
                <c:pt idx="461">
                  <c:v>8.1293545067363091</c:v>
                </c:pt>
                <c:pt idx="462">
                  <c:v>8.121225152229572</c:v>
                </c:pt>
                <c:pt idx="463">
                  <c:v>8.1131039270773417</c:v>
                </c:pt>
                <c:pt idx="464">
                  <c:v>8.1049908231502652</c:v>
                </c:pt>
                <c:pt idx="465">
                  <c:v>8.0968858323271142</c:v>
                </c:pt>
                <c:pt idx="466">
                  <c:v>8.0887889464947875</c:v>
                </c:pt>
                <c:pt idx="467">
                  <c:v>8.0807001575482929</c:v>
                </c:pt>
                <c:pt idx="468">
                  <c:v>8.0726194573907453</c:v>
                </c:pt>
                <c:pt idx="469">
                  <c:v>8.0645468379333547</c:v>
                </c:pt>
                <c:pt idx="470">
                  <c:v>8.0564822910954206</c:v>
                </c:pt>
                <c:pt idx="471">
                  <c:v>8.0484258088043248</c:v>
                </c:pt>
                <c:pt idx="472">
                  <c:v>8.040377382995521</c:v>
                </c:pt>
                <c:pt idx="473">
                  <c:v>8.0323370056125256</c:v>
                </c:pt>
                <c:pt idx="474">
                  <c:v>8.0243046686069128</c:v>
                </c:pt>
                <c:pt idx="475">
                  <c:v>8.0162803639383053</c:v>
                </c:pt>
                <c:pt idx="476">
                  <c:v>8.0082640835743675</c:v>
                </c:pt>
                <c:pt idx="477">
                  <c:v>8.0002558194907927</c:v>
                </c:pt>
                <c:pt idx="478">
                  <c:v>7.9922555636713017</c:v>
                </c:pt>
                <c:pt idx="479">
                  <c:v>7.9842633081076304</c:v>
                </c:pt>
                <c:pt idx="480">
                  <c:v>7.9762790447995231</c:v>
                </c:pt>
                <c:pt idx="481">
                  <c:v>7.9683027657547232</c:v>
                </c:pt>
                <c:pt idx="482">
                  <c:v>7.9603344629889685</c:v>
                </c:pt>
                <c:pt idx="483">
                  <c:v>7.9523741285259799</c:v>
                </c:pt>
                <c:pt idx="484">
                  <c:v>7.944421754397454</c:v>
                </c:pt>
                <c:pt idx="485">
                  <c:v>7.9364773326430562</c:v>
                </c:pt>
                <c:pt idx="486">
                  <c:v>7.9285408553104135</c:v>
                </c:pt>
                <c:pt idx="487">
                  <c:v>7.9206123144551031</c:v>
                </c:pt>
                <c:pt idx="488">
                  <c:v>7.9126917021406475</c:v>
                </c:pt>
                <c:pt idx="489">
                  <c:v>7.9047790104385065</c:v>
                </c:pt>
                <c:pt idx="490">
                  <c:v>7.8968742314280682</c:v>
                </c:pt>
                <c:pt idx="491">
                  <c:v>7.88897735719664</c:v>
                </c:pt>
                <c:pt idx="492">
                  <c:v>7.8810883798394435</c:v>
                </c:pt>
                <c:pt idx="493">
                  <c:v>7.8732072914596039</c:v>
                </c:pt>
                <c:pt idx="494">
                  <c:v>7.8653340841681443</c:v>
                </c:pt>
                <c:pt idx="495">
                  <c:v>7.8574687500839762</c:v>
                </c:pt>
                <c:pt idx="496">
                  <c:v>7.8496112813338925</c:v>
                </c:pt>
                <c:pt idx="497">
                  <c:v>7.8417616700525583</c:v>
                </c:pt>
                <c:pt idx="498">
                  <c:v>7.833919908382506</c:v>
                </c:pt>
                <c:pt idx="499">
                  <c:v>7.8260859884741238</c:v>
                </c:pt>
                <c:pt idx="500">
                  <c:v>7.8182599024856501</c:v>
                </c:pt>
                <c:pt idx="501">
                  <c:v>7.8104416425831644</c:v>
                </c:pt>
                <c:pt idx="502">
                  <c:v>7.8026312009405814</c:v>
                </c:pt>
                <c:pt idx="503">
                  <c:v>7.7948285697396411</c:v>
                </c:pt>
                <c:pt idx="504">
                  <c:v>7.7870337411699015</c:v>
                </c:pt>
                <c:pt idx="505">
                  <c:v>7.7792467074287313</c:v>
                </c:pt>
                <c:pt idx="506">
                  <c:v>7.7714674607213023</c:v>
                </c:pt>
                <c:pt idx="507">
                  <c:v>7.7636959932605807</c:v>
                </c:pt>
                <c:pt idx="508">
                  <c:v>7.7559322972673197</c:v>
                </c:pt>
                <c:pt idx="509">
                  <c:v>7.7481763649700524</c:v>
                </c:pt>
                <c:pt idx="510">
                  <c:v>7.7404281886050823</c:v>
                </c:pt>
                <c:pt idx="511">
                  <c:v>7.7326877604164777</c:v>
                </c:pt>
                <c:pt idx="512">
                  <c:v>7.7249550726560612</c:v>
                </c:pt>
                <c:pt idx="513">
                  <c:v>7.717230117583405</c:v>
                </c:pt>
                <c:pt idx="514">
                  <c:v>7.7095128874658219</c:v>
                </c:pt>
                <c:pt idx="515">
                  <c:v>7.7018033745783558</c:v>
                </c:pt>
                <c:pt idx="516">
                  <c:v>7.6941015712037775</c:v>
                </c:pt>
                <c:pt idx="517">
                  <c:v>7.6864074696325737</c:v>
                </c:pt>
                <c:pt idx="518">
                  <c:v>7.6787210621629409</c:v>
                </c:pt>
                <c:pt idx="519">
                  <c:v>7.6710423411007778</c:v>
                </c:pt>
                <c:pt idx="520">
                  <c:v>7.6633712987596772</c:v>
                </c:pt>
                <c:pt idx="521">
                  <c:v>7.6557079274609174</c:v>
                </c:pt>
                <c:pt idx="522">
                  <c:v>7.6480522195334562</c:v>
                </c:pt>
                <c:pt idx="523">
                  <c:v>7.6404041673139229</c:v>
                </c:pt>
                <c:pt idx="524">
                  <c:v>7.6327637631466088</c:v>
                </c:pt>
                <c:pt idx="525">
                  <c:v>7.6251309993834617</c:v>
                </c:pt>
                <c:pt idx="526">
                  <c:v>7.6175058683840779</c:v>
                </c:pt>
                <c:pt idx="527">
                  <c:v>7.6098883625156937</c:v>
                </c:pt>
                <c:pt idx="528">
                  <c:v>7.6022784741531781</c:v>
                </c:pt>
                <c:pt idx="529">
                  <c:v>7.5946761956790247</c:v>
                </c:pt>
                <c:pt idx="530">
                  <c:v>7.5870815194833456</c:v>
                </c:pt>
                <c:pt idx="531">
                  <c:v>7.579494437963862</c:v>
                </c:pt>
                <c:pt idx="532">
                  <c:v>7.5719149435258979</c:v>
                </c:pt>
                <c:pt idx="533">
                  <c:v>7.5643430285823721</c:v>
                </c:pt>
                <c:pt idx="534">
                  <c:v>7.5567786855537893</c:v>
                </c:pt>
                <c:pt idx="535">
                  <c:v>7.5492219068682358</c:v>
                </c:pt>
                <c:pt idx="536">
                  <c:v>7.5416726849613678</c:v>
                </c:pt>
                <c:pt idx="537">
                  <c:v>7.534131012276406</c:v>
                </c:pt>
                <c:pt idx="538">
                  <c:v>7.5265968812641297</c:v>
                </c:pt>
                <c:pt idx="539">
                  <c:v>7.5190702843828658</c:v>
                </c:pt>
                <c:pt idx="540">
                  <c:v>7.5115512140984828</c:v>
                </c:pt>
                <c:pt idx="541">
                  <c:v>7.5040396628843844</c:v>
                </c:pt>
                <c:pt idx="542">
                  <c:v>7.4965356232214999</c:v>
                </c:pt>
                <c:pt idx="543">
                  <c:v>7.4890390875982789</c:v>
                </c:pt>
                <c:pt idx="544">
                  <c:v>7.4815500485106803</c:v>
                </c:pt>
                <c:pt idx="545">
                  <c:v>7.4740684984621693</c:v>
                </c:pt>
                <c:pt idx="546">
                  <c:v>7.466594429963707</c:v>
                </c:pt>
                <c:pt idx="547">
                  <c:v>7.4591278355337431</c:v>
                </c:pt>
                <c:pt idx="548">
                  <c:v>7.4516687076982091</c:v>
                </c:pt>
                <c:pt idx="549">
                  <c:v>7.4442170389905105</c:v>
                </c:pt>
                <c:pt idx="550">
                  <c:v>7.4367728219515197</c:v>
                </c:pt>
                <c:pt idx="551">
                  <c:v>7.4293360491295681</c:v>
                </c:pt>
                <c:pt idx="552">
                  <c:v>7.4219067130804381</c:v>
                </c:pt>
                <c:pt idx="553">
                  <c:v>7.4144848063673576</c:v>
                </c:pt>
                <c:pt idx="554">
                  <c:v>7.4070703215609903</c:v>
                </c:pt>
                <c:pt idx="555">
                  <c:v>7.3996632512394296</c:v>
                </c:pt>
                <c:pt idx="556">
                  <c:v>7.3922635879881904</c:v>
                </c:pt>
                <c:pt idx="557">
                  <c:v>7.3848713244002022</c:v>
                </c:pt>
                <c:pt idx="558">
                  <c:v>7.377486453075802</c:v>
                </c:pt>
                <c:pt idx="559">
                  <c:v>7.370108966622726</c:v>
                </c:pt>
                <c:pt idx="560">
                  <c:v>7.3627388576561028</c:v>
                </c:pt>
                <c:pt idx="561">
                  <c:v>7.3553761187984463</c:v>
                </c:pt>
                <c:pt idx="562">
                  <c:v>7.3480207426796476</c:v>
                </c:pt>
                <c:pt idx="563">
                  <c:v>7.3406727219369676</c:v>
                </c:pt>
                <c:pt idx="564">
                  <c:v>7.3333320492150307</c:v>
                </c:pt>
                <c:pt idx="565">
                  <c:v>7.3259987171658159</c:v>
                </c:pt>
                <c:pt idx="566">
                  <c:v>7.3186727184486502</c:v>
                </c:pt>
                <c:pt idx="567">
                  <c:v>7.3113540457302015</c:v>
                </c:pt>
                <c:pt idx="568">
                  <c:v>7.3040426916844714</c:v>
                </c:pt>
                <c:pt idx="569">
                  <c:v>7.296738648992787</c:v>
                </c:pt>
                <c:pt idx="570">
                  <c:v>7.2894419103437942</c:v>
                </c:pt>
                <c:pt idx="571">
                  <c:v>7.2821524684334502</c:v>
                </c:pt>
                <c:pt idx="572">
                  <c:v>7.2748703159650168</c:v>
                </c:pt>
                <c:pt idx="573">
                  <c:v>7.2675954456490519</c:v>
                </c:pt>
                <c:pt idx="574">
                  <c:v>7.260327850203403</c:v>
                </c:pt>
                <c:pt idx="575">
                  <c:v>7.2530675223531995</c:v>
                </c:pt>
                <c:pt idx="576">
                  <c:v>7.2458144548308461</c:v>
                </c:pt>
                <c:pt idx="577">
                  <c:v>7.2385686403760152</c:v>
                </c:pt>
                <c:pt idx="578">
                  <c:v>7.2313300717356395</c:v>
                </c:pt>
                <c:pt idx="579">
                  <c:v>7.2240987416639042</c:v>
                </c:pt>
                <c:pt idx="580">
                  <c:v>7.2168746429222406</c:v>
                </c:pt>
                <c:pt idx="581">
                  <c:v>7.2096577682793184</c:v>
                </c:pt>
                <c:pt idx="582">
                  <c:v>7.2024481105110389</c:v>
                </c:pt>
                <c:pt idx="583">
                  <c:v>7.1952456624005281</c:v>
                </c:pt>
                <c:pt idx="584">
                  <c:v>7.1880504167381272</c:v>
                </c:pt>
                <c:pt idx="585">
                  <c:v>7.1808623663213886</c:v>
                </c:pt>
                <c:pt idx="586">
                  <c:v>7.1736815039550672</c:v>
                </c:pt>
                <c:pt idx="587">
                  <c:v>7.1665078224511118</c:v>
                </c:pt>
                <c:pt idx="588">
                  <c:v>7.1593413146286604</c:v>
                </c:pt>
                <c:pt idx="589">
                  <c:v>7.1521819733140317</c:v>
                </c:pt>
                <c:pt idx="590">
                  <c:v>7.1450297913407175</c:v>
                </c:pt>
                <c:pt idx="591">
                  <c:v>7.137884761549377</c:v>
                </c:pt>
                <c:pt idx="592">
                  <c:v>7.1307468767878275</c:v>
                </c:pt>
                <c:pt idx="593">
                  <c:v>7.1236161299110394</c:v>
                </c:pt>
                <c:pt idx="594">
                  <c:v>7.1164925137811288</c:v>
                </c:pt>
                <c:pt idx="595">
                  <c:v>7.109376021267348</c:v>
                </c:pt>
                <c:pt idx="596">
                  <c:v>7.1022666452460808</c:v>
                </c:pt>
                <c:pt idx="597">
                  <c:v>7.0951643786008347</c:v>
                </c:pt>
                <c:pt idx="598">
                  <c:v>7.0880692142222337</c:v>
                </c:pt>
                <c:pt idx="599">
                  <c:v>7.0809811450080113</c:v>
                </c:pt>
                <c:pt idx="600">
                  <c:v>7.0739001638630032</c:v>
                </c:pt>
                <c:pt idx="601">
                  <c:v>7.0668262636991406</c:v>
                </c:pt>
                <c:pt idx="602">
                  <c:v>7.0597594374354413</c:v>
                </c:pt>
                <c:pt idx="603">
                  <c:v>7.0526996779980058</c:v>
                </c:pt>
                <c:pt idx="604">
                  <c:v>7.0456469783200077</c:v>
                </c:pt>
                <c:pt idx="605">
                  <c:v>7.0386013313416873</c:v>
                </c:pt>
                <c:pt idx="606">
                  <c:v>7.0315627300103456</c:v>
                </c:pt>
                <c:pt idx="607">
                  <c:v>7.024531167280335</c:v>
                </c:pt>
                <c:pt idx="608">
                  <c:v>7.0175066361130547</c:v>
                </c:pt>
                <c:pt idx="609">
                  <c:v>7.0104891294769418</c:v>
                </c:pt>
                <c:pt idx="610">
                  <c:v>7.0034786403474651</c:v>
                </c:pt>
                <c:pt idx="611">
                  <c:v>6.9964751617071173</c:v>
                </c:pt>
                <c:pt idx="612">
                  <c:v>6.9894786865454099</c:v>
                </c:pt>
                <c:pt idx="613">
                  <c:v>6.9824892078588645</c:v>
                </c:pt>
                <c:pt idx="614">
                  <c:v>6.9755067186510056</c:v>
                </c:pt>
                <c:pt idx="615">
                  <c:v>6.9685312119323548</c:v>
                </c:pt>
                <c:pt idx="616">
                  <c:v>6.9615626807204221</c:v>
                </c:pt>
                <c:pt idx="617">
                  <c:v>6.9546011180397018</c:v>
                </c:pt>
                <c:pt idx="618">
                  <c:v>6.9476465169216617</c:v>
                </c:pt>
                <c:pt idx="619">
                  <c:v>6.9406988704047397</c:v>
                </c:pt>
                <c:pt idx="620">
                  <c:v>6.9337581715343353</c:v>
                </c:pt>
                <c:pt idx="621">
                  <c:v>6.9268244133628007</c:v>
                </c:pt>
                <c:pt idx="622">
                  <c:v>6.9198975889494383</c:v>
                </c:pt>
                <c:pt idx="623">
                  <c:v>6.9129776913604886</c:v>
                </c:pt>
                <c:pt idx="624">
                  <c:v>6.906064713669128</c:v>
                </c:pt>
                <c:pt idx="625">
                  <c:v>6.8991586489554591</c:v>
                </c:pt>
                <c:pt idx="626">
                  <c:v>6.892259490306504</c:v>
                </c:pt>
                <c:pt idx="627">
                  <c:v>6.8853672308161977</c:v>
                </c:pt>
                <c:pt idx="628">
                  <c:v>6.8784818635853817</c:v>
                </c:pt>
                <c:pt idx="629">
                  <c:v>6.8716033817217967</c:v>
                </c:pt>
                <c:pt idx="630">
                  <c:v>6.864731778340075</c:v>
                </c:pt>
                <c:pt idx="631">
                  <c:v>6.8578670465617346</c:v>
                </c:pt>
                <c:pt idx="632">
                  <c:v>6.8510091795151729</c:v>
                </c:pt>
                <c:pt idx="633">
                  <c:v>6.8441581703356578</c:v>
                </c:pt>
                <c:pt idx="634">
                  <c:v>6.8373140121653222</c:v>
                </c:pt>
                <c:pt idx="635">
                  <c:v>6.8304766981531566</c:v>
                </c:pt>
                <c:pt idx="636">
                  <c:v>6.8236462214550038</c:v>
                </c:pt>
                <c:pt idx="637">
                  <c:v>6.816822575233549</c:v>
                </c:pt>
                <c:pt idx="638">
                  <c:v>6.8100057526583155</c:v>
                </c:pt>
                <c:pt idx="639">
                  <c:v>6.803195746905657</c:v>
                </c:pt>
                <c:pt idx="640">
                  <c:v>6.7963925511587515</c:v>
                </c:pt>
                <c:pt idx="641">
                  <c:v>6.7895961586075924</c:v>
                </c:pt>
                <c:pt idx="642">
                  <c:v>6.7828065624489851</c:v>
                </c:pt>
                <c:pt idx="643">
                  <c:v>6.7760237558865359</c:v>
                </c:pt>
                <c:pt idx="644">
                  <c:v>6.7692477321306495</c:v>
                </c:pt>
                <c:pt idx="645">
                  <c:v>6.7624784843985184</c:v>
                </c:pt>
                <c:pt idx="646">
                  <c:v>6.7557160059141195</c:v>
                </c:pt>
                <c:pt idx="647">
                  <c:v>6.7489602899082053</c:v>
                </c:pt>
                <c:pt idx="648">
                  <c:v>6.7422113296182973</c:v>
                </c:pt>
                <c:pt idx="649">
                  <c:v>6.7354691182886786</c:v>
                </c:pt>
                <c:pt idx="650">
                  <c:v>6.7287336491703895</c:v>
                </c:pt>
                <c:pt idx="651">
                  <c:v>6.7220049155212189</c:v>
                </c:pt>
                <c:pt idx="652">
                  <c:v>6.7152829106056977</c:v>
                </c:pt>
                <c:pt idx="653">
                  <c:v>6.7085676276950919</c:v>
                </c:pt>
                <c:pt idx="654">
                  <c:v>6.7018590600673971</c:v>
                </c:pt>
                <c:pt idx="655">
                  <c:v>6.6951572010073299</c:v>
                </c:pt>
                <c:pt idx="656">
                  <c:v>6.6884620438063225</c:v>
                </c:pt>
                <c:pt idx="657">
                  <c:v>6.6817735817625161</c:v>
                </c:pt>
                <c:pt idx="658">
                  <c:v>6.6750918081807535</c:v>
                </c:pt>
                <c:pt idx="659">
                  <c:v>6.6684167163725725</c:v>
                </c:pt>
                <c:pt idx="660">
                  <c:v>6.6617482996561996</c:v>
                </c:pt>
                <c:pt idx="661">
                  <c:v>6.6550865513565434</c:v>
                </c:pt>
                <c:pt idx="662">
                  <c:v>6.6484314648051868</c:v>
                </c:pt>
                <c:pt idx="663">
                  <c:v>6.6417830333403813</c:v>
                </c:pt>
                <c:pt idx="664">
                  <c:v>6.6351412503070408</c:v>
                </c:pt>
                <c:pt idx="665">
                  <c:v>6.6285061090567341</c:v>
                </c:pt>
                <c:pt idx="666">
                  <c:v>6.6218776029476771</c:v>
                </c:pt>
                <c:pt idx="667">
                  <c:v>6.6152557253447295</c:v>
                </c:pt>
                <c:pt idx="668">
                  <c:v>6.6086404696193846</c:v>
                </c:pt>
                <c:pt idx="669">
                  <c:v>6.6020318291497651</c:v>
                </c:pt>
                <c:pt idx="670">
                  <c:v>6.5954297973206151</c:v>
                </c:pt>
                <c:pt idx="671">
                  <c:v>6.5888343675232948</c:v>
                </c:pt>
                <c:pt idx="672">
                  <c:v>6.5822455331557714</c:v>
                </c:pt>
                <c:pt idx="673">
                  <c:v>6.575663287622616</c:v>
                </c:pt>
                <c:pt idx="674">
                  <c:v>6.5690876243349932</c:v>
                </c:pt>
                <c:pt idx="675">
                  <c:v>6.562518536710658</c:v>
                </c:pt>
                <c:pt idx="676">
                  <c:v>6.5559560181739469</c:v>
                </c:pt>
                <c:pt idx="677">
                  <c:v>6.5494000621557733</c:v>
                </c:pt>
                <c:pt idx="678">
                  <c:v>6.5428506620936178</c:v>
                </c:pt>
                <c:pt idx="679">
                  <c:v>6.5363078114315245</c:v>
                </c:pt>
                <c:pt idx="680">
                  <c:v>6.5297715036200934</c:v>
                </c:pt>
                <c:pt idx="681">
                  <c:v>6.5232417321164737</c:v>
                </c:pt>
                <c:pt idx="682">
                  <c:v>6.5167184903843571</c:v>
                </c:pt>
                <c:pt idx="683">
                  <c:v>6.5102017718939731</c:v>
                </c:pt>
                <c:pt idx="684">
                  <c:v>6.5036915701220792</c:v>
                </c:pt>
                <c:pt idx="685">
                  <c:v>6.4971878785519568</c:v>
                </c:pt>
                <c:pt idx="686">
                  <c:v>6.4906906906734045</c:v>
                </c:pt>
                <c:pt idx="687">
                  <c:v>6.4841999999827316</c:v>
                </c:pt>
                <c:pt idx="688">
                  <c:v>6.4777157999827484</c:v>
                </c:pt>
                <c:pt idx="689">
                  <c:v>6.4712380841827652</c:v>
                </c:pt>
                <c:pt idx="690">
                  <c:v>6.4647668460985823</c:v>
                </c:pt>
                <c:pt idx="691">
                  <c:v>6.4583020792524835</c:v>
                </c:pt>
                <c:pt idx="692">
                  <c:v>6.4518437771732309</c:v>
                </c:pt>
                <c:pt idx="693">
                  <c:v>6.4453919333960572</c:v>
                </c:pt>
                <c:pt idx="694">
                  <c:v>6.438946541462661</c:v>
                </c:pt>
                <c:pt idx="695">
                  <c:v>6.4325075949211987</c:v>
                </c:pt>
                <c:pt idx="696">
                  <c:v>6.42607508732627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CF-7648-9594-286694637F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15858512"/>
        <c:axId val="615856352"/>
      </c:barChart>
      <c:catAx>
        <c:axId val="6158585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15856352"/>
        <c:crosses val="autoZero"/>
        <c:auto val="1"/>
        <c:lblAlgn val="ctr"/>
        <c:lblOffset val="100"/>
        <c:noMultiLvlLbl val="0"/>
      </c:catAx>
      <c:valAx>
        <c:axId val="6158563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20000"/>
                  <a:lumOff val="8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58585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81F165F-88FD-0F49-BE5E-543C6AE3943A}" type="doc">
      <dgm:prSet loTypeId="urn:microsoft.com/office/officeart/2005/8/layout/hChevron3" loCatId="" qsTypeId="urn:microsoft.com/office/officeart/2005/8/quickstyle/simple1" qsCatId="simple" csTypeId="urn:microsoft.com/office/officeart/2005/8/colors/accent1_2" csCatId="accent1" phldr="1"/>
      <dgm:spPr/>
    </dgm:pt>
    <dgm:pt modelId="{F25FDE00-3150-7C40-802A-15F9D786E62A}">
      <dgm:prSet phldrT="[Text]"/>
      <dgm:spPr>
        <a:solidFill>
          <a:srgbClr val="036E3D"/>
        </a:solidFill>
        <a:ln>
          <a:noFill/>
        </a:ln>
      </dgm:spPr>
      <dgm:t>
        <a:bodyPr/>
        <a:lstStyle/>
        <a:p>
          <a:endParaRPr lang="en-US"/>
        </a:p>
      </dgm:t>
    </dgm:pt>
    <dgm:pt modelId="{720D6F4F-0792-DB4E-9628-D6C7D483B106}" type="parTrans" cxnId="{D146952A-992B-9E42-950C-4AC59B760E13}">
      <dgm:prSet/>
      <dgm:spPr/>
      <dgm:t>
        <a:bodyPr/>
        <a:lstStyle/>
        <a:p>
          <a:endParaRPr lang="en-US"/>
        </a:p>
      </dgm:t>
    </dgm:pt>
    <dgm:pt modelId="{D466D50F-E9A4-5942-AEBC-16FD4AB72BA9}" type="sibTrans" cxnId="{D146952A-992B-9E42-950C-4AC59B760E13}">
      <dgm:prSet/>
      <dgm:spPr/>
      <dgm:t>
        <a:bodyPr/>
        <a:lstStyle/>
        <a:p>
          <a:endParaRPr lang="en-US"/>
        </a:p>
      </dgm:t>
    </dgm:pt>
    <dgm:pt modelId="{C635E773-73F4-C345-876F-EC49C0411170}">
      <dgm:prSet phldrT="[Text]"/>
      <dgm:spPr>
        <a:solidFill>
          <a:srgbClr val="24A558"/>
        </a:solidFill>
        <a:ln>
          <a:solidFill>
            <a:srgbClr val="29A457"/>
          </a:solidFill>
        </a:ln>
      </dgm:spPr>
      <dgm:t>
        <a:bodyPr/>
        <a:lstStyle/>
        <a:p>
          <a:endParaRPr lang="en-US"/>
        </a:p>
      </dgm:t>
    </dgm:pt>
    <dgm:pt modelId="{EA1D7F34-9907-924C-A925-0273FC50CAFF}" type="sibTrans" cxnId="{FA0D96AF-8DB6-EE4F-AE6A-1957C94BF852}">
      <dgm:prSet/>
      <dgm:spPr/>
      <dgm:t>
        <a:bodyPr/>
        <a:lstStyle/>
        <a:p>
          <a:endParaRPr lang="en-US"/>
        </a:p>
      </dgm:t>
    </dgm:pt>
    <dgm:pt modelId="{B45208C6-8991-2B41-8692-AA509185E479}" type="parTrans" cxnId="{FA0D96AF-8DB6-EE4F-AE6A-1957C94BF852}">
      <dgm:prSet/>
      <dgm:spPr/>
      <dgm:t>
        <a:bodyPr/>
        <a:lstStyle/>
        <a:p>
          <a:endParaRPr lang="en-US"/>
        </a:p>
      </dgm:t>
    </dgm:pt>
    <dgm:pt modelId="{F1633484-F410-2049-89F6-2A52C17E2BA3}">
      <dgm:prSet phldrT="[Text]"/>
      <dgm:spPr>
        <a:solidFill>
          <a:srgbClr val="1D964B"/>
        </a:solidFill>
        <a:ln>
          <a:noFill/>
        </a:ln>
      </dgm:spPr>
      <dgm:t>
        <a:bodyPr/>
        <a:lstStyle/>
        <a:p>
          <a:endParaRPr lang="en-US"/>
        </a:p>
      </dgm:t>
    </dgm:pt>
    <dgm:pt modelId="{A67590F1-B987-3746-B308-B8D98A49756B}" type="sibTrans" cxnId="{3631B879-F5E6-3F41-A66D-AD3AA9702EE4}">
      <dgm:prSet/>
      <dgm:spPr/>
      <dgm:t>
        <a:bodyPr/>
        <a:lstStyle/>
        <a:p>
          <a:endParaRPr lang="en-US"/>
        </a:p>
      </dgm:t>
    </dgm:pt>
    <dgm:pt modelId="{CD23FA30-E65A-E44D-BC53-47352EB50C35}" type="parTrans" cxnId="{3631B879-F5E6-3F41-A66D-AD3AA9702EE4}">
      <dgm:prSet/>
      <dgm:spPr/>
      <dgm:t>
        <a:bodyPr/>
        <a:lstStyle/>
        <a:p>
          <a:endParaRPr lang="en-US"/>
        </a:p>
      </dgm:t>
    </dgm:pt>
    <dgm:pt modelId="{4AB4F7B6-F891-D148-ABF8-45A330A683E7}">
      <dgm:prSet phldrT="[Text]"/>
      <dgm:spPr>
        <a:solidFill>
          <a:srgbClr val="198C44"/>
        </a:solidFill>
        <a:ln>
          <a:noFill/>
        </a:ln>
      </dgm:spPr>
      <dgm:t>
        <a:bodyPr/>
        <a:lstStyle/>
        <a:p>
          <a:endParaRPr lang="en-US"/>
        </a:p>
      </dgm:t>
    </dgm:pt>
    <dgm:pt modelId="{4056527B-BE44-2543-B068-3708481FF1DB}" type="sibTrans" cxnId="{A5DED3B7-3973-A94E-9A89-2879DA442BED}">
      <dgm:prSet/>
      <dgm:spPr/>
      <dgm:t>
        <a:bodyPr/>
        <a:lstStyle/>
        <a:p>
          <a:endParaRPr lang="en-US"/>
        </a:p>
      </dgm:t>
    </dgm:pt>
    <dgm:pt modelId="{EE3424BD-59A7-CA41-85D8-E70F0B263D75}" type="parTrans" cxnId="{A5DED3B7-3973-A94E-9A89-2879DA442BED}">
      <dgm:prSet/>
      <dgm:spPr/>
      <dgm:t>
        <a:bodyPr/>
        <a:lstStyle/>
        <a:p>
          <a:endParaRPr lang="en-US"/>
        </a:p>
      </dgm:t>
    </dgm:pt>
    <dgm:pt modelId="{0237B2AD-8EFF-B34C-A3FB-1154414511F8}">
      <dgm:prSet phldrT="[Text]"/>
      <dgm:spPr>
        <a:solidFill>
          <a:srgbClr val="037A42"/>
        </a:solidFill>
        <a:ln>
          <a:noFill/>
        </a:ln>
      </dgm:spPr>
      <dgm:t>
        <a:bodyPr/>
        <a:lstStyle/>
        <a:p>
          <a:endParaRPr lang="en-US"/>
        </a:p>
      </dgm:t>
    </dgm:pt>
    <dgm:pt modelId="{0CC06259-4754-0C4E-8A8E-EAEF15EFDF71}" type="sibTrans" cxnId="{A418181B-195F-C540-A70E-33DD1BB18438}">
      <dgm:prSet/>
      <dgm:spPr/>
      <dgm:t>
        <a:bodyPr/>
        <a:lstStyle/>
        <a:p>
          <a:endParaRPr lang="en-US"/>
        </a:p>
      </dgm:t>
    </dgm:pt>
    <dgm:pt modelId="{D624C5D0-33DF-2C47-8B35-75619E60B953}" type="parTrans" cxnId="{A418181B-195F-C540-A70E-33DD1BB18438}">
      <dgm:prSet/>
      <dgm:spPr/>
      <dgm:t>
        <a:bodyPr/>
        <a:lstStyle/>
        <a:p>
          <a:endParaRPr lang="en-US"/>
        </a:p>
      </dgm:t>
    </dgm:pt>
    <dgm:pt modelId="{DC06D3F0-5939-3B40-BE38-69B6816FF1BC}" type="pres">
      <dgm:prSet presAssocID="{781F165F-88FD-0F49-BE5E-543C6AE3943A}" presName="Name0" presStyleCnt="0">
        <dgm:presLayoutVars>
          <dgm:dir/>
          <dgm:resizeHandles val="exact"/>
        </dgm:presLayoutVars>
      </dgm:prSet>
      <dgm:spPr/>
    </dgm:pt>
    <dgm:pt modelId="{50EAD4B2-E716-D742-879F-CD20B48D44D7}" type="pres">
      <dgm:prSet presAssocID="{C635E773-73F4-C345-876F-EC49C0411170}" presName="parTxOnly" presStyleLbl="node1" presStyleIdx="0" presStyleCnt="5" custScaleY="74745">
        <dgm:presLayoutVars>
          <dgm:bulletEnabled val="1"/>
        </dgm:presLayoutVars>
      </dgm:prSet>
      <dgm:spPr/>
    </dgm:pt>
    <dgm:pt modelId="{4606B817-F00B-414A-B82D-CF923619FEF1}" type="pres">
      <dgm:prSet presAssocID="{EA1D7F34-9907-924C-A925-0273FC50CAFF}" presName="parSpace" presStyleCnt="0"/>
      <dgm:spPr/>
    </dgm:pt>
    <dgm:pt modelId="{5D4AE62E-D122-E549-9FDE-C5A6579226E6}" type="pres">
      <dgm:prSet presAssocID="{F1633484-F410-2049-89F6-2A52C17E2BA3}" presName="parTxOnly" presStyleLbl="node1" presStyleIdx="1" presStyleCnt="5">
        <dgm:presLayoutVars>
          <dgm:bulletEnabled val="1"/>
        </dgm:presLayoutVars>
      </dgm:prSet>
      <dgm:spPr/>
    </dgm:pt>
    <dgm:pt modelId="{1A42C200-678F-244F-8ED2-D5EB0B003BE6}" type="pres">
      <dgm:prSet presAssocID="{A67590F1-B987-3746-B308-B8D98A49756B}" presName="parSpace" presStyleCnt="0"/>
      <dgm:spPr/>
    </dgm:pt>
    <dgm:pt modelId="{37E9EE08-28DD-1043-85D6-6F389C61BA97}" type="pres">
      <dgm:prSet presAssocID="{4AB4F7B6-F891-D148-ABF8-45A330A683E7}" presName="parTxOnly" presStyleLbl="node1" presStyleIdx="2" presStyleCnt="5">
        <dgm:presLayoutVars>
          <dgm:bulletEnabled val="1"/>
        </dgm:presLayoutVars>
      </dgm:prSet>
      <dgm:spPr/>
    </dgm:pt>
    <dgm:pt modelId="{04965C53-6357-2A48-96C1-2BF8A7D297B5}" type="pres">
      <dgm:prSet presAssocID="{4056527B-BE44-2543-B068-3708481FF1DB}" presName="parSpace" presStyleCnt="0"/>
      <dgm:spPr/>
    </dgm:pt>
    <dgm:pt modelId="{A321AFAD-7A09-B44E-BB82-A6F453920C7D}" type="pres">
      <dgm:prSet presAssocID="{0237B2AD-8EFF-B34C-A3FB-1154414511F8}" presName="parTxOnly" presStyleLbl="node1" presStyleIdx="3" presStyleCnt="5">
        <dgm:presLayoutVars>
          <dgm:bulletEnabled val="1"/>
        </dgm:presLayoutVars>
      </dgm:prSet>
      <dgm:spPr/>
    </dgm:pt>
    <dgm:pt modelId="{CC20E6BA-B6D8-B642-97CB-782BBC8EAFC8}" type="pres">
      <dgm:prSet presAssocID="{0CC06259-4754-0C4E-8A8E-EAEF15EFDF71}" presName="parSpace" presStyleCnt="0"/>
      <dgm:spPr/>
    </dgm:pt>
    <dgm:pt modelId="{5F174EF4-47BF-034A-A5EF-AE2C38F44384}" type="pres">
      <dgm:prSet presAssocID="{F25FDE00-3150-7C40-802A-15F9D786E62A}" presName="parTxOnly" presStyleLbl="node1" presStyleIdx="4" presStyleCnt="5">
        <dgm:presLayoutVars>
          <dgm:bulletEnabled val="1"/>
        </dgm:presLayoutVars>
      </dgm:prSet>
      <dgm:spPr/>
    </dgm:pt>
  </dgm:ptLst>
  <dgm:cxnLst>
    <dgm:cxn modelId="{F4CC0614-8BEF-8247-B3EC-3ED665669DEA}" type="presOf" srcId="{F25FDE00-3150-7C40-802A-15F9D786E62A}" destId="{5F174EF4-47BF-034A-A5EF-AE2C38F44384}" srcOrd="0" destOrd="0" presId="urn:microsoft.com/office/officeart/2005/8/layout/hChevron3"/>
    <dgm:cxn modelId="{A418181B-195F-C540-A70E-33DD1BB18438}" srcId="{781F165F-88FD-0F49-BE5E-543C6AE3943A}" destId="{0237B2AD-8EFF-B34C-A3FB-1154414511F8}" srcOrd="3" destOrd="0" parTransId="{D624C5D0-33DF-2C47-8B35-75619E60B953}" sibTransId="{0CC06259-4754-0C4E-8A8E-EAEF15EFDF71}"/>
    <dgm:cxn modelId="{D146952A-992B-9E42-950C-4AC59B760E13}" srcId="{781F165F-88FD-0F49-BE5E-543C6AE3943A}" destId="{F25FDE00-3150-7C40-802A-15F9D786E62A}" srcOrd="4" destOrd="0" parTransId="{720D6F4F-0792-DB4E-9628-D6C7D483B106}" sibTransId="{D466D50F-E9A4-5942-AEBC-16FD4AB72BA9}"/>
    <dgm:cxn modelId="{CC47F536-0801-0E4D-A6FE-019FC57311FF}" type="presOf" srcId="{C635E773-73F4-C345-876F-EC49C0411170}" destId="{50EAD4B2-E716-D742-879F-CD20B48D44D7}" srcOrd="0" destOrd="0" presId="urn:microsoft.com/office/officeart/2005/8/layout/hChevron3"/>
    <dgm:cxn modelId="{3631B879-F5E6-3F41-A66D-AD3AA9702EE4}" srcId="{781F165F-88FD-0F49-BE5E-543C6AE3943A}" destId="{F1633484-F410-2049-89F6-2A52C17E2BA3}" srcOrd="1" destOrd="0" parTransId="{CD23FA30-E65A-E44D-BC53-47352EB50C35}" sibTransId="{A67590F1-B987-3746-B308-B8D98A49756B}"/>
    <dgm:cxn modelId="{86DFB58F-278C-0649-8828-2FC3B5C950C6}" type="presOf" srcId="{781F165F-88FD-0F49-BE5E-543C6AE3943A}" destId="{DC06D3F0-5939-3B40-BE38-69B6816FF1BC}" srcOrd="0" destOrd="0" presId="urn:microsoft.com/office/officeart/2005/8/layout/hChevron3"/>
    <dgm:cxn modelId="{F06B00AF-F195-7648-897A-E95D8BD34700}" type="presOf" srcId="{0237B2AD-8EFF-B34C-A3FB-1154414511F8}" destId="{A321AFAD-7A09-B44E-BB82-A6F453920C7D}" srcOrd="0" destOrd="0" presId="urn:microsoft.com/office/officeart/2005/8/layout/hChevron3"/>
    <dgm:cxn modelId="{FA0D96AF-8DB6-EE4F-AE6A-1957C94BF852}" srcId="{781F165F-88FD-0F49-BE5E-543C6AE3943A}" destId="{C635E773-73F4-C345-876F-EC49C0411170}" srcOrd="0" destOrd="0" parTransId="{B45208C6-8991-2B41-8692-AA509185E479}" sibTransId="{EA1D7F34-9907-924C-A925-0273FC50CAFF}"/>
    <dgm:cxn modelId="{A5DED3B7-3973-A94E-9A89-2879DA442BED}" srcId="{781F165F-88FD-0F49-BE5E-543C6AE3943A}" destId="{4AB4F7B6-F891-D148-ABF8-45A330A683E7}" srcOrd="2" destOrd="0" parTransId="{EE3424BD-59A7-CA41-85D8-E70F0B263D75}" sibTransId="{4056527B-BE44-2543-B068-3708481FF1DB}"/>
    <dgm:cxn modelId="{3A9560D5-0262-A647-A9A2-22F33C719DBE}" type="presOf" srcId="{F1633484-F410-2049-89F6-2A52C17E2BA3}" destId="{5D4AE62E-D122-E549-9FDE-C5A6579226E6}" srcOrd="0" destOrd="0" presId="urn:microsoft.com/office/officeart/2005/8/layout/hChevron3"/>
    <dgm:cxn modelId="{27BF22F6-587D-B242-8E62-E28AA2BF70DF}" type="presOf" srcId="{4AB4F7B6-F891-D148-ABF8-45A330A683E7}" destId="{37E9EE08-28DD-1043-85D6-6F389C61BA97}" srcOrd="0" destOrd="0" presId="urn:microsoft.com/office/officeart/2005/8/layout/hChevron3"/>
    <dgm:cxn modelId="{0A0FDD96-DBF8-DA4E-8F8A-F0220FA54057}" type="presParOf" srcId="{DC06D3F0-5939-3B40-BE38-69B6816FF1BC}" destId="{50EAD4B2-E716-D742-879F-CD20B48D44D7}" srcOrd="0" destOrd="0" presId="urn:microsoft.com/office/officeart/2005/8/layout/hChevron3"/>
    <dgm:cxn modelId="{4ACB4758-3BE7-104E-B1FC-4F65CC8BAFB5}" type="presParOf" srcId="{DC06D3F0-5939-3B40-BE38-69B6816FF1BC}" destId="{4606B817-F00B-414A-B82D-CF923619FEF1}" srcOrd="1" destOrd="0" presId="urn:microsoft.com/office/officeart/2005/8/layout/hChevron3"/>
    <dgm:cxn modelId="{4E1C7057-C10B-6C44-9364-39C8F41AF5D3}" type="presParOf" srcId="{DC06D3F0-5939-3B40-BE38-69B6816FF1BC}" destId="{5D4AE62E-D122-E549-9FDE-C5A6579226E6}" srcOrd="2" destOrd="0" presId="urn:microsoft.com/office/officeart/2005/8/layout/hChevron3"/>
    <dgm:cxn modelId="{C9EF5958-91D1-0C4E-BBCC-30C6B9E98A11}" type="presParOf" srcId="{DC06D3F0-5939-3B40-BE38-69B6816FF1BC}" destId="{1A42C200-678F-244F-8ED2-D5EB0B003BE6}" srcOrd="3" destOrd="0" presId="urn:microsoft.com/office/officeart/2005/8/layout/hChevron3"/>
    <dgm:cxn modelId="{22EF08E3-C507-794D-9AA4-5194ABC672D5}" type="presParOf" srcId="{DC06D3F0-5939-3B40-BE38-69B6816FF1BC}" destId="{37E9EE08-28DD-1043-85D6-6F389C61BA97}" srcOrd="4" destOrd="0" presId="urn:microsoft.com/office/officeart/2005/8/layout/hChevron3"/>
    <dgm:cxn modelId="{1F097187-981F-BC46-A33D-07610A96E8D6}" type="presParOf" srcId="{DC06D3F0-5939-3B40-BE38-69B6816FF1BC}" destId="{04965C53-6357-2A48-96C1-2BF8A7D297B5}" srcOrd="5" destOrd="0" presId="urn:microsoft.com/office/officeart/2005/8/layout/hChevron3"/>
    <dgm:cxn modelId="{848211E8-75B3-B54B-A3D9-AE2C4C7490FF}" type="presParOf" srcId="{DC06D3F0-5939-3B40-BE38-69B6816FF1BC}" destId="{A321AFAD-7A09-B44E-BB82-A6F453920C7D}" srcOrd="6" destOrd="0" presId="urn:microsoft.com/office/officeart/2005/8/layout/hChevron3"/>
    <dgm:cxn modelId="{0FE839CC-8251-C94A-B866-B3D5BC4FF374}" type="presParOf" srcId="{DC06D3F0-5939-3B40-BE38-69B6816FF1BC}" destId="{CC20E6BA-B6D8-B642-97CB-782BBC8EAFC8}" srcOrd="7" destOrd="0" presId="urn:microsoft.com/office/officeart/2005/8/layout/hChevron3"/>
    <dgm:cxn modelId="{050B84AD-E733-1E43-BA50-F4CC8A9B3DC0}" type="presParOf" srcId="{DC06D3F0-5939-3B40-BE38-69B6816FF1BC}" destId="{5F174EF4-47BF-034A-A5EF-AE2C38F44384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781F165F-88FD-0F49-BE5E-543C6AE3943A}" type="doc">
      <dgm:prSet loTypeId="urn:microsoft.com/office/officeart/2005/8/layout/hChevron3" loCatId="" qsTypeId="urn:microsoft.com/office/officeart/2005/8/quickstyle/simple1" qsCatId="simple" csTypeId="urn:microsoft.com/office/officeart/2005/8/colors/accent1_2" csCatId="accent1" phldr="1"/>
      <dgm:spPr/>
    </dgm:pt>
    <dgm:pt modelId="{F25FDE00-3150-7C40-802A-15F9D786E62A}">
      <dgm:prSet phldrT="[Text]"/>
      <dgm:spPr>
        <a:solidFill>
          <a:srgbClr val="036E3D"/>
        </a:solidFill>
        <a:ln>
          <a:noFill/>
        </a:ln>
      </dgm:spPr>
      <dgm:t>
        <a:bodyPr/>
        <a:lstStyle/>
        <a:p>
          <a:endParaRPr lang="en-US"/>
        </a:p>
      </dgm:t>
    </dgm:pt>
    <dgm:pt modelId="{720D6F4F-0792-DB4E-9628-D6C7D483B106}" type="parTrans" cxnId="{D146952A-992B-9E42-950C-4AC59B760E13}">
      <dgm:prSet/>
      <dgm:spPr/>
      <dgm:t>
        <a:bodyPr/>
        <a:lstStyle/>
        <a:p>
          <a:endParaRPr lang="en-US"/>
        </a:p>
      </dgm:t>
    </dgm:pt>
    <dgm:pt modelId="{D466D50F-E9A4-5942-AEBC-16FD4AB72BA9}" type="sibTrans" cxnId="{D146952A-992B-9E42-950C-4AC59B760E13}">
      <dgm:prSet/>
      <dgm:spPr/>
      <dgm:t>
        <a:bodyPr/>
        <a:lstStyle/>
        <a:p>
          <a:endParaRPr lang="en-US"/>
        </a:p>
      </dgm:t>
    </dgm:pt>
    <dgm:pt modelId="{F1633484-F410-2049-89F6-2A52C17E2BA3}">
      <dgm:prSet phldrT="[Text]"/>
      <dgm:spPr>
        <a:solidFill>
          <a:srgbClr val="1D964B"/>
        </a:solidFill>
        <a:ln>
          <a:noFill/>
        </a:ln>
      </dgm:spPr>
      <dgm:t>
        <a:bodyPr/>
        <a:lstStyle/>
        <a:p>
          <a:endParaRPr lang="en-US"/>
        </a:p>
      </dgm:t>
    </dgm:pt>
    <dgm:pt modelId="{A67590F1-B987-3746-B308-B8D98A49756B}" type="sibTrans" cxnId="{3631B879-F5E6-3F41-A66D-AD3AA9702EE4}">
      <dgm:prSet/>
      <dgm:spPr/>
      <dgm:t>
        <a:bodyPr/>
        <a:lstStyle/>
        <a:p>
          <a:endParaRPr lang="en-US"/>
        </a:p>
      </dgm:t>
    </dgm:pt>
    <dgm:pt modelId="{CD23FA30-E65A-E44D-BC53-47352EB50C35}" type="parTrans" cxnId="{3631B879-F5E6-3F41-A66D-AD3AA9702EE4}">
      <dgm:prSet/>
      <dgm:spPr/>
      <dgm:t>
        <a:bodyPr/>
        <a:lstStyle/>
        <a:p>
          <a:endParaRPr lang="en-US"/>
        </a:p>
      </dgm:t>
    </dgm:pt>
    <dgm:pt modelId="{4AB4F7B6-F891-D148-ABF8-45A330A683E7}">
      <dgm:prSet phldrT="[Text]"/>
      <dgm:spPr>
        <a:solidFill>
          <a:srgbClr val="198C44"/>
        </a:solidFill>
        <a:ln>
          <a:noFill/>
        </a:ln>
      </dgm:spPr>
      <dgm:t>
        <a:bodyPr/>
        <a:lstStyle/>
        <a:p>
          <a:endParaRPr lang="en-US"/>
        </a:p>
      </dgm:t>
    </dgm:pt>
    <dgm:pt modelId="{4056527B-BE44-2543-B068-3708481FF1DB}" type="sibTrans" cxnId="{A5DED3B7-3973-A94E-9A89-2879DA442BED}">
      <dgm:prSet/>
      <dgm:spPr/>
      <dgm:t>
        <a:bodyPr/>
        <a:lstStyle/>
        <a:p>
          <a:endParaRPr lang="en-US"/>
        </a:p>
      </dgm:t>
    </dgm:pt>
    <dgm:pt modelId="{EE3424BD-59A7-CA41-85D8-E70F0B263D75}" type="parTrans" cxnId="{A5DED3B7-3973-A94E-9A89-2879DA442BED}">
      <dgm:prSet/>
      <dgm:spPr/>
      <dgm:t>
        <a:bodyPr/>
        <a:lstStyle/>
        <a:p>
          <a:endParaRPr lang="en-US"/>
        </a:p>
      </dgm:t>
    </dgm:pt>
    <dgm:pt modelId="{0237B2AD-8EFF-B34C-A3FB-1154414511F8}">
      <dgm:prSet phldrT="[Text]"/>
      <dgm:spPr>
        <a:solidFill>
          <a:srgbClr val="037A42"/>
        </a:solidFill>
        <a:ln>
          <a:noFill/>
        </a:ln>
      </dgm:spPr>
      <dgm:t>
        <a:bodyPr/>
        <a:lstStyle/>
        <a:p>
          <a:endParaRPr lang="en-US"/>
        </a:p>
      </dgm:t>
    </dgm:pt>
    <dgm:pt modelId="{0CC06259-4754-0C4E-8A8E-EAEF15EFDF71}" type="sibTrans" cxnId="{A418181B-195F-C540-A70E-33DD1BB18438}">
      <dgm:prSet/>
      <dgm:spPr/>
      <dgm:t>
        <a:bodyPr/>
        <a:lstStyle/>
        <a:p>
          <a:endParaRPr lang="en-US"/>
        </a:p>
      </dgm:t>
    </dgm:pt>
    <dgm:pt modelId="{D624C5D0-33DF-2C47-8B35-75619E60B953}" type="parTrans" cxnId="{A418181B-195F-C540-A70E-33DD1BB18438}">
      <dgm:prSet/>
      <dgm:spPr/>
      <dgm:t>
        <a:bodyPr/>
        <a:lstStyle/>
        <a:p>
          <a:endParaRPr lang="en-US"/>
        </a:p>
      </dgm:t>
    </dgm:pt>
    <dgm:pt modelId="{C635E773-73F4-C345-876F-EC49C0411170}">
      <dgm:prSet phldrT="[Text]"/>
      <dgm:spPr>
        <a:solidFill>
          <a:srgbClr val="24A558"/>
        </a:solidFill>
        <a:ln>
          <a:solidFill>
            <a:srgbClr val="29A457"/>
          </a:solidFill>
        </a:ln>
      </dgm:spPr>
      <dgm:t>
        <a:bodyPr/>
        <a:lstStyle/>
        <a:p>
          <a:endParaRPr lang="en-US"/>
        </a:p>
      </dgm:t>
    </dgm:pt>
    <dgm:pt modelId="{EA1D7F34-9907-924C-A925-0273FC50CAFF}" type="sibTrans" cxnId="{FA0D96AF-8DB6-EE4F-AE6A-1957C94BF852}">
      <dgm:prSet/>
      <dgm:spPr/>
      <dgm:t>
        <a:bodyPr/>
        <a:lstStyle/>
        <a:p>
          <a:endParaRPr lang="en-US"/>
        </a:p>
      </dgm:t>
    </dgm:pt>
    <dgm:pt modelId="{B45208C6-8991-2B41-8692-AA509185E479}" type="parTrans" cxnId="{FA0D96AF-8DB6-EE4F-AE6A-1957C94BF852}">
      <dgm:prSet/>
      <dgm:spPr/>
      <dgm:t>
        <a:bodyPr/>
        <a:lstStyle/>
        <a:p>
          <a:endParaRPr lang="en-US"/>
        </a:p>
      </dgm:t>
    </dgm:pt>
    <dgm:pt modelId="{DC06D3F0-5939-3B40-BE38-69B6816FF1BC}" type="pres">
      <dgm:prSet presAssocID="{781F165F-88FD-0F49-BE5E-543C6AE3943A}" presName="Name0" presStyleCnt="0">
        <dgm:presLayoutVars>
          <dgm:dir/>
          <dgm:resizeHandles val="exact"/>
        </dgm:presLayoutVars>
      </dgm:prSet>
      <dgm:spPr/>
    </dgm:pt>
    <dgm:pt modelId="{50EAD4B2-E716-D742-879F-CD20B48D44D7}" type="pres">
      <dgm:prSet presAssocID="{C635E773-73F4-C345-876F-EC49C0411170}" presName="parTxOnly" presStyleLbl="node1" presStyleIdx="0" presStyleCnt="5" custScaleY="74745">
        <dgm:presLayoutVars>
          <dgm:bulletEnabled val="1"/>
        </dgm:presLayoutVars>
      </dgm:prSet>
      <dgm:spPr/>
    </dgm:pt>
    <dgm:pt modelId="{4606B817-F00B-414A-B82D-CF923619FEF1}" type="pres">
      <dgm:prSet presAssocID="{EA1D7F34-9907-924C-A925-0273FC50CAFF}" presName="parSpace" presStyleCnt="0"/>
      <dgm:spPr/>
    </dgm:pt>
    <dgm:pt modelId="{5D4AE62E-D122-E549-9FDE-C5A6579226E6}" type="pres">
      <dgm:prSet presAssocID="{F1633484-F410-2049-89F6-2A52C17E2BA3}" presName="parTxOnly" presStyleLbl="node1" presStyleIdx="1" presStyleCnt="5">
        <dgm:presLayoutVars>
          <dgm:bulletEnabled val="1"/>
        </dgm:presLayoutVars>
      </dgm:prSet>
      <dgm:spPr/>
    </dgm:pt>
    <dgm:pt modelId="{1A42C200-678F-244F-8ED2-D5EB0B003BE6}" type="pres">
      <dgm:prSet presAssocID="{A67590F1-B987-3746-B308-B8D98A49756B}" presName="parSpace" presStyleCnt="0"/>
      <dgm:spPr/>
    </dgm:pt>
    <dgm:pt modelId="{37E9EE08-28DD-1043-85D6-6F389C61BA97}" type="pres">
      <dgm:prSet presAssocID="{4AB4F7B6-F891-D148-ABF8-45A330A683E7}" presName="parTxOnly" presStyleLbl="node1" presStyleIdx="2" presStyleCnt="5">
        <dgm:presLayoutVars>
          <dgm:bulletEnabled val="1"/>
        </dgm:presLayoutVars>
      </dgm:prSet>
      <dgm:spPr/>
    </dgm:pt>
    <dgm:pt modelId="{04965C53-6357-2A48-96C1-2BF8A7D297B5}" type="pres">
      <dgm:prSet presAssocID="{4056527B-BE44-2543-B068-3708481FF1DB}" presName="parSpace" presStyleCnt="0"/>
      <dgm:spPr/>
    </dgm:pt>
    <dgm:pt modelId="{A321AFAD-7A09-B44E-BB82-A6F453920C7D}" type="pres">
      <dgm:prSet presAssocID="{0237B2AD-8EFF-B34C-A3FB-1154414511F8}" presName="parTxOnly" presStyleLbl="node1" presStyleIdx="3" presStyleCnt="5">
        <dgm:presLayoutVars>
          <dgm:bulletEnabled val="1"/>
        </dgm:presLayoutVars>
      </dgm:prSet>
      <dgm:spPr/>
    </dgm:pt>
    <dgm:pt modelId="{CC20E6BA-B6D8-B642-97CB-782BBC8EAFC8}" type="pres">
      <dgm:prSet presAssocID="{0CC06259-4754-0C4E-8A8E-EAEF15EFDF71}" presName="parSpace" presStyleCnt="0"/>
      <dgm:spPr/>
    </dgm:pt>
    <dgm:pt modelId="{5F174EF4-47BF-034A-A5EF-AE2C38F44384}" type="pres">
      <dgm:prSet presAssocID="{F25FDE00-3150-7C40-802A-15F9D786E62A}" presName="parTxOnly" presStyleLbl="node1" presStyleIdx="4" presStyleCnt="5">
        <dgm:presLayoutVars>
          <dgm:bulletEnabled val="1"/>
        </dgm:presLayoutVars>
      </dgm:prSet>
      <dgm:spPr/>
    </dgm:pt>
  </dgm:ptLst>
  <dgm:cxnLst>
    <dgm:cxn modelId="{F4CC0614-8BEF-8247-B3EC-3ED665669DEA}" type="presOf" srcId="{F25FDE00-3150-7C40-802A-15F9D786E62A}" destId="{5F174EF4-47BF-034A-A5EF-AE2C38F44384}" srcOrd="0" destOrd="0" presId="urn:microsoft.com/office/officeart/2005/8/layout/hChevron3"/>
    <dgm:cxn modelId="{A418181B-195F-C540-A70E-33DD1BB18438}" srcId="{781F165F-88FD-0F49-BE5E-543C6AE3943A}" destId="{0237B2AD-8EFF-B34C-A3FB-1154414511F8}" srcOrd="3" destOrd="0" parTransId="{D624C5D0-33DF-2C47-8B35-75619E60B953}" sibTransId="{0CC06259-4754-0C4E-8A8E-EAEF15EFDF71}"/>
    <dgm:cxn modelId="{D146952A-992B-9E42-950C-4AC59B760E13}" srcId="{781F165F-88FD-0F49-BE5E-543C6AE3943A}" destId="{F25FDE00-3150-7C40-802A-15F9D786E62A}" srcOrd="4" destOrd="0" parTransId="{720D6F4F-0792-DB4E-9628-D6C7D483B106}" sibTransId="{D466D50F-E9A4-5942-AEBC-16FD4AB72BA9}"/>
    <dgm:cxn modelId="{CC47F536-0801-0E4D-A6FE-019FC57311FF}" type="presOf" srcId="{C635E773-73F4-C345-876F-EC49C0411170}" destId="{50EAD4B2-E716-D742-879F-CD20B48D44D7}" srcOrd="0" destOrd="0" presId="urn:microsoft.com/office/officeart/2005/8/layout/hChevron3"/>
    <dgm:cxn modelId="{3631B879-F5E6-3F41-A66D-AD3AA9702EE4}" srcId="{781F165F-88FD-0F49-BE5E-543C6AE3943A}" destId="{F1633484-F410-2049-89F6-2A52C17E2BA3}" srcOrd="1" destOrd="0" parTransId="{CD23FA30-E65A-E44D-BC53-47352EB50C35}" sibTransId="{A67590F1-B987-3746-B308-B8D98A49756B}"/>
    <dgm:cxn modelId="{86DFB58F-278C-0649-8828-2FC3B5C950C6}" type="presOf" srcId="{781F165F-88FD-0F49-BE5E-543C6AE3943A}" destId="{DC06D3F0-5939-3B40-BE38-69B6816FF1BC}" srcOrd="0" destOrd="0" presId="urn:microsoft.com/office/officeart/2005/8/layout/hChevron3"/>
    <dgm:cxn modelId="{F06B00AF-F195-7648-897A-E95D8BD34700}" type="presOf" srcId="{0237B2AD-8EFF-B34C-A3FB-1154414511F8}" destId="{A321AFAD-7A09-B44E-BB82-A6F453920C7D}" srcOrd="0" destOrd="0" presId="urn:microsoft.com/office/officeart/2005/8/layout/hChevron3"/>
    <dgm:cxn modelId="{FA0D96AF-8DB6-EE4F-AE6A-1957C94BF852}" srcId="{781F165F-88FD-0F49-BE5E-543C6AE3943A}" destId="{C635E773-73F4-C345-876F-EC49C0411170}" srcOrd="0" destOrd="0" parTransId="{B45208C6-8991-2B41-8692-AA509185E479}" sibTransId="{EA1D7F34-9907-924C-A925-0273FC50CAFF}"/>
    <dgm:cxn modelId="{A5DED3B7-3973-A94E-9A89-2879DA442BED}" srcId="{781F165F-88FD-0F49-BE5E-543C6AE3943A}" destId="{4AB4F7B6-F891-D148-ABF8-45A330A683E7}" srcOrd="2" destOrd="0" parTransId="{EE3424BD-59A7-CA41-85D8-E70F0B263D75}" sibTransId="{4056527B-BE44-2543-B068-3708481FF1DB}"/>
    <dgm:cxn modelId="{3A9560D5-0262-A647-A9A2-22F33C719DBE}" type="presOf" srcId="{F1633484-F410-2049-89F6-2A52C17E2BA3}" destId="{5D4AE62E-D122-E549-9FDE-C5A6579226E6}" srcOrd="0" destOrd="0" presId="urn:microsoft.com/office/officeart/2005/8/layout/hChevron3"/>
    <dgm:cxn modelId="{27BF22F6-587D-B242-8E62-E28AA2BF70DF}" type="presOf" srcId="{4AB4F7B6-F891-D148-ABF8-45A330A683E7}" destId="{37E9EE08-28DD-1043-85D6-6F389C61BA97}" srcOrd="0" destOrd="0" presId="urn:microsoft.com/office/officeart/2005/8/layout/hChevron3"/>
    <dgm:cxn modelId="{0A0FDD96-DBF8-DA4E-8F8A-F0220FA54057}" type="presParOf" srcId="{DC06D3F0-5939-3B40-BE38-69B6816FF1BC}" destId="{50EAD4B2-E716-D742-879F-CD20B48D44D7}" srcOrd="0" destOrd="0" presId="urn:microsoft.com/office/officeart/2005/8/layout/hChevron3"/>
    <dgm:cxn modelId="{4ACB4758-3BE7-104E-B1FC-4F65CC8BAFB5}" type="presParOf" srcId="{DC06D3F0-5939-3B40-BE38-69B6816FF1BC}" destId="{4606B817-F00B-414A-B82D-CF923619FEF1}" srcOrd="1" destOrd="0" presId="urn:microsoft.com/office/officeart/2005/8/layout/hChevron3"/>
    <dgm:cxn modelId="{4E1C7057-C10B-6C44-9364-39C8F41AF5D3}" type="presParOf" srcId="{DC06D3F0-5939-3B40-BE38-69B6816FF1BC}" destId="{5D4AE62E-D122-E549-9FDE-C5A6579226E6}" srcOrd="2" destOrd="0" presId="urn:microsoft.com/office/officeart/2005/8/layout/hChevron3"/>
    <dgm:cxn modelId="{C9EF5958-91D1-0C4E-BBCC-30C6B9E98A11}" type="presParOf" srcId="{DC06D3F0-5939-3B40-BE38-69B6816FF1BC}" destId="{1A42C200-678F-244F-8ED2-D5EB0B003BE6}" srcOrd="3" destOrd="0" presId="urn:microsoft.com/office/officeart/2005/8/layout/hChevron3"/>
    <dgm:cxn modelId="{22EF08E3-C507-794D-9AA4-5194ABC672D5}" type="presParOf" srcId="{DC06D3F0-5939-3B40-BE38-69B6816FF1BC}" destId="{37E9EE08-28DD-1043-85D6-6F389C61BA97}" srcOrd="4" destOrd="0" presId="urn:microsoft.com/office/officeart/2005/8/layout/hChevron3"/>
    <dgm:cxn modelId="{1F097187-981F-BC46-A33D-07610A96E8D6}" type="presParOf" srcId="{DC06D3F0-5939-3B40-BE38-69B6816FF1BC}" destId="{04965C53-6357-2A48-96C1-2BF8A7D297B5}" srcOrd="5" destOrd="0" presId="urn:microsoft.com/office/officeart/2005/8/layout/hChevron3"/>
    <dgm:cxn modelId="{848211E8-75B3-B54B-A3D9-AE2C4C7490FF}" type="presParOf" srcId="{DC06D3F0-5939-3B40-BE38-69B6816FF1BC}" destId="{A321AFAD-7A09-B44E-BB82-A6F453920C7D}" srcOrd="6" destOrd="0" presId="urn:microsoft.com/office/officeart/2005/8/layout/hChevron3"/>
    <dgm:cxn modelId="{0FE839CC-8251-C94A-B866-B3D5BC4FF374}" type="presParOf" srcId="{DC06D3F0-5939-3B40-BE38-69B6816FF1BC}" destId="{CC20E6BA-B6D8-B642-97CB-782BBC8EAFC8}" srcOrd="7" destOrd="0" presId="urn:microsoft.com/office/officeart/2005/8/layout/hChevron3"/>
    <dgm:cxn modelId="{050B84AD-E733-1E43-BA50-F4CC8A9B3DC0}" type="presParOf" srcId="{DC06D3F0-5939-3B40-BE38-69B6816FF1BC}" destId="{5F174EF4-47BF-034A-A5EF-AE2C38F44384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781F165F-88FD-0F49-BE5E-543C6AE3943A}" type="doc">
      <dgm:prSet loTypeId="urn:microsoft.com/office/officeart/2005/8/layout/hChevron3" loCatId="" qsTypeId="urn:microsoft.com/office/officeart/2005/8/quickstyle/simple1" qsCatId="simple" csTypeId="urn:microsoft.com/office/officeart/2005/8/colors/accent1_2" csCatId="accent1" phldr="1"/>
      <dgm:spPr/>
    </dgm:pt>
    <dgm:pt modelId="{F25FDE00-3150-7C40-802A-15F9D786E62A}">
      <dgm:prSet phldrT="[Text]"/>
      <dgm:spPr>
        <a:solidFill>
          <a:srgbClr val="036E3D"/>
        </a:solidFill>
        <a:ln>
          <a:noFill/>
        </a:ln>
      </dgm:spPr>
      <dgm:t>
        <a:bodyPr/>
        <a:lstStyle/>
        <a:p>
          <a:endParaRPr lang="en-US"/>
        </a:p>
      </dgm:t>
    </dgm:pt>
    <dgm:pt modelId="{720D6F4F-0792-DB4E-9628-D6C7D483B106}" type="parTrans" cxnId="{D146952A-992B-9E42-950C-4AC59B760E13}">
      <dgm:prSet/>
      <dgm:spPr/>
      <dgm:t>
        <a:bodyPr/>
        <a:lstStyle/>
        <a:p>
          <a:endParaRPr lang="en-US"/>
        </a:p>
      </dgm:t>
    </dgm:pt>
    <dgm:pt modelId="{D466D50F-E9A4-5942-AEBC-16FD4AB72BA9}" type="sibTrans" cxnId="{D146952A-992B-9E42-950C-4AC59B760E13}">
      <dgm:prSet/>
      <dgm:spPr/>
      <dgm:t>
        <a:bodyPr/>
        <a:lstStyle/>
        <a:p>
          <a:endParaRPr lang="en-US"/>
        </a:p>
      </dgm:t>
    </dgm:pt>
    <dgm:pt modelId="{C635E773-73F4-C345-876F-EC49C0411170}">
      <dgm:prSet phldrT="[Text]"/>
      <dgm:spPr>
        <a:solidFill>
          <a:srgbClr val="24A558"/>
        </a:solidFill>
        <a:ln>
          <a:solidFill>
            <a:srgbClr val="29A457"/>
          </a:solidFill>
        </a:ln>
      </dgm:spPr>
      <dgm:t>
        <a:bodyPr/>
        <a:lstStyle/>
        <a:p>
          <a:endParaRPr lang="en-US"/>
        </a:p>
      </dgm:t>
    </dgm:pt>
    <dgm:pt modelId="{EA1D7F34-9907-924C-A925-0273FC50CAFF}" type="sibTrans" cxnId="{FA0D96AF-8DB6-EE4F-AE6A-1957C94BF852}">
      <dgm:prSet/>
      <dgm:spPr/>
      <dgm:t>
        <a:bodyPr/>
        <a:lstStyle/>
        <a:p>
          <a:endParaRPr lang="en-US"/>
        </a:p>
      </dgm:t>
    </dgm:pt>
    <dgm:pt modelId="{B45208C6-8991-2B41-8692-AA509185E479}" type="parTrans" cxnId="{FA0D96AF-8DB6-EE4F-AE6A-1957C94BF852}">
      <dgm:prSet/>
      <dgm:spPr/>
      <dgm:t>
        <a:bodyPr/>
        <a:lstStyle/>
        <a:p>
          <a:endParaRPr lang="en-US"/>
        </a:p>
      </dgm:t>
    </dgm:pt>
    <dgm:pt modelId="{F1633484-F410-2049-89F6-2A52C17E2BA3}">
      <dgm:prSet phldrT="[Text]"/>
      <dgm:spPr>
        <a:solidFill>
          <a:srgbClr val="1D964B"/>
        </a:solidFill>
        <a:ln>
          <a:noFill/>
        </a:ln>
      </dgm:spPr>
      <dgm:t>
        <a:bodyPr/>
        <a:lstStyle/>
        <a:p>
          <a:endParaRPr lang="en-US"/>
        </a:p>
      </dgm:t>
    </dgm:pt>
    <dgm:pt modelId="{A67590F1-B987-3746-B308-B8D98A49756B}" type="sibTrans" cxnId="{3631B879-F5E6-3F41-A66D-AD3AA9702EE4}">
      <dgm:prSet/>
      <dgm:spPr/>
      <dgm:t>
        <a:bodyPr/>
        <a:lstStyle/>
        <a:p>
          <a:endParaRPr lang="en-US"/>
        </a:p>
      </dgm:t>
    </dgm:pt>
    <dgm:pt modelId="{CD23FA30-E65A-E44D-BC53-47352EB50C35}" type="parTrans" cxnId="{3631B879-F5E6-3F41-A66D-AD3AA9702EE4}">
      <dgm:prSet/>
      <dgm:spPr/>
      <dgm:t>
        <a:bodyPr/>
        <a:lstStyle/>
        <a:p>
          <a:endParaRPr lang="en-US"/>
        </a:p>
      </dgm:t>
    </dgm:pt>
    <dgm:pt modelId="{4AB4F7B6-F891-D148-ABF8-45A330A683E7}">
      <dgm:prSet phldrT="[Text]"/>
      <dgm:spPr>
        <a:solidFill>
          <a:srgbClr val="198C44"/>
        </a:solidFill>
        <a:ln>
          <a:noFill/>
        </a:ln>
      </dgm:spPr>
      <dgm:t>
        <a:bodyPr/>
        <a:lstStyle/>
        <a:p>
          <a:endParaRPr lang="en-US"/>
        </a:p>
      </dgm:t>
    </dgm:pt>
    <dgm:pt modelId="{4056527B-BE44-2543-B068-3708481FF1DB}" type="sibTrans" cxnId="{A5DED3B7-3973-A94E-9A89-2879DA442BED}">
      <dgm:prSet/>
      <dgm:spPr/>
      <dgm:t>
        <a:bodyPr/>
        <a:lstStyle/>
        <a:p>
          <a:endParaRPr lang="en-US"/>
        </a:p>
      </dgm:t>
    </dgm:pt>
    <dgm:pt modelId="{EE3424BD-59A7-CA41-85D8-E70F0B263D75}" type="parTrans" cxnId="{A5DED3B7-3973-A94E-9A89-2879DA442BED}">
      <dgm:prSet/>
      <dgm:spPr/>
      <dgm:t>
        <a:bodyPr/>
        <a:lstStyle/>
        <a:p>
          <a:endParaRPr lang="en-US"/>
        </a:p>
      </dgm:t>
    </dgm:pt>
    <dgm:pt modelId="{0237B2AD-8EFF-B34C-A3FB-1154414511F8}">
      <dgm:prSet phldrT="[Text]"/>
      <dgm:spPr>
        <a:solidFill>
          <a:srgbClr val="037A42"/>
        </a:solidFill>
        <a:ln>
          <a:noFill/>
        </a:ln>
      </dgm:spPr>
      <dgm:t>
        <a:bodyPr/>
        <a:lstStyle/>
        <a:p>
          <a:endParaRPr lang="en-US"/>
        </a:p>
      </dgm:t>
    </dgm:pt>
    <dgm:pt modelId="{0CC06259-4754-0C4E-8A8E-EAEF15EFDF71}" type="sibTrans" cxnId="{A418181B-195F-C540-A70E-33DD1BB18438}">
      <dgm:prSet/>
      <dgm:spPr/>
      <dgm:t>
        <a:bodyPr/>
        <a:lstStyle/>
        <a:p>
          <a:endParaRPr lang="en-US"/>
        </a:p>
      </dgm:t>
    </dgm:pt>
    <dgm:pt modelId="{D624C5D0-33DF-2C47-8B35-75619E60B953}" type="parTrans" cxnId="{A418181B-195F-C540-A70E-33DD1BB18438}">
      <dgm:prSet/>
      <dgm:spPr/>
      <dgm:t>
        <a:bodyPr/>
        <a:lstStyle/>
        <a:p>
          <a:endParaRPr lang="en-US"/>
        </a:p>
      </dgm:t>
    </dgm:pt>
    <dgm:pt modelId="{DC06D3F0-5939-3B40-BE38-69B6816FF1BC}" type="pres">
      <dgm:prSet presAssocID="{781F165F-88FD-0F49-BE5E-543C6AE3943A}" presName="Name0" presStyleCnt="0">
        <dgm:presLayoutVars>
          <dgm:dir/>
          <dgm:resizeHandles val="exact"/>
        </dgm:presLayoutVars>
      </dgm:prSet>
      <dgm:spPr/>
    </dgm:pt>
    <dgm:pt modelId="{50EAD4B2-E716-D742-879F-CD20B48D44D7}" type="pres">
      <dgm:prSet presAssocID="{C635E773-73F4-C345-876F-EC49C0411170}" presName="parTxOnly" presStyleLbl="node1" presStyleIdx="0" presStyleCnt="5" custScaleY="74745">
        <dgm:presLayoutVars>
          <dgm:bulletEnabled val="1"/>
        </dgm:presLayoutVars>
      </dgm:prSet>
      <dgm:spPr/>
    </dgm:pt>
    <dgm:pt modelId="{4606B817-F00B-414A-B82D-CF923619FEF1}" type="pres">
      <dgm:prSet presAssocID="{EA1D7F34-9907-924C-A925-0273FC50CAFF}" presName="parSpace" presStyleCnt="0"/>
      <dgm:spPr/>
    </dgm:pt>
    <dgm:pt modelId="{5D4AE62E-D122-E549-9FDE-C5A6579226E6}" type="pres">
      <dgm:prSet presAssocID="{F1633484-F410-2049-89F6-2A52C17E2BA3}" presName="parTxOnly" presStyleLbl="node1" presStyleIdx="1" presStyleCnt="5">
        <dgm:presLayoutVars>
          <dgm:bulletEnabled val="1"/>
        </dgm:presLayoutVars>
      </dgm:prSet>
      <dgm:spPr/>
    </dgm:pt>
    <dgm:pt modelId="{1A42C200-678F-244F-8ED2-D5EB0B003BE6}" type="pres">
      <dgm:prSet presAssocID="{A67590F1-B987-3746-B308-B8D98A49756B}" presName="parSpace" presStyleCnt="0"/>
      <dgm:spPr/>
    </dgm:pt>
    <dgm:pt modelId="{37E9EE08-28DD-1043-85D6-6F389C61BA97}" type="pres">
      <dgm:prSet presAssocID="{4AB4F7B6-F891-D148-ABF8-45A330A683E7}" presName="parTxOnly" presStyleLbl="node1" presStyleIdx="2" presStyleCnt="5">
        <dgm:presLayoutVars>
          <dgm:bulletEnabled val="1"/>
        </dgm:presLayoutVars>
      </dgm:prSet>
      <dgm:spPr/>
    </dgm:pt>
    <dgm:pt modelId="{04965C53-6357-2A48-96C1-2BF8A7D297B5}" type="pres">
      <dgm:prSet presAssocID="{4056527B-BE44-2543-B068-3708481FF1DB}" presName="parSpace" presStyleCnt="0"/>
      <dgm:spPr/>
    </dgm:pt>
    <dgm:pt modelId="{A321AFAD-7A09-B44E-BB82-A6F453920C7D}" type="pres">
      <dgm:prSet presAssocID="{0237B2AD-8EFF-B34C-A3FB-1154414511F8}" presName="parTxOnly" presStyleLbl="node1" presStyleIdx="3" presStyleCnt="5">
        <dgm:presLayoutVars>
          <dgm:bulletEnabled val="1"/>
        </dgm:presLayoutVars>
      </dgm:prSet>
      <dgm:spPr/>
    </dgm:pt>
    <dgm:pt modelId="{CC20E6BA-B6D8-B642-97CB-782BBC8EAFC8}" type="pres">
      <dgm:prSet presAssocID="{0CC06259-4754-0C4E-8A8E-EAEF15EFDF71}" presName="parSpace" presStyleCnt="0"/>
      <dgm:spPr/>
    </dgm:pt>
    <dgm:pt modelId="{5F174EF4-47BF-034A-A5EF-AE2C38F44384}" type="pres">
      <dgm:prSet presAssocID="{F25FDE00-3150-7C40-802A-15F9D786E62A}" presName="parTxOnly" presStyleLbl="node1" presStyleIdx="4" presStyleCnt="5">
        <dgm:presLayoutVars>
          <dgm:bulletEnabled val="1"/>
        </dgm:presLayoutVars>
      </dgm:prSet>
      <dgm:spPr/>
    </dgm:pt>
  </dgm:ptLst>
  <dgm:cxnLst>
    <dgm:cxn modelId="{F4CC0614-8BEF-8247-B3EC-3ED665669DEA}" type="presOf" srcId="{F25FDE00-3150-7C40-802A-15F9D786E62A}" destId="{5F174EF4-47BF-034A-A5EF-AE2C38F44384}" srcOrd="0" destOrd="0" presId="urn:microsoft.com/office/officeart/2005/8/layout/hChevron3"/>
    <dgm:cxn modelId="{A418181B-195F-C540-A70E-33DD1BB18438}" srcId="{781F165F-88FD-0F49-BE5E-543C6AE3943A}" destId="{0237B2AD-8EFF-B34C-A3FB-1154414511F8}" srcOrd="3" destOrd="0" parTransId="{D624C5D0-33DF-2C47-8B35-75619E60B953}" sibTransId="{0CC06259-4754-0C4E-8A8E-EAEF15EFDF71}"/>
    <dgm:cxn modelId="{D146952A-992B-9E42-950C-4AC59B760E13}" srcId="{781F165F-88FD-0F49-BE5E-543C6AE3943A}" destId="{F25FDE00-3150-7C40-802A-15F9D786E62A}" srcOrd="4" destOrd="0" parTransId="{720D6F4F-0792-DB4E-9628-D6C7D483B106}" sibTransId="{D466D50F-E9A4-5942-AEBC-16FD4AB72BA9}"/>
    <dgm:cxn modelId="{CC47F536-0801-0E4D-A6FE-019FC57311FF}" type="presOf" srcId="{C635E773-73F4-C345-876F-EC49C0411170}" destId="{50EAD4B2-E716-D742-879F-CD20B48D44D7}" srcOrd="0" destOrd="0" presId="urn:microsoft.com/office/officeart/2005/8/layout/hChevron3"/>
    <dgm:cxn modelId="{3631B879-F5E6-3F41-A66D-AD3AA9702EE4}" srcId="{781F165F-88FD-0F49-BE5E-543C6AE3943A}" destId="{F1633484-F410-2049-89F6-2A52C17E2BA3}" srcOrd="1" destOrd="0" parTransId="{CD23FA30-E65A-E44D-BC53-47352EB50C35}" sibTransId="{A67590F1-B987-3746-B308-B8D98A49756B}"/>
    <dgm:cxn modelId="{86DFB58F-278C-0649-8828-2FC3B5C950C6}" type="presOf" srcId="{781F165F-88FD-0F49-BE5E-543C6AE3943A}" destId="{DC06D3F0-5939-3B40-BE38-69B6816FF1BC}" srcOrd="0" destOrd="0" presId="urn:microsoft.com/office/officeart/2005/8/layout/hChevron3"/>
    <dgm:cxn modelId="{F06B00AF-F195-7648-897A-E95D8BD34700}" type="presOf" srcId="{0237B2AD-8EFF-B34C-A3FB-1154414511F8}" destId="{A321AFAD-7A09-B44E-BB82-A6F453920C7D}" srcOrd="0" destOrd="0" presId="urn:microsoft.com/office/officeart/2005/8/layout/hChevron3"/>
    <dgm:cxn modelId="{FA0D96AF-8DB6-EE4F-AE6A-1957C94BF852}" srcId="{781F165F-88FD-0F49-BE5E-543C6AE3943A}" destId="{C635E773-73F4-C345-876F-EC49C0411170}" srcOrd="0" destOrd="0" parTransId="{B45208C6-8991-2B41-8692-AA509185E479}" sibTransId="{EA1D7F34-9907-924C-A925-0273FC50CAFF}"/>
    <dgm:cxn modelId="{A5DED3B7-3973-A94E-9A89-2879DA442BED}" srcId="{781F165F-88FD-0F49-BE5E-543C6AE3943A}" destId="{4AB4F7B6-F891-D148-ABF8-45A330A683E7}" srcOrd="2" destOrd="0" parTransId="{EE3424BD-59A7-CA41-85D8-E70F0B263D75}" sibTransId="{4056527B-BE44-2543-B068-3708481FF1DB}"/>
    <dgm:cxn modelId="{3A9560D5-0262-A647-A9A2-22F33C719DBE}" type="presOf" srcId="{F1633484-F410-2049-89F6-2A52C17E2BA3}" destId="{5D4AE62E-D122-E549-9FDE-C5A6579226E6}" srcOrd="0" destOrd="0" presId="urn:microsoft.com/office/officeart/2005/8/layout/hChevron3"/>
    <dgm:cxn modelId="{27BF22F6-587D-B242-8E62-E28AA2BF70DF}" type="presOf" srcId="{4AB4F7B6-F891-D148-ABF8-45A330A683E7}" destId="{37E9EE08-28DD-1043-85D6-6F389C61BA97}" srcOrd="0" destOrd="0" presId="urn:microsoft.com/office/officeart/2005/8/layout/hChevron3"/>
    <dgm:cxn modelId="{0A0FDD96-DBF8-DA4E-8F8A-F0220FA54057}" type="presParOf" srcId="{DC06D3F0-5939-3B40-BE38-69B6816FF1BC}" destId="{50EAD4B2-E716-D742-879F-CD20B48D44D7}" srcOrd="0" destOrd="0" presId="urn:microsoft.com/office/officeart/2005/8/layout/hChevron3"/>
    <dgm:cxn modelId="{4ACB4758-3BE7-104E-B1FC-4F65CC8BAFB5}" type="presParOf" srcId="{DC06D3F0-5939-3B40-BE38-69B6816FF1BC}" destId="{4606B817-F00B-414A-B82D-CF923619FEF1}" srcOrd="1" destOrd="0" presId="urn:microsoft.com/office/officeart/2005/8/layout/hChevron3"/>
    <dgm:cxn modelId="{4E1C7057-C10B-6C44-9364-39C8F41AF5D3}" type="presParOf" srcId="{DC06D3F0-5939-3B40-BE38-69B6816FF1BC}" destId="{5D4AE62E-D122-E549-9FDE-C5A6579226E6}" srcOrd="2" destOrd="0" presId="urn:microsoft.com/office/officeart/2005/8/layout/hChevron3"/>
    <dgm:cxn modelId="{C9EF5958-91D1-0C4E-BBCC-30C6B9E98A11}" type="presParOf" srcId="{DC06D3F0-5939-3B40-BE38-69B6816FF1BC}" destId="{1A42C200-678F-244F-8ED2-D5EB0B003BE6}" srcOrd="3" destOrd="0" presId="urn:microsoft.com/office/officeart/2005/8/layout/hChevron3"/>
    <dgm:cxn modelId="{22EF08E3-C507-794D-9AA4-5194ABC672D5}" type="presParOf" srcId="{DC06D3F0-5939-3B40-BE38-69B6816FF1BC}" destId="{37E9EE08-28DD-1043-85D6-6F389C61BA97}" srcOrd="4" destOrd="0" presId="urn:microsoft.com/office/officeart/2005/8/layout/hChevron3"/>
    <dgm:cxn modelId="{1F097187-981F-BC46-A33D-07610A96E8D6}" type="presParOf" srcId="{DC06D3F0-5939-3B40-BE38-69B6816FF1BC}" destId="{04965C53-6357-2A48-96C1-2BF8A7D297B5}" srcOrd="5" destOrd="0" presId="urn:microsoft.com/office/officeart/2005/8/layout/hChevron3"/>
    <dgm:cxn modelId="{848211E8-75B3-B54B-A3D9-AE2C4C7490FF}" type="presParOf" srcId="{DC06D3F0-5939-3B40-BE38-69B6816FF1BC}" destId="{A321AFAD-7A09-B44E-BB82-A6F453920C7D}" srcOrd="6" destOrd="0" presId="urn:microsoft.com/office/officeart/2005/8/layout/hChevron3"/>
    <dgm:cxn modelId="{0FE839CC-8251-C94A-B866-B3D5BC4FF374}" type="presParOf" srcId="{DC06D3F0-5939-3B40-BE38-69B6816FF1BC}" destId="{CC20E6BA-B6D8-B642-97CB-782BBC8EAFC8}" srcOrd="7" destOrd="0" presId="urn:microsoft.com/office/officeart/2005/8/layout/hChevron3"/>
    <dgm:cxn modelId="{050B84AD-E733-1E43-BA50-F4CC8A9B3DC0}" type="presParOf" srcId="{DC06D3F0-5939-3B40-BE38-69B6816FF1BC}" destId="{5F174EF4-47BF-034A-A5EF-AE2C38F44384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781F165F-88FD-0F49-BE5E-543C6AE3943A}" type="doc">
      <dgm:prSet loTypeId="urn:microsoft.com/office/officeart/2005/8/layout/hChevron3" loCatId="" qsTypeId="urn:microsoft.com/office/officeart/2005/8/quickstyle/simple1" qsCatId="simple" csTypeId="urn:microsoft.com/office/officeart/2005/8/colors/accent1_2" csCatId="accent1" phldr="1"/>
      <dgm:spPr/>
    </dgm:pt>
    <dgm:pt modelId="{F25FDE00-3150-7C40-802A-15F9D786E62A}">
      <dgm:prSet phldrT="[Text]"/>
      <dgm:spPr>
        <a:solidFill>
          <a:srgbClr val="036E3D"/>
        </a:solidFill>
        <a:ln>
          <a:noFill/>
        </a:ln>
      </dgm:spPr>
      <dgm:t>
        <a:bodyPr/>
        <a:lstStyle/>
        <a:p>
          <a:endParaRPr lang="en-US"/>
        </a:p>
      </dgm:t>
    </dgm:pt>
    <dgm:pt modelId="{720D6F4F-0792-DB4E-9628-D6C7D483B106}" type="parTrans" cxnId="{D146952A-992B-9E42-950C-4AC59B760E13}">
      <dgm:prSet/>
      <dgm:spPr/>
      <dgm:t>
        <a:bodyPr/>
        <a:lstStyle/>
        <a:p>
          <a:endParaRPr lang="en-US"/>
        </a:p>
      </dgm:t>
    </dgm:pt>
    <dgm:pt modelId="{D466D50F-E9A4-5942-AEBC-16FD4AB72BA9}" type="sibTrans" cxnId="{D146952A-992B-9E42-950C-4AC59B760E13}">
      <dgm:prSet/>
      <dgm:spPr/>
      <dgm:t>
        <a:bodyPr/>
        <a:lstStyle/>
        <a:p>
          <a:endParaRPr lang="en-US"/>
        </a:p>
      </dgm:t>
    </dgm:pt>
    <dgm:pt modelId="{C635E773-73F4-C345-876F-EC49C0411170}">
      <dgm:prSet phldrT="[Text]"/>
      <dgm:spPr>
        <a:solidFill>
          <a:srgbClr val="24A558"/>
        </a:solidFill>
        <a:ln>
          <a:solidFill>
            <a:srgbClr val="29A457"/>
          </a:solidFill>
        </a:ln>
      </dgm:spPr>
      <dgm:t>
        <a:bodyPr/>
        <a:lstStyle/>
        <a:p>
          <a:endParaRPr lang="en-US"/>
        </a:p>
      </dgm:t>
    </dgm:pt>
    <dgm:pt modelId="{EA1D7F34-9907-924C-A925-0273FC50CAFF}" type="sibTrans" cxnId="{FA0D96AF-8DB6-EE4F-AE6A-1957C94BF852}">
      <dgm:prSet/>
      <dgm:spPr/>
      <dgm:t>
        <a:bodyPr/>
        <a:lstStyle/>
        <a:p>
          <a:endParaRPr lang="en-US"/>
        </a:p>
      </dgm:t>
    </dgm:pt>
    <dgm:pt modelId="{B45208C6-8991-2B41-8692-AA509185E479}" type="parTrans" cxnId="{FA0D96AF-8DB6-EE4F-AE6A-1957C94BF852}">
      <dgm:prSet/>
      <dgm:spPr/>
      <dgm:t>
        <a:bodyPr/>
        <a:lstStyle/>
        <a:p>
          <a:endParaRPr lang="en-US"/>
        </a:p>
      </dgm:t>
    </dgm:pt>
    <dgm:pt modelId="{F1633484-F410-2049-89F6-2A52C17E2BA3}">
      <dgm:prSet phldrT="[Text]"/>
      <dgm:spPr>
        <a:solidFill>
          <a:srgbClr val="1D964B"/>
        </a:solidFill>
        <a:ln>
          <a:noFill/>
        </a:ln>
      </dgm:spPr>
      <dgm:t>
        <a:bodyPr/>
        <a:lstStyle/>
        <a:p>
          <a:endParaRPr lang="en-US"/>
        </a:p>
      </dgm:t>
    </dgm:pt>
    <dgm:pt modelId="{A67590F1-B987-3746-B308-B8D98A49756B}" type="sibTrans" cxnId="{3631B879-F5E6-3F41-A66D-AD3AA9702EE4}">
      <dgm:prSet/>
      <dgm:spPr/>
      <dgm:t>
        <a:bodyPr/>
        <a:lstStyle/>
        <a:p>
          <a:endParaRPr lang="en-US"/>
        </a:p>
      </dgm:t>
    </dgm:pt>
    <dgm:pt modelId="{CD23FA30-E65A-E44D-BC53-47352EB50C35}" type="parTrans" cxnId="{3631B879-F5E6-3F41-A66D-AD3AA9702EE4}">
      <dgm:prSet/>
      <dgm:spPr/>
      <dgm:t>
        <a:bodyPr/>
        <a:lstStyle/>
        <a:p>
          <a:endParaRPr lang="en-US"/>
        </a:p>
      </dgm:t>
    </dgm:pt>
    <dgm:pt modelId="{4AB4F7B6-F891-D148-ABF8-45A330A683E7}">
      <dgm:prSet phldrT="[Text]"/>
      <dgm:spPr>
        <a:solidFill>
          <a:srgbClr val="198C44"/>
        </a:solidFill>
        <a:ln>
          <a:noFill/>
        </a:ln>
      </dgm:spPr>
      <dgm:t>
        <a:bodyPr/>
        <a:lstStyle/>
        <a:p>
          <a:endParaRPr lang="en-US"/>
        </a:p>
      </dgm:t>
    </dgm:pt>
    <dgm:pt modelId="{4056527B-BE44-2543-B068-3708481FF1DB}" type="sibTrans" cxnId="{A5DED3B7-3973-A94E-9A89-2879DA442BED}">
      <dgm:prSet/>
      <dgm:spPr/>
      <dgm:t>
        <a:bodyPr/>
        <a:lstStyle/>
        <a:p>
          <a:endParaRPr lang="en-US"/>
        </a:p>
      </dgm:t>
    </dgm:pt>
    <dgm:pt modelId="{EE3424BD-59A7-CA41-85D8-E70F0B263D75}" type="parTrans" cxnId="{A5DED3B7-3973-A94E-9A89-2879DA442BED}">
      <dgm:prSet/>
      <dgm:spPr/>
      <dgm:t>
        <a:bodyPr/>
        <a:lstStyle/>
        <a:p>
          <a:endParaRPr lang="en-US"/>
        </a:p>
      </dgm:t>
    </dgm:pt>
    <dgm:pt modelId="{0237B2AD-8EFF-B34C-A3FB-1154414511F8}">
      <dgm:prSet phldrT="[Text]"/>
      <dgm:spPr>
        <a:solidFill>
          <a:srgbClr val="037A42"/>
        </a:solidFill>
        <a:ln>
          <a:noFill/>
        </a:ln>
      </dgm:spPr>
      <dgm:t>
        <a:bodyPr/>
        <a:lstStyle/>
        <a:p>
          <a:endParaRPr lang="en-US"/>
        </a:p>
      </dgm:t>
    </dgm:pt>
    <dgm:pt modelId="{0CC06259-4754-0C4E-8A8E-EAEF15EFDF71}" type="sibTrans" cxnId="{A418181B-195F-C540-A70E-33DD1BB18438}">
      <dgm:prSet/>
      <dgm:spPr/>
      <dgm:t>
        <a:bodyPr/>
        <a:lstStyle/>
        <a:p>
          <a:endParaRPr lang="en-US"/>
        </a:p>
      </dgm:t>
    </dgm:pt>
    <dgm:pt modelId="{D624C5D0-33DF-2C47-8B35-75619E60B953}" type="parTrans" cxnId="{A418181B-195F-C540-A70E-33DD1BB18438}">
      <dgm:prSet/>
      <dgm:spPr/>
      <dgm:t>
        <a:bodyPr/>
        <a:lstStyle/>
        <a:p>
          <a:endParaRPr lang="en-US"/>
        </a:p>
      </dgm:t>
    </dgm:pt>
    <dgm:pt modelId="{DC06D3F0-5939-3B40-BE38-69B6816FF1BC}" type="pres">
      <dgm:prSet presAssocID="{781F165F-88FD-0F49-BE5E-543C6AE3943A}" presName="Name0" presStyleCnt="0">
        <dgm:presLayoutVars>
          <dgm:dir/>
          <dgm:resizeHandles val="exact"/>
        </dgm:presLayoutVars>
      </dgm:prSet>
      <dgm:spPr/>
    </dgm:pt>
    <dgm:pt modelId="{50EAD4B2-E716-D742-879F-CD20B48D44D7}" type="pres">
      <dgm:prSet presAssocID="{C635E773-73F4-C345-876F-EC49C0411170}" presName="parTxOnly" presStyleLbl="node1" presStyleIdx="0" presStyleCnt="5" custScaleY="74745">
        <dgm:presLayoutVars>
          <dgm:bulletEnabled val="1"/>
        </dgm:presLayoutVars>
      </dgm:prSet>
      <dgm:spPr/>
    </dgm:pt>
    <dgm:pt modelId="{4606B817-F00B-414A-B82D-CF923619FEF1}" type="pres">
      <dgm:prSet presAssocID="{EA1D7F34-9907-924C-A925-0273FC50CAFF}" presName="parSpace" presStyleCnt="0"/>
      <dgm:spPr/>
    </dgm:pt>
    <dgm:pt modelId="{5D4AE62E-D122-E549-9FDE-C5A6579226E6}" type="pres">
      <dgm:prSet presAssocID="{F1633484-F410-2049-89F6-2A52C17E2BA3}" presName="parTxOnly" presStyleLbl="node1" presStyleIdx="1" presStyleCnt="5">
        <dgm:presLayoutVars>
          <dgm:bulletEnabled val="1"/>
        </dgm:presLayoutVars>
      </dgm:prSet>
      <dgm:spPr/>
    </dgm:pt>
    <dgm:pt modelId="{1A42C200-678F-244F-8ED2-D5EB0B003BE6}" type="pres">
      <dgm:prSet presAssocID="{A67590F1-B987-3746-B308-B8D98A49756B}" presName="parSpace" presStyleCnt="0"/>
      <dgm:spPr/>
    </dgm:pt>
    <dgm:pt modelId="{37E9EE08-28DD-1043-85D6-6F389C61BA97}" type="pres">
      <dgm:prSet presAssocID="{4AB4F7B6-F891-D148-ABF8-45A330A683E7}" presName="parTxOnly" presStyleLbl="node1" presStyleIdx="2" presStyleCnt="5">
        <dgm:presLayoutVars>
          <dgm:bulletEnabled val="1"/>
        </dgm:presLayoutVars>
      </dgm:prSet>
      <dgm:spPr/>
    </dgm:pt>
    <dgm:pt modelId="{04965C53-6357-2A48-96C1-2BF8A7D297B5}" type="pres">
      <dgm:prSet presAssocID="{4056527B-BE44-2543-B068-3708481FF1DB}" presName="parSpace" presStyleCnt="0"/>
      <dgm:spPr/>
    </dgm:pt>
    <dgm:pt modelId="{A321AFAD-7A09-B44E-BB82-A6F453920C7D}" type="pres">
      <dgm:prSet presAssocID="{0237B2AD-8EFF-B34C-A3FB-1154414511F8}" presName="parTxOnly" presStyleLbl="node1" presStyleIdx="3" presStyleCnt="5">
        <dgm:presLayoutVars>
          <dgm:bulletEnabled val="1"/>
        </dgm:presLayoutVars>
      </dgm:prSet>
      <dgm:spPr/>
    </dgm:pt>
    <dgm:pt modelId="{CC20E6BA-B6D8-B642-97CB-782BBC8EAFC8}" type="pres">
      <dgm:prSet presAssocID="{0CC06259-4754-0C4E-8A8E-EAEF15EFDF71}" presName="parSpace" presStyleCnt="0"/>
      <dgm:spPr/>
    </dgm:pt>
    <dgm:pt modelId="{5F174EF4-47BF-034A-A5EF-AE2C38F44384}" type="pres">
      <dgm:prSet presAssocID="{F25FDE00-3150-7C40-802A-15F9D786E62A}" presName="parTxOnly" presStyleLbl="node1" presStyleIdx="4" presStyleCnt="5">
        <dgm:presLayoutVars>
          <dgm:bulletEnabled val="1"/>
        </dgm:presLayoutVars>
      </dgm:prSet>
      <dgm:spPr/>
    </dgm:pt>
  </dgm:ptLst>
  <dgm:cxnLst>
    <dgm:cxn modelId="{F4CC0614-8BEF-8247-B3EC-3ED665669DEA}" type="presOf" srcId="{F25FDE00-3150-7C40-802A-15F9D786E62A}" destId="{5F174EF4-47BF-034A-A5EF-AE2C38F44384}" srcOrd="0" destOrd="0" presId="urn:microsoft.com/office/officeart/2005/8/layout/hChevron3"/>
    <dgm:cxn modelId="{A418181B-195F-C540-A70E-33DD1BB18438}" srcId="{781F165F-88FD-0F49-BE5E-543C6AE3943A}" destId="{0237B2AD-8EFF-B34C-A3FB-1154414511F8}" srcOrd="3" destOrd="0" parTransId="{D624C5D0-33DF-2C47-8B35-75619E60B953}" sibTransId="{0CC06259-4754-0C4E-8A8E-EAEF15EFDF71}"/>
    <dgm:cxn modelId="{D146952A-992B-9E42-950C-4AC59B760E13}" srcId="{781F165F-88FD-0F49-BE5E-543C6AE3943A}" destId="{F25FDE00-3150-7C40-802A-15F9D786E62A}" srcOrd="4" destOrd="0" parTransId="{720D6F4F-0792-DB4E-9628-D6C7D483B106}" sibTransId="{D466D50F-E9A4-5942-AEBC-16FD4AB72BA9}"/>
    <dgm:cxn modelId="{CC47F536-0801-0E4D-A6FE-019FC57311FF}" type="presOf" srcId="{C635E773-73F4-C345-876F-EC49C0411170}" destId="{50EAD4B2-E716-D742-879F-CD20B48D44D7}" srcOrd="0" destOrd="0" presId="urn:microsoft.com/office/officeart/2005/8/layout/hChevron3"/>
    <dgm:cxn modelId="{3631B879-F5E6-3F41-A66D-AD3AA9702EE4}" srcId="{781F165F-88FD-0F49-BE5E-543C6AE3943A}" destId="{F1633484-F410-2049-89F6-2A52C17E2BA3}" srcOrd="1" destOrd="0" parTransId="{CD23FA30-E65A-E44D-BC53-47352EB50C35}" sibTransId="{A67590F1-B987-3746-B308-B8D98A49756B}"/>
    <dgm:cxn modelId="{86DFB58F-278C-0649-8828-2FC3B5C950C6}" type="presOf" srcId="{781F165F-88FD-0F49-BE5E-543C6AE3943A}" destId="{DC06D3F0-5939-3B40-BE38-69B6816FF1BC}" srcOrd="0" destOrd="0" presId="urn:microsoft.com/office/officeart/2005/8/layout/hChevron3"/>
    <dgm:cxn modelId="{F06B00AF-F195-7648-897A-E95D8BD34700}" type="presOf" srcId="{0237B2AD-8EFF-B34C-A3FB-1154414511F8}" destId="{A321AFAD-7A09-B44E-BB82-A6F453920C7D}" srcOrd="0" destOrd="0" presId="urn:microsoft.com/office/officeart/2005/8/layout/hChevron3"/>
    <dgm:cxn modelId="{FA0D96AF-8DB6-EE4F-AE6A-1957C94BF852}" srcId="{781F165F-88FD-0F49-BE5E-543C6AE3943A}" destId="{C635E773-73F4-C345-876F-EC49C0411170}" srcOrd="0" destOrd="0" parTransId="{B45208C6-8991-2B41-8692-AA509185E479}" sibTransId="{EA1D7F34-9907-924C-A925-0273FC50CAFF}"/>
    <dgm:cxn modelId="{A5DED3B7-3973-A94E-9A89-2879DA442BED}" srcId="{781F165F-88FD-0F49-BE5E-543C6AE3943A}" destId="{4AB4F7B6-F891-D148-ABF8-45A330A683E7}" srcOrd="2" destOrd="0" parTransId="{EE3424BD-59A7-CA41-85D8-E70F0B263D75}" sibTransId="{4056527B-BE44-2543-B068-3708481FF1DB}"/>
    <dgm:cxn modelId="{3A9560D5-0262-A647-A9A2-22F33C719DBE}" type="presOf" srcId="{F1633484-F410-2049-89F6-2A52C17E2BA3}" destId="{5D4AE62E-D122-E549-9FDE-C5A6579226E6}" srcOrd="0" destOrd="0" presId="urn:microsoft.com/office/officeart/2005/8/layout/hChevron3"/>
    <dgm:cxn modelId="{27BF22F6-587D-B242-8E62-E28AA2BF70DF}" type="presOf" srcId="{4AB4F7B6-F891-D148-ABF8-45A330A683E7}" destId="{37E9EE08-28DD-1043-85D6-6F389C61BA97}" srcOrd="0" destOrd="0" presId="urn:microsoft.com/office/officeart/2005/8/layout/hChevron3"/>
    <dgm:cxn modelId="{0A0FDD96-DBF8-DA4E-8F8A-F0220FA54057}" type="presParOf" srcId="{DC06D3F0-5939-3B40-BE38-69B6816FF1BC}" destId="{50EAD4B2-E716-D742-879F-CD20B48D44D7}" srcOrd="0" destOrd="0" presId="urn:microsoft.com/office/officeart/2005/8/layout/hChevron3"/>
    <dgm:cxn modelId="{4ACB4758-3BE7-104E-B1FC-4F65CC8BAFB5}" type="presParOf" srcId="{DC06D3F0-5939-3B40-BE38-69B6816FF1BC}" destId="{4606B817-F00B-414A-B82D-CF923619FEF1}" srcOrd="1" destOrd="0" presId="urn:microsoft.com/office/officeart/2005/8/layout/hChevron3"/>
    <dgm:cxn modelId="{4E1C7057-C10B-6C44-9364-39C8F41AF5D3}" type="presParOf" srcId="{DC06D3F0-5939-3B40-BE38-69B6816FF1BC}" destId="{5D4AE62E-D122-E549-9FDE-C5A6579226E6}" srcOrd="2" destOrd="0" presId="urn:microsoft.com/office/officeart/2005/8/layout/hChevron3"/>
    <dgm:cxn modelId="{C9EF5958-91D1-0C4E-BBCC-30C6B9E98A11}" type="presParOf" srcId="{DC06D3F0-5939-3B40-BE38-69B6816FF1BC}" destId="{1A42C200-678F-244F-8ED2-D5EB0B003BE6}" srcOrd="3" destOrd="0" presId="urn:microsoft.com/office/officeart/2005/8/layout/hChevron3"/>
    <dgm:cxn modelId="{22EF08E3-C507-794D-9AA4-5194ABC672D5}" type="presParOf" srcId="{DC06D3F0-5939-3B40-BE38-69B6816FF1BC}" destId="{37E9EE08-28DD-1043-85D6-6F389C61BA97}" srcOrd="4" destOrd="0" presId="urn:microsoft.com/office/officeart/2005/8/layout/hChevron3"/>
    <dgm:cxn modelId="{1F097187-981F-BC46-A33D-07610A96E8D6}" type="presParOf" srcId="{DC06D3F0-5939-3B40-BE38-69B6816FF1BC}" destId="{04965C53-6357-2A48-96C1-2BF8A7D297B5}" srcOrd="5" destOrd="0" presId="urn:microsoft.com/office/officeart/2005/8/layout/hChevron3"/>
    <dgm:cxn modelId="{848211E8-75B3-B54B-A3D9-AE2C4C7490FF}" type="presParOf" srcId="{DC06D3F0-5939-3B40-BE38-69B6816FF1BC}" destId="{A321AFAD-7A09-B44E-BB82-A6F453920C7D}" srcOrd="6" destOrd="0" presId="urn:microsoft.com/office/officeart/2005/8/layout/hChevron3"/>
    <dgm:cxn modelId="{0FE839CC-8251-C94A-B866-B3D5BC4FF374}" type="presParOf" srcId="{DC06D3F0-5939-3B40-BE38-69B6816FF1BC}" destId="{CC20E6BA-B6D8-B642-97CB-782BBC8EAFC8}" srcOrd="7" destOrd="0" presId="urn:microsoft.com/office/officeart/2005/8/layout/hChevron3"/>
    <dgm:cxn modelId="{050B84AD-E733-1E43-BA50-F4CC8A9B3DC0}" type="presParOf" srcId="{DC06D3F0-5939-3B40-BE38-69B6816FF1BC}" destId="{5F174EF4-47BF-034A-A5EF-AE2C38F44384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781F165F-88FD-0F49-BE5E-543C6AE3943A}" type="doc">
      <dgm:prSet loTypeId="urn:microsoft.com/office/officeart/2005/8/layout/hChevron3" loCatId="" qsTypeId="urn:microsoft.com/office/officeart/2005/8/quickstyle/simple1" qsCatId="simple" csTypeId="urn:microsoft.com/office/officeart/2005/8/colors/accent1_2" csCatId="accent1" phldr="1"/>
      <dgm:spPr/>
    </dgm:pt>
    <dgm:pt modelId="{F25FDE00-3150-7C40-802A-15F9D786E62A}">
      <dgm:prSet phldrT="[Text]"/>
      <dgm:spPr>
        <a:solidFill>
          <a:srgbClr val="036E3D"/>
        </a:solidFill>
        <a:ln>
          <a:noFill/>
        </a:ln>
      </dgm:spPr>
      <dgm:t>
        <a:bodyPr/>
        <a:lstStyle/>
        <a:p>
          <a:endParaRPr lang="en-US"/>
        </a:p>
      </dgm:t>
    </dgm:pt>
    <dgm:pt modelId="{720D6F4F-0792-DB4E-9628-D6C7D483B106}" type="parTrans" cxnId="{D146952A-992B-9E42-950C-4AC59B760E13}">
      <dgm:prSet/>
      <dgm:spPr/>
      <dgm:t>
        <a:bodyPr/>
        <a:lstStyle/>
        <a:p>
          <a:endParaRPr lang="en-US"/>
        </a:p>
      </dgm:t>
    </dgm:pt>
    <dgm:pt modelId="{D466D50F-E9A4-5942-AEBC-16FD4AB72BA9}" type="sibTrans" cxnId="{D146952A-992B-9E42-950C-4AC59B760E13}">
      <dgm:prSet/>
      <dgm:spPr/>
      <dgm:t>
        <a:bodyPr/>
        <a:lstStyle/>
        <a:p>
          <a:endParaRPr lang="en-US"/>
        </a:p>
      </dgm:t>
    </dgm:pt>
    <dgm:pt modelId="{C635E773-73F4-C345-876F-EC49C0411170}">
      <dgm:prSet phldrT="[Text]"/>
      <dgm:spPr>
        <a:solidFill>
          <a:srgbClr val="24A558"/>
        </a:solidFill>
        <a:ln>
          <a:solidFill>
            <a:srgbClr val="29A457"/>
          </a:solidFill>
        </a:ln>
      </dgm:spPr>
      <dgm:t>
        <a:bodyPr/>
        <a:lstStyle/>
        <a:p>
          <a:endParaRPr lang="en-US"/>
        </a:p>
      </dgm:t>
    </dgm:pt>
    <dgm:pt modelId="{EA1D7F34-9907-924C-A925-0273FC50CAFF}" type="sibTrans" cxnId="{FA0D96AF-8DB6-EE4F-AE6A-1957C94BF852}">
      <dgm:prSet/>
      <dgm:spPr/>
      <dgm:t>
        <a:bodyPr/>
        <a:lstStyle/>
        <a:p>
          <a:endParaRPr lang="en-US"/>
        </a:p>
      </dgm:t>
    </dgm:pt>
    <dgm:pt modelId="{B45208C6-8991-2B41-8692-AA509185E479}" type="parTrans" cxnId="{FA0D96AF-8DB6-EE4F-AE6A-1957C94BF852}">
      <dgm:prSet/>
      <dgm:spPr/>
      <dgm:t>
        <a:bodyPr/>
        <a:lstStyle/>
        <a:p>
          <a:endParaRPr lang="en-US"/>
        </a:p>
      </dgm:t>
    </dgm:pt>
    <dgm:pt modelId="{F1633484-F410-2049-89F6-2A52C17E2BA3}">
      <dgm:prSet phldrT="[Text]"/>
      <dgm:spPr>
        <a:solidFill>
          <a:srgbClr val="1D964B"/>
        </a:solidFill>
        <a:ln>
          <a:noFill/>
        </a:ln>
      </dgm:spPr>
      <dgm:t>
        <a:bodyPr/>
        <a:lstStyle/>
        <a:p>
          <a:endParaRPr lang="en-US"/>
        </a:p>
      </dgm:t>
    </dgm:pt>
    <dgm:pt modelId="{A67590F1-B987-3746-B308-B8D98A49756B}" type="sibTrans" cxnId="{3631B879-F5E6-3F41-A66D-AD3AA9702EE4}">
      <dgm:prSet/>
      <dgm:spPr/>
      <dgm:t>
        <a:bodyPr/>
        <a:lstStyle/>
        <a:p>
          <a:endParaRPr lang="en-US"/>
        </a:p>
      </dgm:t>
    </dgm:pt>
    <dgm:pt modelId="{CD23FA30-E65A-E44D-BC53-47352EB50C35}" type="parTrans" cxnId="{3631B879-F5E6-3F41-A66D-AD3AA9702EE4}">
      <dgm:prSet/>
      <dgm:spPr/>
      <dgm:t>
        <a:bodyPr/>
        <a:lstStyle/>
        <a:p>
          <a:endParaRPr lang="en-US"/>
        </a:p>
      </dgm:t>
    </dgm:pt>
    <dgm:pt modelId="{4AB4F7B6-F891-D148-ABF8-45A330A683E7}">
      <dgm:prSet phldrT="[Text]"/>
      <dgm:spPr>
        <a:solidFill>
          <a:srgbClr val="198C44"/>
        </a:solidFill>
        <a:ln>
          <a:noFill/>
        </a:ln>
      </dgm:spPr>
      <dgm:t>
        <a:bodyPr/>
        <a:lstStyle/>
        <a:p>
          <a:endParaRPr lang="en-US"/>
        </a:p>
      </dgm:t>
    </dgm:pt>
    <dgm:pt modelId="{4056527B-BE44-2543-B068-3708481FF1DB}" type="sibTrans" cxnId="{A5DED3B7-3973-A94E-9A89-2879DA442BED}">
      <dgm:prSet/>
      <dgm:spPr/>
      <dgm:t>
        <a:bodyPr/>
        <a:lstStyle/>
        <a:p>
          <a:endParaRPr lang="en-US"/>
        </a:p>
      </dgm:t>
    </dgm:pt>
    <dgm:pt modelId="{EE3424BD-59A7-CA41-85D8-E70F0B263D75}" type="parTrans" cxnId="{A5DED3B7-3973-A94E-9A89-2879DA442BED}">
      <dgm:prSet/>
      <dgm:spPr/>
      <dgm:t>
        <a:bodyPr/>
        <a:lstStyle/>
        <a:p>
          <a:endParaRPr lang="en-US"/>
        </a:p>
      </dgm:t>
    </dgm:pt>
    <dgm:pt modelId="{0237B2AD-8EFF-B34C-A3FB-1154414511F8}">
      <dgm:prSet phldrT="[Text]"/>
      <dgm:spPr>
        <a:solidFill>
          <a:srgbClr val="037A42"/>
        </a:solidFill>
        <a:ln>
          <a:noFill/>
        </a:ln>
      </dgm:spPr>
      <dgm:t>
        <a:bodyPr/>
        <a:lstStyle/>
        <a:p>
          <a:endParaRPr lang="en-US"/>
        </a:p>
      </dgm:t>
    </dgm:pt>
    <dgm:pt modelId="{0CC06259-4754-0C4E-8A8E-EAEF15EFDF71}" type="sibTrans" cxnId="{A418181B-195F-C540-A70E-33DD1BB18438}">
      <dgm:prSet/>
      <dgm:spPr/>
      <dgm:t>
        <a:bodyPr/>
        <a:lstStyle/>
        <a:p>
          <a:endParaRPr lang="en-US"/>
        </a:p>
      </dgm:t>
    </dgm:pt>
    <dgm:pt modelId="{D624C5D0-33DF-2C47-8B35-75619E60B953}" type="parTrans" cxnId="{A418181B-195F-C540-A70E-33DD1BB18438}">
      <dgm:prSet/>
      <dgm:spPr/>
      <dgm:t>
        <a:bodyPr/>
        <a:lstStyle/>
        <a:p>
          <a:endParaRPr lang="en-US"/>
        </a:p>
      </dgm:t>
    </dgm:pt>
    <dgm:pt modelId="{DC06D3F0-5939-3B40-BE38-69B6816FF1BC}" type="pres">
      <dgm:prSet presAssocID="{781F165F-88FD-0F49-BE5E-543C6AE3943A}" presName="Name0" presStyleCnt="0">
        <dgm:presLayoutVars>
          <dgm:dir/>
          <dgm:resizeHandles val="exact"/>
        </dgm:presLayoutVars>
      </dgm:prSet>
      <dgm:spPr/>
    </dgm:pt>
    <dgm:pt modelId="{50EAD4B2-E716-D742-879F-CD20B48D44D7}" type="pres">
      <dgm:prSet presAssocID="{C635E773-73F4-C345-876F-EC49C0411170}" presName="parTxOnly" presStyleLbl="node1" presStyleIdx="0" presStyleCnt="5" custScaleY="74745">
        <dgm:presLayoutVars>
          <dgm:bulletEnabled val="1"/>
        </dgm:presLayoutVars>
      </dgm:prSet>
      <dgm:spPr/>
    </dgm:pt>
    <dgm:pt modelId="{4606B817-F00B-414A-B82D-CF923619FEF1}" type="pres">
      <dgm:prSet presAssocID="{EA1D7F34-9907-924C-A925-0273FC50CAFF}" presName="parSpace" presStyleCnt="0"/>
      <dgm:spPr/>
    </dgm:pt>
    <dgm:pt modelId="{5D4AE62E-D122-E549-9FDE-C5A6579226E6}" type="pres">
      <dgm:prSet presAssocID="{F1633484-F410-2049-89F6-2A52C17E2BA3}" presName="parTxOnly" presStyleLbl="node1" presStyleIdx="1" presStyleCnt="5">
        <dgm:presLayoutVars>
          <dgm:bulletEnabled val="1"/>
        </dgm:presLayoutVars>
      </dgm:prSet>
      <dgm:spPr/>
    </dgm:pt>
    <dgm:pt modelId="{1A42C200-678F-244F-8ED2-D5EB0B003BE6}" type="pres">
      <dgm:prSet presAssocID="{A67590F1-B987-3746-B308-B8D98A49756B}" presName="parSpace" presStyleCnt="0"/>
      <dgm:spPr/>
    </dgm:pt>
    <dgm:pt modelId="{37E9EE08-28DD-1043-85D6-6F389C61BA97}" type="pres">
      <dgm:prSet presAssocID="{4AB4F7B6-F891-D148-ABF8-45A330A683E7}" presName="parTxOnly" presStyleLbl="node1" presStyleIdx="2" presStyleCnt="5">
        <dgm:presLayoutVars>
          <dgm:bulletEnabled val="1"/>
        </dgm:presLayoutVars>
      </dgm:prSet>
      <dgm:spPr/>
    </dgm:pt>
    <dgm:pt modelId="{04965C53-6357-2A48-96C1-2BF8A7D297B5}" type="pres">
      <dgm:prSet presAssocID="{4056527B-BE44-2543-B068-3708481FF1DB}" presName="parSpace" presStyleCnt="0"/>
      <dgm:spPr/>
    </dgm:pt>
    <dgm:pt modelId="{A321AFAD-7A09-B44E-BB82-A6F453920C7D}" type="pres">
      <dgm:prSet presAssocID="{0237B2AD-8EFF-B34C-A3FB-1154414511F8}" presName="parTxOnly" presStyleLbl="node1" presStyleIdx="3" presStyleCnt="5">
        <dgm:presLayoutVars>
          <dgm:bulletEnabled val="1"/>
        </dgm:presLayoutVars>
      </dgm:prSet>
      <dgm:spPr/>
    </dgm:pt>
    <dgm:pt modelId="{CC20E6BA-B6D8-B642-97CB-782BBC8EAFC8}" type="pres">
      <dgm:prSet presAssocID="{0CC06259-4754-0C4E-8A8E-EAEF15EFDF71}" presName="parSpace" presStyleCnt="0"/>
      <dgm:spPr/>
    </dgm:pt>
    <dgm:pt modelId="{5F174EF4-47BF-034A-A5EF-AE2C38F44384}" type="pres">
      <dgm:prSet presAssocID="{F25FDE00-3150-7C40-802A-15F9D786E62A}" presName="parTxOnly" presStyleLbl="node1" presStyleIdx="4" presStyleCnt="5">
        <dgm:presLayoutVars>
          <dgm:bulletEnabled val="1"/>
        </dgm:presLayoutVars>
      </dgm:prSet>
      <dgm:spPr/>
    </dgm:pt>
  </dgm:ptLst>
  <dgm:cxnLst>
    <dgm:cxn modelId="{F4CC0614-8BEF-8247-B3EC-3ED665669DEA}" type="presOf" srcId="{F25FDE00-3150-7C40-802A-15F9D786E62A}" destId="{5F174EF4-47BF-034A-A5EF-AE2C38F44384}" srcOrd="0" destOrd="0" presId="urn:microsoft.com/office/officeart/2005/8/layout/hChevron3"/>
    <dgm:cxn modelId="{A418181B-195F-C540-A70E-33DD1BB18438}" srcId="{781F165F-88FD-0F49-BE5E-543C6AE3943A}" destId="{0237B2AD-8EFF-B34C-A3FB-1154414511F8}" srcOrd="3" destOrd="0" parTransId="{D624C5D0-33DF-2C47-8B35-75619E60B953}" sibTransId="{0CC06259-4754-0C4E-8A8E-EAEF15EFDF71}"/>
    <dgm:cxn modelId="{D146952A-992B-9E42-950C-4AC59B760E13}" srcId="{781F165F-88FD-0F49-BE5E-543C6AE3943A}" destId="{F25FDE00-3150-7C40-802A-15F9D786E62A}" srcOrd="4" destOrd="0" parTransId="{720D6F4F-0792-DB4E-9628-D6C7D483B106}" sibTransId="{D466D50F-E9A4-5942-AEBC-16FD4AB72BA9}"/>
    <dgm:cxn modelId="{CC47F536-0801-0E4D-A6FE-019FC57311FF}" type="presOf" srcId="{C635E773-73F4-C345-876F-EC49C0411170}" destId="{50EAD4B2-E716-D742-879F-CD20B48D44D7}" srcOrd="0" destOrd="0" presId="urn:microsoft.com/office/officeart/2005/8/layout/hChevron3"/>
    <dgm:cxn modelId="{3631B879-F5E6-3F41-A66D-AD3AA9702EE4}" srcId="{781F165F-88FD-0F49-BE5E-543C6AE3943A}" destId="{F1633484-F410-2049-89F6-2A52C17E2BA3}" srcOrd="1" destOrd="0" parTransId="{CD23FA30-E65A-E44D-BC53-47352EB50C35}" sibTransId="{A67590F1-B987-3746-B308-B8D98A49756B}"/>
    <dgm:cxn modelId="{86DFB58F-278C-0649-8828-2FC3B5C950C6}" type="presOf" srcId="{781F165F-88FD-0F49-BE5E-543C6AE3943A}" destId="{DC06D3F0-5939-3B40-BE38-69B6816FF1BC}" srcOrd="0" destOrd="0" presId="urn:microsoft.com/office/officeart/2005/8/layout/hChevron3"/>
    <dgm:cxn modelId="{F06B00AF-F195-7648-897A-E95D8BD34700}" type="presOf" srcId="{0237B2AD-8EFF-B34C-A3FB-1154414511F8}" destId="{A321AFAD-7A09-B44E-BB82-A6F453920C7D}" srcOrd="0" destOrd="0" presId="urn:microsoft.com/office/officeart/2005/8/layout/hChevron3"/>
    <dgm:cxn modelId="{FA0D96AF-8DB6-EE4F-AE6A-1957C94BF852}" srcId="{781F165F-88FD-0F49-BE5E-543C6AE3943A}" destId="{C635E773-73F4-C345-876F-EC49C0411170}" srcOrd="0" destOrd="0" parTransId="{B45208C6-8991-2B41-8692-AA509185E479}" sibTransId="{EA1D7F34-9907-924C-A925-0273FC50CAFF}"/>
    <dgm:cxn modelId="{A5DED3B7-3973-A94E-9A89-2879DA442BED}" srcId="{781F165F-88FD-0F49-BE5E-543C6AE3943A}" destId="{4AB4F7B6-F891-D148-ABF8-45A330A683E7}" srcOrd="2" destOrd="0" parTransId="{EE3424BD-59A7-CA41-85D8-E70F0B263D75}" sibTransId="{4056527B-BE44-2543-B068-3708481FF1DB}"/>
    <dgm:cxn modelId="{3A9560D5-0262-A647-A9A2-22F33C719DBE}" type="presOf" srcId="{F1633484-F410-2049-89F6-2A52C17E2BA3}" destId="{5D4AE62E-D122-E549-9FDE-C5A6579226E6}" srcOrd="0" destOrd="0" presId="urn:microsoft.com/office/officeart/2005/8/layout/hChevron3"/>
    <dgm:cxn modelId="{27BF22F6-587D-B242-8E62-E28AA2BF70DF}" type="presOf" srcId="{4AB4F7B6-F891-D148-ABF8-45A330A683E7}" destId="{37E9EE08-28DD-1043-85D6-6F389C61BA97}" srcOrd="0" destOrd="0" presId="urn:microsoft.com/office/officeart/2005/8/layout/hChevron3"/>
    <dgm:cxn modelId="{0A0FDD96-DBF8-DA4E-8F8A-F0220FA54057}" type="presParOf" srcId="{DC06D3F0-5939-3B40-BE38-69B6816FF1BC}" destId="{50EAD4B2-E716-D742-879F-CD20B48D44D7}" srcOrd="0" destOrd="0" presId="urn:microsoft.com/office/officeart/2005/8/layout/hChevron3"/>
    <dgm:cxn modelId="{4ACB4758-3BE7-104E-B1FC-4F65CC8BAFB5}" type="presParOf" srcId="{DC06D3F0-5939-3B40-BE38-69B6816FF1BC}" destId="{4606B817-F00B-414A-B82D-CF923619FEF1}" srcOrd="1" destOrd="0" presId="urn:microsoft.com/office/officeart/2005/8/layout/hChevron3"/>
    <dgm:cxn modelId="{4E1C7057-C10B-6C44-9364-39C8F41AF5D3}" type="presParOf" srcId="{DC06D3F0-5939-3B40-BE38-69B6816FF1BC}" destId="{5D4AE62E-D122-E549-9FDE-C5A6579226E6}" srcOrd="2" destOrd="0" presId="urn:microsoft.com/office/officeart/2005/8/layout/hChevron3"/>
    <dgm:cxn modelId="{C9EF5958-91D1-0C4E-BBCC-30C6B9E98A11}" type="presParOf" srcId="{DC06D3F0-5939-3B40-BE38-69B6816FF1BC}" destId="{1A42C200-678F-244F-8ED2-D5EB0B003BE6}" srcOrd="3" destOrd="0" presId="urn:microsoft.com/office/officeart/2005/8/layout/hChevron3"/>
    <dgm:cxn modelId="{22EF08E3-C507-794D-9AA4-5194ABC672D5}" type="presParOf" srcId="{DC06D3F0-5939-3B40-BE38-69B6816FF1BC}" destId="{37E9EE08-28DD-1043-85D6-6F389C61BA97}" srcOrd="4" destOrd="0" presId="urn:microsoft.com/office/officeart/2005/8/layout/hChevron3"/>
    <dgm:cxn modelId="{1F097187-981F-BC46-A33D-07610A96E8D6}" type="presParOf" srcId="{DC06D3F0-5939-3B40-BE38-69B6816FF1BC}" destId="{04965C53-6357-2A48-96C1-2BF8A7D297B5}" srcOrd="5" destOrd="0" presId="urn:microsoft.com/office/officeart/2005/8/layout/hChevron3"/>
    <dgm:cxn modelId="{848211E8-75B3-B54B-A3D9-AE2C4C7490FF}" type="presParOf" srcId="{DC06D3F0-5939-3B40-BE38-69B6816FF1BC}" destId="{A321AFAD-7A09-B44E-BB82-A6F453920C7D}" srcOrd="6" destOrd="0" presId="urn:microsoft.com/office/officeart/2005/8/layout/hChevron3"/>
    <dgm:cxn modelId="{0FE839CC-8251-C94A-B866-B3D5BC4FF374}" type="presParOf" srcId="{DC06D3F0-5939-3B40-BE38-69B6816FF1BC}" destId="{CC20E6BA-B6D8-B642-97CB-782BBC8EAFC8}" srcOrd="7" destOrd="0" presId="urn:microsoft.com/office/officeart/2005/8/layout/hChevron3"/>
    <dgm:cxn modelId="{050B84AD-E733-1E43-BA50-F4CC8A9B3DC0}" type="presParOf" srcId="{DC06D3F0-5939-3B40-BE38-69B6816FF1BC}" destId="{5F174EF4-47BF-034A-A5EF-AE2C38F44384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781F165F-88FD-0F49-BE5E-543C6AE3943A}" type="doc">
      <dgm:prSet loTypeId="urn:microsoft.com/office/officeart/2005/8/layout/hChevron3" loCatId="" qsTypeId="urn:microsoft.com/office/officeart/2005/8/quickstyle/simple1" qsCatId="simple" csTypeId="urn:microsoft.com/office/officeart/2005/8/colors/accent1_2" csCatId="accent1" phldr="1"/>
      <dgm:spPr/>
    </dgm:pt>
    <dgm:pt modelId="{F25FDE00-3150-7C40-802A-15F9D786E62A}">
      <dgm:prSet phldrT="[Text]"/>
      <dgm:spPr>
        <a:solidFill>
          <a:srgbClr val="036E3D"/>
        </a:solidFill>
        <a:ln>
          <a:noFill/>
        </a:ln>
      </dgm:spPr>
      <dgm:t>
        <a:bodyPr/>
        <a:lstStyle/>
        <a:p>
          <a:endParaRPr lang="en-US"/>
        </a:p>
      </dgm:t>
    </dgm:pt>
    <dgm:pt modelId="{720D6F4F-0792-DB4E-9628-D6C7D483B106}" type="parTrans" cxnId="{D146952A-992B-9E42-950C-4AC59B760E13}">
      <dgm:prSet/>
      <dgm:spPr/>
      <dgm:t>
        <a:bodyPr/>
        <a:lstStyle/>
        <a:p>
          <a:endParaRPr lang="en-US"/>
        </a:p>
      </dgm:t>
    </dgm:pt>
    <dgm:pt modelId="{D466D50F-E9A4-5942-AEBC-16FD4AB72BA9}" type="sibTrans" cxnId="{D146952A-992B-9E42-950C-4AC59B760E13}">
      <dgm:prSet/>
      <dgm:spPr/>
      <dgm:t>
        <a:bodyPr/>
        <a:lstStyle/>
        <a:p>
          <a:endParaRPr lang="en-US"/>
        </a:p>
      </dgm:t>
    </dgm:pt>
    <dgm:pt modelId="{C635E773-73F4-C345-876F-EC49C0411170}">
      <dgm:prSet phldrT="[Text]"/>
      <dgm:spPr>
        <a:solidFill>
          <a:srgbClr val="24A558"/>
        </a:solidFill>
        <a:ln>
          <a:solidFill>
            <a:srgbClr val="29A457"/>
          </a:solidFill>
        </a:ln>
      </dgm:spPr>
      <dgm:t>
        <a:bodyPr/>
        <a:lstStyle/>
        <a:p>
          <a:endParaRPr lang="en-US"/>
        </a:p>
      </dgm:t>
    </dgm:pt>
    <dgm:pt modelId="{EA1D7F34-9907-924C-A925-0273FC50CAFF}" type="sibTrans" cxnId="{FA0D96AF-8DB6-EE4F-AE6A-1957C94BF852}">
      <dgm:prSet/>
      <dgm:spPr/>
      <dgm:t>
        <a:bodyPr/>
        <a:lstStyle/>
        <a:p>
          <a:endParaRPr lang="en-US"/>
        </a:p>
      </dgm:t>
    </dgm:pt>
    <dgm:pt modelId="{B45208C6-8991-2B41-8692-AA509185E479}" type="parTrans" cxnId="{FA0D96AF-8DB6-EE4F-AE6A-1957C94BF852}">
      <dgm:prSet/>
      <dgm:spPr/>
      <dgm:t>
        <a:bodyPr/>
        <a:lstStyle/>
        <a:p>
          <a:endParaRPr lang="en-US"/>
        </a:p>
      </dgm:t>
    </dgm:pt>
    <dgm:pt modelId="{F1633484-F410-2049-89F6-2A52C17E2BA3}">
      <dgm:prSet phldrT="[Text]"/>
      <dgm:spPr>
        <a:solidFill>
          <a:srgbClr val="1D964B"/>
        </a:solidFill>
        <a:ln>
          <a:noFill/>
        </a:ln>
      </dgm:spPr>
      <dgm:t>
        <a:bodyPr/>
        <a:lstStyle/>
        <a:p>
          <a:endParaRPr lang="en-US"/>
        </a:p>
      </dgm:t>
    </dgm:pt>
    <dgm:pt modelId="{A67590F1-B987-3746-B308-B8D98A49756B}" type="sibTrans" cxnId="{3631B879-F5E6-3F41-A66D-AD3AA9702EE4}">
      <dgm:prSet/>
      <dgm:spPr/>
      <dgm:t>
        <a:bodyPr/>
        <a:lstStyle/>
        <a:p>
          <a:endParaRPr lang="en-US"/>
        </a:p>
      </dgm:t>
    </dgm:pt>
    <dgm:pt modelId="{CD23FA30-E65A-E44D-BC53-47352EB50C35}" type="parTrans" cxnId="{3631B879-F5E6-3F41-A66D-AD3AA9702EE4}">
      <dgm:prSet/>
      <dgm:spPr/>
      <dgm:t>
        <a:bodyPr/>
        <a:lstStyle/>
        <a:p>
          <a:endParaRPr lang="en-US"/>
        </a:p>
      </dgm:t>
    </dgm:pt>
    <dgm:pt modelId="{4AB4F7B6-F891-D148-ABF8-45A330A683E7}">
      <dgm:prSet phldrT="[Text]"/>
      <dgm:spPr>
        <a:solidFill>
          <a:srgbClr val="198C44"/>
        </a:solidFill>
        <a:ln>
          <a:noFill/>
        </a:ln>
      </dgm:spPr>
      <dgm:t>
        <a:bodyPr/>
        <a:lstStyle/>
        <a:p>
          <a:endParaRPr lang="en-US"/>
        </a:p>
      </dgm:t>
    </dgm:pt>
    <dgm:pt modelId="{4056527B-BE44-2543-B068-3708481FF1DB}" type="sibTrans" cxnId="{A5DED3B7-3973-A94E-9A89-2879DA442BED}">
      <dgm:prSet/>
      <dgm:spPr/>
      <dgm:t>
        <a:bodyPr/>
        <a:lstStyle/>
        <a:p>
          <a:endParaRPr lang="en-US"/>
        </a:p>
      </dgm:t>
    </dgm:pt>
    <dgm:pt modelId="{EE3424BD-59A7-CA41-85D8-E70F0B263D75}" type="parTrans" cxnId="{A5DED3B7-3973-A94E-9A89-2879DA442BED}">
      <dgm:prSet/>
      <dgm:spPr/>
      <dgm:t>
        <a:bodyPr/>
        <a:lstStyle/>
        <a:p>
          <a:endParaRPr lang="en-US"/>
        </a:p>
      </dgm:t>
    </dgm:pt>
    <dgm:pt modelId="{0237B2AD-8EFF-B34C-A3FB-1154414511F8}">
      <dgm:prSet phldrT="[Text]"/>
      <dgm:spPr>
        <a:solidFill>
          <a:srgbClr val="037A42"/>
        </a:solidFill>
        <a:ln>
          <a:noFill/>
        </a:ln>
      </dgm:spPr>
      <dgm:t>
        <a:bodyPr/>
        <a:lstStyle/>
        <a:p>
          <a:endParaRPr lang="en-US"/>
        </a:p>
      </dgm:t>
    </dgm:pt>
    <dgm:pt modelId="{0CC06259-4754-0C4E-8A8E-EAEF15EFDF71}" type="sibTrans" cxnId="{A418181B-195F-C540-A70E-33DD1BB18438}">
      <dgm:prSet/>
      <dgm:spPr/>
      <dgm:t>
        <a:bodyPr/>
        <a:lstStyle/>
        <a:p>
          <a:endParaRPr lang="en-US"/>
        </a:p>
      </dgm:t>
    </dgm:pt>
    <dgm:pt modelId="{D624C5D0-33DF-2C47-8B35-75619E60B953}" type="parTrans" cxnId="{A418181B-195F-C540-A70E-33DD1BB18438}">
      <dgm:prSet/>
      <dgm:spPr/>
      <dgm:t>
        <a:bodyPr/>
        <a:lstStyle/>
        <a:p>
          <a:endParaRPr lang="en-US"/>
        </a:p>
      </dgm:t>
    </dgm:pt>
    <dgm:pt modelId="{DC06D3F0-5939-3B40-BE38-69B6816FF1BC}" type="pres">
      <dgm:prSet presAssocID="{781F165F-88FD-0F49-BE5E-543C6AE3943A}" presName="Name0" presStyleCnt="0">
        <dgm:presLayoutVars>
          <dgm:dir/>
          <dgm:resizeHandles val="exact"/>
        </dgm:presLayoutVars>
      </dgm:prSet>
      <dgm:spPr/>
    </dgm:pt>
    <dgm:pt modelId="{50EAD4B2-E716-D742-879F-CD20B48D44D7}" type="pres">
      <dgm:prSet presAssocID="{C635E773-73F4-C345-876F-EC49C0411170}" presName="parTxOnly" presStyleLbl="node1" presStyleIdx="0" presStyleCnt="5" custScaleY="74745">
        <dgm:presLayoutVars>
          <dgm:bulletEnabled val="1"/>
        </dgm:presLayoutVars>
      </dgm:prSet>
      <dgm:spPr/>
    </dgm:pt>
    <dgm:pt modelId="{4606B817-F00B-414A-B82D-CF923619FEF1}" type="pres">
      <dgm:prSet presAssocID="{EA1D7F34-9907-924C-A925-0273FC50CAFF}" presName="parSpace" presStyleCnt="0"/>
      <dgm:spPr/>
    </dgm:pt>
    <dgm:pt modelId="{5D4AE62E-D122-E549-9FDE-C5A6579226E6}" type="pres">
      <dgm:prSet presAssocID="{F1633484-F410-2049-89F6-2A52C17E2BA3}" presName="parTxOnly" presStyleLbl="node1" presStyleIdx="1" presStyleCnt="5">
        <dgm:presLayoutVars>
          <dgm:bulletEnabled val="1"/>
        </dgm:presLayoutVars>
      </dgm:prSet>
      <dgm:spPr/>
    </dgm:pt>
    <dgm:pt modelId="{1A42C200-678F-244F-8ED2-D5EB0B003BE6}" type="pres">
      <dgm:prSet presAssocID="{A67590F1-B987-3746-B308-B8D98A49756B}" presName="parSpace" presStyleCnt="0"/>
      <dgm:spPr/>
    </dgm:pt>
    <dgm:pt modelId="{37E9EE08-28DD-1043-85D6-6F389C61BA97}" type="pres">
      <dgm:prSet presAssocID="{4AB4F7B6-F891-D148-ABF8-45A330A683E7}" presName="parTxOnly" presStyleLbl="node1" presStyleIdx="2" presStyleCnt="5">
        <dgm:presLayoutVars>
          <dgm:bulletEnabled val="1"/>
        </dgm:presLayoutVars>
      </dgm:prSet>
      <dgm:spPr/>
    </dgm:pt>
    <dgm:pt modelId="{04965C53-6357-2A48-96C1-2BF8A7D297B5}" type="pres">
      <dgm:prSet presAssocID="{4056527B-BE44-2543-B068-3708481FF1DB}" presName="parSpace" presStyleCnt="0"/>
      <dgm:spPr/>
    </dgm:pt>
    <dgm:pt modelId="{A321AFAD-7A09-B44E-BB82-A6F453920C7D}" type="pres">
      <dgm:prSet presAssocID="{0237B2AD-8EFF-B34C-A3FB-1154414511F8}" presName="parTxOnly" presStyleLbl="node1" presStyleIdx="3" presStyleCnt="5">
        <dgm:presLayoutVars>
          <dgm:bulletEnabled val="1"/>
        </dgm:presLayoutVars>
      </dgm:prSet>
      <dgm:spPr/>
    </dgm:pt>
    <dgm:pt modelId="{CC20E6BA-B6D8-B642-97CB-782BBC8EAFC8}" type="pres">
      <dgm:prSet presAssocID="{0CC06259-4754-0C4E-8A8E-EAEF15EFDF71}" presName="parSpace" presStyleCnt="0"/>
      <dgm:spPr/>
    </dgm:pt>
    <dgm:pt modelId="{5F174EF4-47BF-034A-A5EF-AE2C38F44384}" type="pres">
      <dgm:prSet presAssocID="{F25FDE00-3150-7C40-802A-15F9D786E62A}" presName="parTxOnly" presStyleLbl="node1" presStyleIdx="4" presStyleCnt="5">
        <dgm:presLayoutVars>
          <dgm:bulletEnabled val="1"/>
        </dgm:presLayoutVars>
      </dgm:prSet>
      <dgm:spPr/>
    </dgm:pt>
  </dgm:ptLst>
  <dgm:cxnLst>
    <dgm:cxn modelId="{F4CC0614-8BEF-8247-B3EC-3ED665669DEA}" type="presOf" srcId="{F25FDE00-3150-7C40-802A-15F9D786E62A}" destId="{5F174EF4-47BF-034A-A5EF-AE2C38F44384}" srcOrd="0" destOrd="0" presId="urn:microsoft.com/office/officeart/2005/8/layout/hChevron3"/>
    <dgm:cxn modelId="{A418181B-195F-C540-A70E-33DD1BB18438}" srcId="{781F165F-88FD-0F49-BE5E-543C6AE3943A}" destId="{0237B2AD-8EFF-B34C-A3FB-1154414511F8}" srcOrd="3" destOrd="0" parTransId="{D624C5D0-33DF-2C47-8B35-75619E60B953}" sibTransId="{0CC06259-4754-0C4E-8A8E-EAEF15EFDF71}"/>
    <dgm:cxn modelId="{D146952A-992B-9E42-950C-4AC59B760E13}" srcId="{781F165F-88FD-0F49-BE5E-543C6AE3943A}" destId="{F25FDE00-3150-7C40-802A-15F9D786E62A}" srcOrd="4" destOrd="0" parTransId="{720D6F4F-0792-DB4E-9628-D6C7D483B106}" sibTransId="{D466D50F-E9A4-5942-AEBC-16FD4AB72BA9}"/>
    <dgm:cxn modelId="{CC47F536-0801-0E4D-A6FE-019FC57311FF}" type="presOf" srcId="{C635E773-73F4-C345-876F-EC49C0411170}" destId="{50EAD4B2-E716-D742-879F-CD20B48D44D7}" srcOrd="0" destOrd="0" presId="urn:microsoft.com/office/officeart/2005/8/layout/hChevron3"/>
    <dgm:cxn modelId="{3631B879-F5E6-3F41-A66D-AD3AA9702EE4}" srcId="{781F165F-88FD-0F49-BE5E-543C6AE3943A}" destId="{F1633484-F410-2049-89F6-2A52C17E2BA3}" srcOrd="1" destOrd="0" parTransId="{CD23FA30-E65A-E44D-BC53-47352EB50C35}" sibTransId="{A67590F1-B987-3746-B308-B8D98A49756B}"/>
    <dgm:cxn modelId="{86DFB58F-278C-0649-8828-2FC3B5C950C6}" type="presOf" srcId="{781F165F-88FD-0F49-BE5E-543C6AE3943A}" destId="{DC06D3F0-5939-3B40-BE38-69B6816FF1BC}" srcOrd="0" destOrd="0" presId="urn:microsoft.com/office/officeart/2005/8/layout/hChevron3"/>
    <dgm:cxn modelId="{F06B00AF-F195-7648-897A-E95D8BD34700}" type="presOf" srcId="{0237B2AD-8EFF-B34C-A3FB-1154414511F8}" destId="{A321AFAD-7A09-B44E-BB82-A6F453920C7D}" srcOrd="0" destOrd="0" presId="urn:microsoft.com/office/officeart/2005/8/layout/hChevron3"/>
    <dgm:cxn modelId="{FA0D96AF-8DB6-EE4F-AE6A-1957C94BF852}" srcId="{781F165F-88FD-0F49-BE5E-543C6AE3943A}" destId="{C635E773-73F4-C345-876F-EC49C0411170}" srcOrd="0" destOrd="0" parTransId="{B45208C6-8991-2B41-8692-AA509185E479}" sibTransId="{EA1D7F34-9907-924C-A925-0273FC50CAFF}"/>
    <dgm:cxn modelId="{A5DED3B7-3973-A94E-9A89-2879DA442BED}" srcId="{781F165F-88FD-0F49-BE5E-543C6AE3943A}" destId="{4AB4F7B6-F891-D148-ABF8-45A330A683E7}" srcOrd="2" destOrd="0" parTransId="{EE3424BD-59A7-CA41-85D8-E70F0B263D75}" sibTransId="{4056527B-BE44-2543-B068-3708481FF1DB}"/>
    <dgm:cxn modelId="{3A9560D5-0262-A647-A9A2-22F33C719DBE}" type="presOf" srcId="{F1633484-F410-2049-89F6-2A52C17E2BA3}" destId="{5D4AE62E-D122-E549-9FDE-C5A6579226E6}" srcOrd="0" destOrd="0" presId="urn:microsoft.com/office/officeart/2005/8/layout/hChevron3"/>
    <dgm:cxn modelId="{27BF22F6-587D-B242-8E62-E28AA2BF70DF}" type="presOf" srcId="{4AB4F7B6-F891-D148-ABF8-45A330A683E7}" destId="{37E9EE08-28DD-1043-85D6-6F389C61BA97}" srcOrd="0" destOrd="0" presId="urn:microsoft.com/office/officeart/2005/8/layout/hChevron3"/>
    <dgm:cxn modelId="{0A0FDD96-DBF8-DA4E-8F8A-F0220FA54057}" type="presParOf" srcId="{DC06D3F0-5939-3B40-BE38-69B6816FF1BC}" destId="{50EAD4B2-E716-D742-879F-CD20B48D44D7}" srcOrd="0" destOrd="0" presId="urn:microsoft.com/office/officeart/2005/8/layout/hChevron3"/>
    <dgm:cxn modelId="{4ACB4758-3BE7-104E-B1FC-4F65CC8BAFB5}" type="presParOf" srcId="{DC06D3F0-5939-3B40-BE38-69B6816FF1BC}" destId="{4606B817-F00B-414A-B82D-CF923619FEF1}" srcOrd="1" destOrd="0" presId="urn:microsoft.com/office/officeart/2005/8/layout/hChevron3"/>
    <dgm:cxn modelId="{4E1C7057-C10B-6C44-9364-39C8F41AF5D3}" type="presParOf" srcId="{DC06D3F0-5939-3B40-BE38-69B6816FF1BC}" destId="{5D4AE62E-D122-E549-9FDE-C5A6579226E6}" srcOrd="2" destOrd="0" presId="urn:microsoft.com/office/officeart/2005/8/layout/hChevron3"/>
    <dgm:cxn modelId="{C9EF5958-91D1-0C4E-BBCC-30C6B9E98A11}" type="presParOf" srcId="{DC06D3F0-5939-3B40-BE38-69B6816FF1BC}" destId="{1A42C200-678F-244F-8ED2-D5EB0B003BE6}" srcOrd="3" destOrd="0" presId="urn:microsoft.com/office/officeart/2005/8/layout/hChevron3"/>
    <dgm:cxn modelId="{22EF08E3-C507-794D-9AA4-5194ABC672D5}" type="presParOf" srcId="{DC06D3F0-5939-3B40-BE38-69B6816FF1BC}" destId="{37E9EE08-28DD-1043-85D6-6F389C61BA97}" srcOrd="4" destOrd="0" presId="urn:microsoft.com/office/officeart/2005/8/layout/hChevron3"/>
    <dgm:cxn modelId="{1F097187-981F-BC46-A33D-07610A96E8D6}" type="presParOf" srcId="{DC06D3F0-5939-3B40-BE38-69B6816FF1BC}" destId="{04965C53-6357-2A48-96C1-2BF8A7D297B5}" srcOrd="5" destOrd="0" presId="urn:microsoft.com/office/officeart/2005/8/layout/hChevron3"/>
    <dgm:cxn modelId="{848211E8-75B3-B54B-A3D9-AE2C4C7490FF}" type="presParOf" srcId="{DC06D3F0-5939-3B40-BE38-69B6816FF1BC}" destId="{A321AFAD-7A09-B44E-BB82-A6F453920C7D}" srcOrd="6" destOrd="0" presId="urn:microsoft.com/office/officeart/2005/8/layout/hChevron3"/>
    <dgm:cxn modelId="{0FE839CC-8251-C94A-B866-B3D5BC4FF374}" type="presParOf" srcId="{DC06D3F0-5939-3B40-BE38-69B6816FF1BC}" destId="{CC20E6BA-B6D8-B642-97CB-782BBC8EAFC8}" srcOrd="7" destOrd="0" presId="urn:microsoft.com/office/officeart/2005/8/layout/hChevron3"/>
    <dgm:cxn modelId="{050B84AD-E733-1E43-BA50-F4CC8A9B3DC0}" type="presParOf" srcId="{DC06D3F0-5939-3B40-BE38-69B6816FF1BC}" destId="{5F174EF4-47BF-034A-A5EF-AE2C38F44384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781F165F-88FD-0F49-BE5E-543C6AE3943A}" type="doc">
      <dgm:prSet loTypeId="urn:microsoft.com/office/officeart/2005/8/layout/hChevron3" loCatId="" qsTypeId="urn:microsoft.com/office/officeart/2005/8/quickstyle/simple1" qsCatId="simple" csTypeId="urn:microsoft.com/office/officeart/2005/8/colors/accent1_2" csCatId="accent1" phldr="1"/>
      <dgm:spPr/>
    </dgm:pt>
    <dgm:pt modelId="{F25FDE00-3150-7C40-802A-15F9D786E62A}">
      <dgm:prSet phldrT="[Text]"/>
      <dgm:spPr>
        <a:solidFill>
          <a:srgbClr val="036E3D"/>
        </a:solidFill>
        <a:ln>
          <a:noFill/>
        </a:ln>
      </dgm:spPr>
      <dgm:t>
        <a:bodyPr/>
        <a:lstStyle/>
        <a:p>
          <a:endParaRPr lang="en-US"/>
        </a:p>
      </dgm:t>
    </dgm:pt>
    <dgm:pt modelId="{720D6F4F-0792-DB4E-9628-D6C7D483B106}" type="parTrans" cxnId="{D146952A-992B-9E42-950C-4AC59B760E13}">
      <dgm:prSet/>
      <dgm:spPr/>
      <dgm:t>
        <a:bodyPr/>
        <a:lstStyle/>
        <a:p>
          <a:endParaRPr lang="en-US"/>
        </a:p>
      </dgm:t>
    </dgm:pt>
    <dgm:pt modelId="{D466D50F-E9A4-5942-AEBC-16FD4AB72BA9}" type="sibTrans" cxnId="{D146952A-992B-9E42-950C-4AC59B760E13}">
      <dgm:prSet/>
      <dgm:spPr/>
      <dgm:t>
        <a:bodyPr/>
        <a:lstStyle/>
        <a:p>
          <a:endParaRPr lang="en-US"/>
        </a:p>
      </dgm:t>
    </dgm:pt>
    <dgm:pt modelId="{C635E773-73F4-C345-876F-EC49C0411170}">
      <dgm:prSet phldrT="[Text]"/>
      <dgm:spPr>
        <a:solidFill>
          <a:srgbClr val="24A558"/>
        </a:solidFill>
        <a:ln>
          <a:solidFill>
            <a:srgbClr val="29A457"/>
          </a:solidFill>
        </a:ln>
      </dgm:spPr>
      <dgm:t>
        <a:bodyPr/>
        <a:lstStyle/>
        <a:p>
          <a:endParaRPr lang="en-US"/>
        </a:p>
      </dgm:t>
    </dgm:pt>
    <dgm:pt modelId="{EA1D7F34-9907-924C-A925-0273FC50CAFF}" type="sibTrans" cxnId="{FA0D96AF-8DB6-EE4F-AE6A-1957C94BF852}">
      <dgm:prSet/>
      <dgm:spPr/>
      <dgm:t>
        <a:bodyPr/>
        <a:lstStyle/>
        <a:p>
          <a:endParaRPr lang="en-US"/>
        </a:p>
      </dgm:t>
    </dgm:pt>
    <dgm:pt modelId="{B45208C6-8991-2B41-8692-AA509185E479}" type="parTrans" cxnId="{FA0D96AF-8DB6-EE4F-AE6A-1957C94BF852}">
      <dgm:prSet/>
      <dgm:spPr/>
      <dgm:t>
        <a:bodyPr/>
        <a:lstStyle/>
        <a:p>
          <a:endParaRPr lang="en-US"/>
        </a:p>
      </dgm:t>
    </dgm:pt>
    <dgm:pt modelId="{F1633484-F410-2049-89F6-2A52C17E2BA3}">
      <dgm:prSet phldrT="[Text]"/>
      <dgm:spPr>
        <a:solidFill>
          <a:srgbClr val="1D964B"/>
        </a:solidFill>
        <a:ln>
          <a:noFill/>
        </a:ln>
      </dgm:spPr>
      <dgm:t>
        <a:bodyPr/>
        <a:lstStyle/>
        <a:p>
          <a:endParaRPr lang="en-US"/>
        </a:p>
      </dgm:t>
    </dgm:pt>
    <dgm:pt modelId="{A67590F1-B987-3746-B308-B8D98A49756B}" type="sibTrans" cxnId="{3631B879-F5E6-3F41-A66D-AD3AA9702EE4}">
      <dgm:prSet/>
      <dgm:spPr/>
      <dgm:t>
        <a:bodyPr/>
        <a:lstStyle/>
        <a:p>
          <a:endParaRPr lang="en-US"/>
        </a:p>
      </dgm:t>
    </dgm:pt>
    <dgm:pt modelId="{CD23FA30-E65A-E44D-BC53-47352EB50C35}" type="parTrans" cxnId="{3631B879-F5E6-3F41-A66D-AD3AA9702EE4}">
      <dgm:prSet/>
      <dgm:spPr/>
      <dgm:t>
        <a:bodyPr/>
        <a:lstStyle/>
        <a:p>
          <a:endParaRPr lang="en-US"/>
        </a:p>
      </dgm:t>
    </dgm:pt>
    <dgm:pt modelId="{4AB4F7B6-F891-D148-ABF8-45A330A683E7}">
      <dgm:prSet phldrT="[Text]"/>
      <dgm:spPr>
        <a:solidFill>
          <a:srgbClr val="198C44"/>
        </a:solidFill>
        <a:ln>
          <a:noFill/>
        </a:ln>
      </dgm:spPr>
      <dgm:t>
        <a:bodyPr/>
        <a:lstStyle/>
        <a:p>
          <a:endParaRPr lang="en-US"/>
        </a:p>
      </dgm:t>
    </dgm:pt>
    <dgm:pt modelId="{4056527B-BE44-2543-B068-3708481FF1DB}" type="sibTrans" cxnId="{A5DED3B7-3973-A94E-9A89-2879DA442BED}">
      <dgm:prSet/>
      <dgm:spPr/>
      <dgm:t>
        <a:bodyPr/>
        <a:lstStyle/>
        <a:p>
          <a:endParaRPr lang="en-US"/>
        </a:p>
      </dgm:t>
    </dgm:pt>
    <dgm:pt modelId="{EE3424BD-59A7-CA41-85D8-E70F0B263D75}" type="parTrans" cxnId="{A5DED3B7-3973-A94E-9A89-2879DA442BED}">
      <dgm:prSet/>
      <dgm:spPr/>
      <dgm:t>
        <a:bodyPr/>
        <a:lstStyle/>
        <a:p>
          <a:endParaRPr lang="en-US"/>
        </a:p>
      </dgm:t>
    </dgm:pt>
    <dgm:pt modelId="{0237B2AD-8EFF-B34C-A3FB-1154414511F8}">
      <dgm:prSet phldrT="[Text]"/>
      <dgm:spPr>
        <a:solidFill>
          <a:srgbClr val="037A42"/>
        </a:solidFill>
        <a:ln>
          <a:noFill/>
        </a:ln>
      </dgm:spPr>
      <dgm:t>
        <a:bodyPr/>
        <a:lstStyle/>
        <a:p>
          <a:endParaRPr lang="en-US"/>
        </a:p>
      </dgm:t>
    </dgm:pt>
    <dgm:pt modelId="{0CC06259-4754-0C4E-8A8E-EAEF15EFDF71}" type="sibTrans" cxnId="{A418181B-195F-C540-A70E-33DD1BB18438}">
      <dgm:prSet/>
      <dgm:spPr/>
      <dgm:t>
        <a:bodyPr/>
        <a:lstStyle/>
        <a:p>
          <a:endParaRPr lang="en-US"/>
        </a:p>
      </dgm:t>
    </dgm:pt>
    <dgm:pt modelId="{D624C5D0-33DF-2C47-8B35-75619E60B953}" type="parTrans" cxnId="{A418181B-195F-C540-A70E-33DD1BB18438}">
      <dgm:prSet/>
      <dgm:spPr/>
      <dgm:t>
        <a:bodyPr/>
        <a:lstStyle/>
        <a:p>
          <a:endParaRPr lang="en-US"/>
        </a:p>
      </dgm:t>
    </dgm:pt>
    <dgm:pt modelId="{DC06D3F0-5939-3B40-BE38-69B6816FF1BC}" type="pres">
      <dgm:prSet presAssocID="{781F165F-88FD-0F49-BE5E-543C6AE3943A}" presName="Name0" presStyleCnt="0">
        <dgm:presLayoutVars>
          <dgm:dir/>
          <dgm:resizeHandles val="exact"/>
        </dgm:presLayoutVars>
      </dgm:prSet>
      <dgm:spPr/>
    </dgm:pt>
    <dgm:pt modelId="{50EAD4B2-E716-D742-879F-CD20B48D44D7}" type="pres">
      <dgm:prSet presAssocID="{C635E773-73F4-C345-876F-EC49C0411170}" presName="parTxOnly" presStyleLbl="node1" presStyleIdx="0" presStyleCnt="5" custScaleY="74745">
        <dgm:presLayoutVars>
          <dgm:bulletEnabled val="1"/>
        </dgm:presLayoutVars>
      </dgm:prSet>
      <dgm:spPr/>
    </dgm:pt>
    <dgm:pt modelId="{4606B817-F00B-414A-B82D-CF923619FEF1}" type="pres">
      <dgm:prSet presAssocID="{EA1D7F34-9907-924C-A925-0273FC50CAFF}" presName="parSpace" presStyleCnt="0"/>
      <dgm:spPr/>
    </dgm:pt>
    <dgm:pt modelId="{5D4AE62E-D122-E549-9FDE-C5A6579226E6}" type="pres">
      <dgm:prSet presAssocID="{F1633484-F410-2049-89F6-2A52C17E2BA3}" presName="parTxOnly" presStyleLbl="node1" presStyleIdx="1" presStyleCnt="5">
        <dgm:presLayoutVars>
          <dgm:bulletEnabled val="1"/>
        </dgm:presLayoutVars>
      </dgm:prSet>
      <dgm:spPr/>
    </dgm:pt>
    <dgm:pt modelId="{1A42C200-678F-244F-8ED2-D5EB0B003BE6}" type="pres">
      <dgm:prSet presAssocID="{A67590F1-B987-3746-B308-B8D98A49756B}" presName="parSpace" presStyleCnt="0"/>
      <dgm:spPr/>
    </dgm:pt>
    <dgm:pt modelId="{37E9EE08-28DD-1043-85D6-6F389C61BA97}" type="pres">
      <dgm:prSet presAssocID="{4AB4F7B6-F891-D148-ABF8-45A330A683E7}" presName="parTxOnly" presStyleLbl="node1" presStyleIdx="2" presStyleCnt="5">
        <dgm:presLayoutVars>
          <dgm:bulletEnabled val="1"/>
        </dgm:presLayoutVars>
      </dgm:prSet>
      <dgm:spPr/>
    </dgm:pt>
    <dgm:pt modelId="{04965C53-6357-2A48-96C1-2BF8A7D297B5}" type="pres">
      <dgm:prSet presAssocID="{4056527B-BE44-2543-B068-3708481FF1DB}" presName="parSpace" presStyleCnt="0"/>
      <dgm:spPr/>
    </dgm:pt>
    <dgm:pt modelId="{A321AFAD-7A09-B44E-BB82-A6F453920C7D}" type="pres">
      <dgm:prSet presAssocID="{0237B2AD-8EFF-B34C-A3FB-1154414511F8}" presName="parTxOnly" presStyleLbl="node1" presStyleIdx="3" presStyleCnt="5">
        <dgm:presLayoutVars>
          <dgm:bulletEnabled val="1"/>
        </dgm:presLayoutVars>
      </dgm:prSet>
      <dgm:spPr/>
    </dgm:pt>
    <dgm:pt modelId="{CC20E6BA-B6D8-B642-97CB-782BBC8EAFC8}" type="pres">
      <dgm:prSet presAssocID="{0CC06259-4754-0C4E-8A8E-EAEF15EFDF71}" presName="parSpace" presStyleCnt="0"/>
      <dgm:spPr/>
    </dgm:pt>
    <dgm:pt modelId="{5F174EF4-47BF-034A-A5EF-AE2C38F44384}" type="pres">
      <dgm:prSet presAssocID="{F25FDE00-3150-7C40-802A-15F9D786E62A}" presName="parTxOnly" presStyleLbl="node1" presStyleIdx="4" presStyleCnt="5">
        <dgm:presLayoutVars>
          <dgm:bulletEnabled val="1"/>
        </dgm:presLayoutVars>
      </dgm:prSet>
      <dgm:spPr/>
    </dgm:pt>
  </dgm:ptLst>
  <dgm:cxnLst>
    <dgm:cxn modelId="{F4CC0614-8BEF-8247-B3EC-3ED665669DEA}" type="presOf" srcId="{F25FDE00-3150-7C40-802A-15F9D786E62A}" destId="{5F174EF4-47BF-034A-A5EF-AE2C38F44384}" srcOrd="0" destOrd="0" presId="urn:microsoft.com/office/officeart/2005/8/layout/hChevron3"/>
    <dgm:cxn modelId="{A418181B-195F-C540-A70E-33DD1BB18438}" srcId="{781F165F-88FD-0F49-BE5E-543C6AE3943A}" destId="{0237B2AD-8EFF-B34C-A3FB-1154414511F8}" srcOrd="3" destOrd="0" parTransId="{D624C5D0-33DF-2C47-8B35-75619E60B953}" sibTransId="{0CC06259-4754-0C4E-8A8E-EAEF15EFDF71}"/>
    <dgm:cxn modelId="{D146952A-992B-9E42-950C-4AC59B760E13}" srcId="{781F165F-88FD-0F49-BE5E-543C6AE3943A}" destId="{F25FDE00-3150-7C40-802A-15F9D786E62A}" srcOrd="4" destOrd="0" parTransId="{720D6F4F-0792-DB4E-9628-D6C7D483B106}" sibTransId="{D466D50F-E9A4-5942-AEBC-16FD4AB72BA9}"/>
    <dgm:cxn modelId="{CC47F536-0801-0E4D-A6FE-019FC57311FF}" type="presOf" srcId="{C635E773-73F4-C345-876F-EC49C0411170}" destId="{50EAD4B2-E716-D742-879F-CD20B48D44D7}" srcOrd="0" destOrd="0" presId="urn:microsoft.com/office/officeart/2005/8/layout/hChevron3"/>
    <dgm:cxn modelId="{3631B879-F5E6-3F41-A66D-AD3AA9702EE4}" srcId="{781F165F-88FD-0F49-BE5E-543C6AE3943A}" destId="{F1633484-F410-2049-89F6-2A52C17E2BA3}" srcOrd="1" destOrd="0" parTransId="{CD23FA30-E65A-E44D-BC53-47352EB50C35}" sibTransId="{A67590F1-B987-3746-B308-B8D98A49756B}"/>
    <dgm:cxn modelId="{86DFB58F-278C-0649-8828-2FC3B5C950C6}" type="presOf" srcId="{781F165F-88FD-0F49-BE5E-543C6AE3943A}" destId="{DC06D3F0-5939-3B40-BE38-69B6816FF1BC}" srcOrd="0" destOrd="0" presId="urn:microsoft.com/office/officeart/2005/8/layout/hChevron3"/>
    <dgm:cxn modelId="{F06B00AF-F195-7648-897A-E95D8BD34700}" type="presOf" srcId="{0237B2AD-8EFF-B34C-A3FB-1154414511F8}" destId="{A321AFAD-7A09-B44E-BB82-A6F453920C7D}" srcOrd="0" destOrd="0" presId="urn:microsoft.com/office/officeart/2005/8/layout/hChevron3"/>
    <dgm:cxn modelId="{FA0D96AF-8DB6-EE4F-AE6A-1957C94BF852}" srcId="{781F165F-88FD-0F49-BE5E-543C6AE3943A}" destId="{C635E773-73F4-C345-876F-EC49C0411170}" srcOrd="0" destOrd="0" parTransId="{B45208C6-8991-2B41-8692-AA509185E479}" sibTransId="{EA1D7F34-9907-924C-A925-0273FC50CAFF}"/>
    <dgm:cxn modelId="{A5DED3B7-3973-A94E-9A89-2879DA442BED}" srcId="{781F165F-88FD-0F49-BE5E-543C6AE3943A}" destId="{4AB4F7B6-F891-D148-ABF8-45A330A683E7}" srcOrd="2" destOrd="0" parTransId="{EE3424BD-59A7-CA41-85D8-E70F0B263D75}" sibTransId="{4056527B-BE44-2543-B068-3708481FF1DB}"/>
    <dgm:cxn modelId="{3A9560D5-0262-A647-A9A2-22F33C719DBE}" type="presOf" srcId="{F1633484-F410-2049-89F6-2A52C17E2BA3}" destId="{5D4AE62E-D122-E549-9FDE-C5A6579226E6}" srcOrd="0" destOrd="0" presId="urn:microsoft.com/office/officeart/2005/8/layout/hChevron3"/>
    <dgm:cxn modelId="{27BF22F6-587D-B242-8E62-E28AA2BF70DF}" type="presOf" srcId="{4AB4F7B6-F891-D148-ABF8-45A330A683E7}" destId="{37E9EE08-28DD-1043-85D6-6F389C61BA97}" srcOrd="0" destOrd="0" presId="urn:microsoft.com/office/officeart/2005/8/layout/hChevron3"/>
    <dgm:cxn modelId="{0A0FDD96-DBF8-DA4E-8F8A-F0220FA54057}" type="presParOf" srcId="{DC06D3F0-5939-3B40-BE38-69B6816FF1BC}" destId="{50EAD4B2-E716-D742-879F-CD20B48D44D7}" srcOrd="0" destOrd="0" presId="urn:microsoft.com/office/officeart/2005/8/layout/hChevron3"/>
    <dgm:cxn modelId="{4ACB4758-3BE7-104E-B1FC-4F65CC8BAFB5}" type="presParOf" srcId="{DC06D3F0-5939-3B40-BE38-69B6816FF1BC}" destId="{4606B817-F00B-414A-B82D-CF923619FEF1}" srcOrd="1" destOrd="0" presId="urn:microsoft.com/office/officeart/2005/8/layout/hChevron3"/>
    <dgm:cxn modelId="{4E1C7057-C10B-6C44-9364-39C8F41AF5D3}" type="presParOf" srcId="{DC06D3F0-5939-3B40-BE38-69B6816FF1BC}" destId="{5D4AE62E-D122-E549-9FDE-C5A6579226E6}" srcOrd="2" destOrd="0" presId="urn:microsoft.com/office/officeart/2005/8/layout/hChevron3"/>
    <dgm:cxn modelId="{C9EF5958-91D1-0C4E-BBCC-30C6B9E98A11}" type="presParOf" srcId="{DC06D3F0-5939-3B40-BE38-69B6816FF1BC}" destId="{1A42C200-678F-244F-8ED2-D5EB0B003BE6}" srcOrd="3" destOrd="0" presId="urn:microsoft.com/office/officeart/2005/8/layout/hChevron3"/>
    <dgm:cxn modelId="{22EF08E3-C507-794D-9AA4-5194ABC672D5}" type="presParOf" srcId="{DC06D3F0-5939-3B40-BE38-69B6816FF1BC}" destId="{37E9EE08-28DD-1043-85D6-6F389C61BA97}" srcOrd="4" destOrd="0" presId="urn:microsoft.com/office/officeart/2005/8/layout/hChevron3"/>
    <dgm:cxn modelId="{1F097187-981F-BC46-A33D-07610A96E8D6}" type="presParOf" srcId="{DC06D3F0-5939-3B40-BE38-69B6816FF1BC}" destId="{04965C53-6357-2A48-96C1-2BF8A7D297B5}" srcOrd="5" destOrd="0" presId="urn:microsoft.com/office/officeart/2005/8/layout/hChevron3"/>
    <dgm:cxn modelId="{848211E8-75B3-B54B-A3D9-AE2C4C7490FF}" type="presParOf" srcId="{DC06D3F0-5939-3B40-BE38-69B6816FF1BC}" destId="{A321AFAD-7A09-B44E-BB82-A6F453920C7D}" srcOrd="6" destOrd="0" presId="urn:microsoft.com/office/officeart/2005/8/layout/hChevron3"/>
    <dgm:cxn modelId="{0FE839CC-8251-C94A-B866-B3D5BC4FF374}" type="presParOf" srcId="{DC06D3F0-5939-3B40-BE38-69B6816FF1BC}" destId="{CC20E6BA-B6D8-B642-97CB-782BBC8EAFC8}" srcOrd="7" destOrd="0" presId="urn:microsoft.com/office/officeart/2005/8/layout/hChevron3"/>
    <dgm:cxn modelId="{050B84AD-E733-1E43-BA50-F4CC8A9B3DC0}" type="presParOf" srcId="{DC06D3F0-5939-3B40-BE38-69B6816FF1BC}" destId="{5F174EF4-47BF-034A-A5EF-AE2C38F44384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781F165F-88FD-0F49-BE5E-543C6AE3943A}" type="doc">
      <dgm:prSet loTypeId="urn:microsoft.com/office/officeart/2005/8/layout/hChevron3" loCatId="" qsTypeId="urn:microsoft.com/office/officeart/2005/8/quickstyle/simple1" qsCatId="simple" csTypeId="urn:microsoft.com/office/officeart/2005/8/colors/accent1_2" csCatId="accent1" phldr="1"/>
      <dgm:spPr/>
    </dgm:pt>
    <dgm:pt modelId="{F25FDE00-3150-7C40-802A-15F9D786E62A}">
      <dgm:prSet phldrT="[Text]"/>
      <dgm:spPr>
        <a:solidFill>
          <a:srgbClr val="036E3D"/>
        </a:solidFill>
        <a:ln>
          <a:noFill/>
        </a:ln>
      </dgm:spPr>
      <dgm:t>
        <a:bodyPr/>
        <a:lstStyle/>
        <a:p>
          <a:endParaRPr lang="en-US"/>
        </a:p>
      </dgm:t>
    </dgm:pt>
    <dgm:pt modelId="{720D6F4F-0792-DB4E-9628-D6C7D483B106}" type="parTrans" cxnId="{D146952A-992B-9E42-950C-4AC59B760E13}">
      <dgm:prSet/>
      <dgm:spPr/>
      <dgm:t>
        <a:bodyPr/>
        <a:lstStyle/>
        <a:p>
          <a:endParaRPr lang="en-US"/>
        </a:p>
      </dgm:t>
    </dgm:pt>
    <dgm:pt modelId="{D466D50F-E9A4-5942-AEBC-16FD4AB72BA9}" type="sibTrans" cxnId="{D146952A-992B-9E42-950C-4AC59B760E13}">
      <dgm:prSet/>
      <dgm:spPr/>
      <dgm:t>
        <a:bodyPr/>
        <a:lstStyle/>
        <a:p>
          <a:endParaRPr lang="en-US"/>
        </a:p>
      </dgm:t>
    </dgm:pt>
    <dgm:pt modelId="{C635E773-73F4-C345-876F-EC49C0411170}">
      <dgm:prSet phldrT="[Text]"/>
      <dgm:spPr>
        <a:solidFill>
          <a:srgbClr val="24A558"/>
        </a:solidFill>
        <a:ln>
          <a:solidFill>
            <a:srgbClr val="29A457"/>
          </a:solidFill>
        </a:ln>
      </dgm:spPr>
      <dgm:t>
        <a:bodyPr/>
        <a:lstStyle/>
        <a:p>
          <a:endParaRPr lang="en-US"/>
        </a:p>
      </dgm:t>
    </dgm:pt>
    <dgm:pt modelId="{EA1D7F34-9907-924C-A925-0273FC50CAFF}" type="sibTrans" cxnId="{FA0D96AF-8DB6-EE4F-AE6A-1957C94BF852}">
      <dgm:prSet/>
      <dgm:spPr/>
      <dgm:t>
        <a:bodyPr/>
        <a:lstStyle/>
        <a:p>
          <a:endParaRPr lang="en-US"/>
        </a:p>
      </dgm:t>
    </dgm:pt>
    <dgm:pt modelId="{B45208C6-8991-2B41-8692-AA509185E479}" type="parTrans" cxnId="{FA0D96AF-8DB6-EE4F-AE6A-1957C94BF852}">
      <dgm:prSet/>
      <dgm:spPr/>
      <dgm:t>
        <a:bodyPr/>
        <a:lstStyle/>
        <a:p>
          <a:endParaRPr lang="en-US"/>
        </a:p>
      </dgm:t>
    </dgm:pt>
    <dgm:pt modelId="{F1633484-F410-2049-89F6-2A52C17E2BA3}">
      <dgm:prSet phldrT="[Text]"/>
      <dgm:spPr>
        <a:solidFill>
          <a:srgbClr val="1D964B"/>
        </a:solidFill>
        <a:ln>
          <a:noFill/>
        </a:ln>
      </dgm:spPr>
      <dgm:t>
        <a:bodyPr/>
        <a:lstStyle/>
        <a:p>
          <a:endParaRPr lang="en-US"/>
        </a:p>
      </dgm:t>
    </dgm:pt>
    <dgm:pt modelId="{A67590F1-B987-3746-B308-B8D98A49756B}" type="sibTrans" cxnId="{3631B879-F5E6-3F41-A66D-AD3AA9702EE4}">
      <dgm:prSet/>
      <dgm:spPr/>
      <dgm:t>
        <a:bodyPr/>
        <a:lstStyle/>
        <a:p>
          <a:endParaRPr lang="en-US"/>
        </a:p>
      </dgm:t>
    </dgm:pt>
    <dgm:pt modelId="{CD23FA30-E65A-E44D-BC53-47352EB50C35}" type="parTrans" cxnId="{3631B879-F5E6-3F41-A66D-AD3AA9702EE4}">
      <dgm:prSet/>
      <dgm:spPr/>
      <dgm:t>
        <a:bodyPr/>
        <a:lstStyle/>
        <a:p>
          <a:endParaRPr lang="en-US"/>
        </a:p>
      </dgm:t>
    </dgm:pt>
    <dgm:pt modelId="{4AB4F7B6-F891-D148-ABF8-45A330A683E7}">
      <dgm:prSet phldrT="[Text]"/>
      <dgm:spPr>
        <a:solidFill>
          <a:srgbClr val="198C44"/>
        </a:solidFill>
        <a:ln>
          <a:noFill/>
        </a:ln>
      </dgm:spPr>
      <dgm:t>
        <a:bodyPr/>
        <a:lstStyle/>
        <a:p>
          <a:endParaRPr lang="en-US"/>
        </a:p>
      </dgm:t>
    </dgm:pt>
    <dgm:pt modelId="{4056527B-BE44-2543-B068-3708481FF1DB}" type="sibTrans" cxnId="{A5DED3B7-3973-A94E-9A89-2879DA442BED}">
      <dgm:prSet/>
      <dgm:spPr/>
      <dgm:t>
        <a:bodyPr/>
        <a:lstStyle/>
        <a:p>
          <a:endParaRPr lang="en-US"/>
        </a:p>
      </dgm:t>
    </dgm:pt>
    <dgm:pt modelId="{EE3424BD-59A7-CA41-85D8-E70F0B263D75}" type="parTrans" cxnId="{A5DED3B7-3973-A94E-9A89-2879DA442BED}">
      <dgm:prSet/>
      <dgm:spPr/>
      <dgm:t>
        <a:bodyPr/>
        <a:lstStyle/>
        <a:p>
          <a:endParaRPr lang="en-US"/>
        </a:p>
      </dgm:t>
    </dgm:pt>
    <dgm:pt modelId="{0237B2AD-8EFF-B34C-A3FB-1154414511F8}">
      <dgm:prSet phldrT="[Text]"/>
      <dgm:spPr>
        <a:solidFill>
          <a:srgbClr val="037A42"/>
        </a:solidFill>
        <a:ln>
          <a:noFill/>
        </a:ln>
      </dgm:spPr>
      <dgm:t>
        <a:bodyPr/>
        <a:lstStyle/>
        <a:p>
          <a:endParaRPr lang="en-US"/>
        </a:p>
      </dgm:t>
    </dgm:pt>
    <dgm:pt modelId="{0CC06259-4754-0C4E-8A8E-EAEF15EFDF71}" type="sibTrans" cxnId="{A418181B-195F-C540-A70E-33DD1BB18438}">
      <dgm:prSet/>
      <dgm:spPr/>
      <dgm:t>
        <a:bodyPr/>
        <a:lstStyle/>
        <a:p>
          <a:endParaRPr lang="en-US"/>
        </a:p>
      </dgm:t>
    </dgm:pt>
    <dgm:pt modelId="{D624C5D0-33DF-2C47-8B35-75619E60B953}" type="parTrans" cxnId="{A418181B-195F-C540-A70E-33DD1BB18438}">
      <dgm:prSet/>
      <dgm:spPr/>
      <dgm:t>
        <a:bodyPr/>
        <a:lstStyle/>
        <a:p>
          <a:endParaRPr lang="en-US"/>
        </a:p>
      </dgm:t>
    </dgm:pt>
    <dgm:pt modelId="{DC06D3F0-5939-3B40-BE38-69B6816FF1BC}" type="pres">
      <dgm:prSet presAssocID="{781F165F-88FD-0F49-BE5E-543C6AE3943A}" presName="Name0" presStyleCnt="0">
        <dgm:presLayoutVars>
          <dgm:dir/>
          <dgm:resizeHandles val="exact"/>
        </dgm:presLayoutVars>
      </dgm:prSet>
      <dgm:spPr/>
    </dgm:pt>
    <dgm:pt modelId="{50EAD4B2-E716-D742-879F-CD20B48D44D7}" type="pres">
      <dgm:prSet presAssocID="{C635E773-73F4-C345-876F-EC49C0411170}" presName="parTxOnly" presStyleLbl="node1" presStyleIdx="0" presStyleCnt="5" custScaleY="74745">
        <dgm:presLayoutVars>
          <dgm:bulletEnabled val="1"/>
        </dgm:presLayoutVars>
      </dgm:prSet>
      <dgm:spPr/>
    </dgm:pt>
    <dgm:pt modelId="{4606B817-F00B-414A-B82D-CF923619FEF1}" type="pres">
      <dgm:prSet presAssocID="{EA1D7F34-9907-924C-A925-0273FC50CAFF}" presName="parSpace" presStyleCnt="0"/>
      <dgm:spPr/>
    </dgm:pt>
    <dgm:pt modelId="{5D4AE62E-D122-E549-9FDE-C5A6579226E6}" type="pres">
      <dgm:prSet presAssocID="{F1633484-F410-2049-89F6-2A52C17E2BA3}" presName="parTxOnly" presStyleLbl="node1" presStyleIdx="1" presStyleCnt="5">
        <dgm:presLayoutVars>
          <dgm:bulletEnabled val="1"/>
        </dgm:presLayoutVars>
      </dgm:prSet>
      <dgm:spPr/>
    </dgm:pt>
    <dgm:pt modelId="{1A42C200-678F-244F-8ED2-D5EB0B003BE6}" type="pres">
      <dgm:prSet presAssocID="{A67590F1-B987-3746-B308-B8D98A49756B}" presName="parSpace" presStyleCnt="0"/>
      <dgm:spPr/>
    </dgm:pt>
    <dgm:pt modelId="{37E9EE08-28DD-1043-85D6-6F389C61BA97}" type="pres">
      <dgm:prSet presAssocID="{4AB4F7B6-F891-D148-ABF8-45A330A683E7}" presName="parTxOnly" presStyleLbl="node1" presStyleIdx="2" presStyleCnt="5">
        <dgm:presLayoutVars>
          <dgm:bulletEnabled val="1"/>
        </dgm:presLayoutVars>
      </dgm:prSet>
      <dgm:spPr/>
    </dgm:pt>
    <dgm:pt modelId="{04965C53-6357-2A48-96C1-2BF8A7D297B5}" type="pres">
      <dgm:prSet presAssocID="{4056527B-BE44-2543-B068-3708481FF1DB}" presName="parSpace" presStyleCnt="0"/>
      <dgm:spPr/>
    </dgm:pt>
    <dgm:pt modelId="{A321AFAD-7A09-B44E-BB82-A6F453920C7D}" type="pres">
      <dgm:prSet presAssocID="{0237B2AD-8EFF-B34C-A3FB-1154414511F8}" presName="parTxOnly" presStyleLbl="node1" presStyleIdx="3" presStyleCnt="5">
        <dgm:presLayoutVars>
          <dgm:bulletEnabled val="1"/>
        </dgm:presLayoutVars>
      </dgm:prSet>
      <dgm:spPr/>
    </dgm:pt>
    <dgm:pt modelId="{CC20E6BA-B6D8-B642-97CB-782BBC8EAFC8}" type="pres">
      <dgm:prSet presAssocID="{0CC06259-4754-0C4E-8A8E-EAEF15EFDF71}" presName="parSpace" presStyleCnt="0"/>
      <dgm:spPr/>
    </dgm:pt>
    <dgm:pt modelId="{5F174EF4-47BF-034A-A5EF-AE2C38F44384}" type="pres">
      <dgm:prSet presAssocID="{F25FDE00-3150-7C40-802A-15F9D786E62A}" presName="parTxOnly" presStyleLbl="node1" presStyleIdx="4" presStyleCnt="5">
        <dgm:presLayoutVars>
          <dgm:bulletEnabled val="1"/>
        </dgm:presLayoutVars>
      </dgm:prSet>
      <dgm:spPr/>
    </dgm:pt>
  </dgm:ptLst>
  <dgm:cxnLst>
    <dgm:cxn modelId="{F4CC0614-8BEF-8247-B3EC-3ED665669DEA}" type="presOf" srcId="{F25FDE00-3150-7C40-802A-15F9D786E62A}" destId="{5F174EF4-47BF-034A-A5EF-AE2C38F44384}" srcOrd="0" destOrd="0" presId="urn:microsoft.com/office/officeart/2005/8/layout/hChevron3"/>
    <dgm:cxn modelId="{A418181B-195F-C540-A70E-33DD1BB18438}" srcId="{781F165F-88FD-0F49-BE5E-543C6AE3943A}" destId="{0237B2AD-8EFF-B34C-A3FB-1154414511F8}" srcOrd="3" destOrd="0" parTransId="{D624C5D0-33DF-2C47-8B35-75619E60B953}" sibTransId="{0CC06259-4754-0C4E-8A8E-EAEF15EFDF71}"/>
    <dgm:cxn modelId="{D146952A-992B-9E42-950C-4AC59B760E13}" srcId="{781F165F-88FD-0F49-BE5E-543C6AE3943A}" destId="{F25FDE00-3150-7C40-802A-15F9D786E62A}" srcOrd="4" destOrd="0" parTransId="{720D6F4F-0792-DB4E-9628-D6C7D483B106}" sibTransId="{D466D50F-E9A4-5942-AEBC-16FD4AB72BA9}"/>
    <dgm:cxn modelId="{CC47F536-0801-0E4D-A6FE-019FC57311FF}" type="presOf" srcId="{C635E773-73F4-C345-876F-EC49C0411170}" destId="{50EAD4B2-E716-D742-879F-CD20B48D44D7}" srcOrd="0" destOrd="0" presId="urn:microsoft.com/office/officeart/2005/8/layout/hChevron3"/>
    <dgm:cxn modelId="{3631B879-F5E6-3F41-A66D-AD3AA9702EE4}" srcId="{781F165F-88FD-0F49-BE5E-543C6AE3943A}" destId="{F1633484-F410-2049-89F6-2A52C17E2BA3}" srcOrd="1" destOrd="0" parTransId="{CD23FA30-E65A-E44D-BC53-47352EB50C35}" sibTransId="{A67590F1-B987-3746-B308-B8D98A49756B}"/>
    <dgm:cxn modelId="{86DFB58F-278C-0649-8828-2FC3B5C950C6}" type="presOf" srcId="{781F165F-88FD-0F49-BE5E-543C6AE3943A}" destId="{DC06D3F0-5939-3B40-BE38-69B6816FF1BC}" srcOrd="0" destOrd="0" presId="urn:microsoft.com/office/officeart/2005/8/layout/hChevron3"/>
    <dgm:cxn modelId="{F06B00AF-F195-7648-897A-E95D8BD34700}" type="presOf" srcId="{0237B2AD-8EFF-B34C-A3FB-1154414511F8}" destId="{A321AFAD-7A09-B44E-BB82-A6F453920C7D}" srcOrd="0" destOrd="0" presId="urn:microsoft.com/office/officeart/2005/8/layout/hChevron3"/>
    <dgm:cxn modelId="{FA0D96AF-8DB6-EE4F-AE6A-1957C94BF852}" srcId="{781F165F-88FD-0F49-BE5E-543C6AE3943A}" destId="{C635E773-73F4-C345-876F-EC49C0411170}" srcOrd="0" destOrd="0" parTransId="{B45208C6-8991-2B41-8692-AA509185E479}" sibTransId="{EA1D7F34-9907-924C-A925-0273FC50CAFF}"/>
    <dgm:cxn modelId="{A5DED3B7-3973-A94E-9A89-2879DA442BED}" srcId="{781F165F-88FD-0F49-BE5E-543C6AE3943A}" destId="{4AB4F7B6-F891-D148-ABF8-45A330A683E7}" srcOrd="2" destOrd="0" parTransId="{EE3424BD-59A7-CA41-85D8-E70F0B263D75}" sibTransId="{4056527B-BE44-2543-B068-3708481FF1DB}"/>
    <dgm:cxn modelId="{3A9560D5-0262-A647-A9A2-22F33C719DBE}" type="presOf" srcId="{F1633484-F410-2049-89F6-2A52C17E2BA3}" destId="{5D4AE62E-D122-E549-9FDE-C5A6579226E6}" srcOrd="0" destOrd="0" presId="urn:microsoft.com/office/officeart/2005/8/layout/hChevron3"/>
    <dgm:cxn modelId="{27BF22F6-587D-B242-8E62-E28AA2BF70DF}" type="presOf" srcId="{4AB4F7B6-F891-D148-ABF8-45A330A683E7}" destId="{37E9EE08-28DD-1043-85D6-6F389C61BA97}" srcOrd="0" destOrd="0" presId="urn:microsoft.com/office/officeart/2005/8/layout/hChevron3"/>
    <dgm:cxn modelId="{0A0FDD96-DBF8-DA4E-8F8A-F0220FA54057}" type="presParOf" srcId="{DC06D3F0-5939-3B40-BE38-69B6816FF1BC}" destId="{50EAD4B2-E716-D742-879F-CD20B48D44D7}" srcOrd="0" destOrd="0" presId="urn:microsoft.com/office/officeart/2005/8/layout/hChevron3"/>
    <dgm:cxn modelId="{4ACB4758-3BE7-104E-B1FC-4F65CC8BAFB5}" type="presParOf" srcId="{DC06D3F0-5939-3B40-BE38-69B6816FF1BC}" destId="{4606B817-F00B-414A-B82D-CF923619FEF1}" srcOrd="1" destOrd="0" presId="urn:microsoft.com/office/officeart/2005/8/layout/hChevron3"/>
    <dgm:cxn modelId="{4E1C7057-C10B-6C44-9364-39C8F41AF5D3}" type="presParOf" srcId="{DC06D3F0-5939-3B40-BE38-69B6816FF1BC}" destId="{5D4AE62E-D122-E549-9FDE-C5A6579226E6}" srcOrd="2" destOrd="0" presId="urn:microsoft.com/office/officeart/2005/8/layout/hChevron3"/>
    <dgm:cxn modelId="{C9EF5958-91D1-0C4E-BBCC-30C6B9E98A11}" type="presParOf" srcId="{DC06D3F0-5939-3B40-BE38-69B6816FF1BC}" destId="{1A42C200-678F-244F-8ED2-D5EB0B003BE6}" srcOrd="3" destOrd="0" presId="urn:microsoft.com/office/officeart/2005/8/layout/hChevron3"/>
    <dgm:cxn modelId="{22EF08E3-C507-794D-9AA4-5194ABC672D5}" type="presParOf" srcId="{DC06D3F0-5939-3B40-BE38-69B6816FF1BC}" destId="{37E9EE08-28DD-1043-85D6-6F389C61BA97}" srcOrd="4" destOrd="0" presId="urn:microsoft.com/office/officeart/2005/8/layout/hChevron3"/>
    <dgm:cxn modelId="{1F097187-981F-BC46-A33D-07610A96E8D6}" type="presParOf" srcId="{DC06D3F0-5939-3B40-BE38-69B6816FF1BC}" destId="{04965C53-6357-2A48-96C1-2BF8A7D297B5}" srcOrd="5" destOrd="0" presId="urn:microsoft.com/office/officeart/2005/8/layout/hChevron3"/>
    <dgm:cxn modelId="{848211E8-75B3-B54B-A3D9-AE2C4C7490FF}" type="presParOf" srcId="{DC06D3F0-5939-3B40-BE38-69B6816FF1BC}" destId="{A321AFAD-7A09-B44E-BB82-A6F453920C7D}" srcOrd="6" destOrd="0" presId="urn:microsoft.com/office/officeart/2005/8/layout/hChevron3"/>
    <dgm:cxn modelId="{0FE839CC-8251-C94A-B866-B3D5BC4FF374}" type="presParOf" srcId="{DC06D3F0-5939-3B40-BE38-69B6816FF1BC}" destId="{CC20E6BA-B6D8-B642-97CB-782BBC8EAFC8}" srcOrd="7" destOrd="0" presId="urn:microsoft.com/office/officeart/2005/8/layout/hChevron3"/>
    <dgm:cxn modelId="{050B84AD-E733-1E43-BA50-F4CC8A9B3DC0}" type="presParOf" srcId="{DC06D3F0-5939-3B40-BE38-69B6816FF1BC}" destId="{5F174EF4-47BF-034A-A5EF-AE2C38F44384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781F165F-88FD-0F49-BE5E-543C6AE3943A}" type="doc">
      <dgm:prSet loTypeId="urn:microsoft.com/office/officeart/2005/8/layout/hChevron3" loCatId="" qsTypeId="urn:microsoft.com/office/officeart/2005/8/quickstyle/simple1" qsCatId="simple" csTypeId="urn:microsoft.com/office/officeart/2005/8/colors/accent1_2" csCatId="accent1" phldr="1"/>
      <dgm:spPr/>
    </dgm:pt>
    <dgm:pt modelId="{F25FDE00-3150-7C40-802A-15F9D786E62A}">
      <dgm:prSet phldrT="[Text]"/>
      <dgm:spPr>
        <a:solidFill>
          <a:srgbClr val="036E3D"/>
        </a:solidFill>
        <a:ln>
          <a:noFill/>
        </a:ln>
      </dgm:spPr>
      <dgm:t>
        <a:bodyPr/>
        <a:lstStyle/>
        <a:p>
          <a:endParaRPr lang="en-US"/>
        </a:p>
      </dgm:t>
    </dgm:pt>
    <dgm:pt modelId="{720D6F4F-0792-DB4E-9628-D6C7D483B106}" type="parTrans" cxnId="{D146952A-992B-9E42-950C-4AC59B760E13}">
      <dgm:prSet/>
      <dgm:spPr/>
      <dgm:t>
        <a:bodyPr/>
        <a:lstStyle/>
        <a:p>
          <a:endParaRPr lang="en-US"/>
        </a:p>
      </dgm:t>
    </dgm:pt>
    <dgm:pt modelId="{D466D50F-E9A4-5942-AEBC-16FD4AB72BA9}" type="sibTrans" cxnId="{D146952A-992B-9E42-950C-4AC59B760E13}">
      <dgm:prSet/>
      <dgm:spPr/>
      <dgm:t>
        <a:bodyPr/>
        <a:lstStyle/>
        <a:p>
          <a:endParaRPr lang="en-US"/>
        </a:p>
      </dgm:t>
    </dgm:pt>
    <dgm:pt modelId="{C635E773-73F4-C345-876F-EC49C0411170}">
      <dgm:prSet phldrT="[Text]"/>
      <dgm:spPr>
        <a:solidFill>
          <a:srgbClr val="24A558"/>
        </a:solidFill>
        <a:ln>
          <a:solidFill>
            <a:srgbClr val="29A457"/>
          </a:solidFill>
        </a:ln>
      </dgm:spPr>
      <dgm:t>
        <a:bodyPr/>
        <a:lstStyle/>
        <a:p>
          <a:endParaRPr lang="en-US"/>
        </a:p>
      </dgm:t>
    </dgm:pt>
    <dgm:pt modelId="{EA1D7F34-9907-924C-A925-0273FC50CAFF}" type="sibTrans" cxnId="{FA0D96AF-8DB6-EE4F-AE6A-1957C94BF852}">
      <dgm:prSet/>
      <dgm:spPr/>
      <dgm:t>
        <a:bodyPr/>
        <a:lstStyle/>
        <a:p>
          <a:endParaRPr lang="en-US"/>
        </a:p>
      </dgm:t>
    </dgm:pt>
    <dgm:pt modelId="{B45208C6-8991-2B41-8692-AA509185E479}" type="parTrans" cxnId="{FA0D96AF-8DB6-EE4F-AE6A-1957C94BF852}">
      <dgm:prSet/>
      <dgm:spPr/>
      <dgm:t>
        <a:bodyPr/>
        <a:lstStyle/>
        <a:p>
          <a:endParaRPr lang="en-US"/>
        </a:p>
      </dgm:t>
    </dgm:pt>
    <dgm:pt modelId="{F1633484-F410-2049-89F6-2A52C17E2BA3}">
      <dgm:prSet phldrT="[Text]"/>
      <dgm:spPr>
        <a:solidFill>
          <a:srgbClr val="1D964B"/>
        </a:solidFill>
        <a:ln>
          <a:noFill/>
        </a:ln>
      </dgm:spPr>
      <dgm:t>
        <a:bodyPr/>
        <a:lstStyle/>
        <a:p>
          <a:endParaRPr lang="en-US"/>
        </a:p>
      </dgm:t>
    </dgm:pt>
    <dgm:pt modelId="{A67590F1-B987-3746-B308-B8D98A49756B}" type="sibTrans" cxnId="{3631B879-F5E6-3F41-A66D-AD3AA9702EE4}">
      <dgm:prSet/>
      <dgm:spPr/>
      <dgm:t>
        <a:bodyPr/>
        <a:lstStyle/>
        <a:p>
          <a:endParaRPr lang="en-US"/>
        </a:p>
      </dgm:t>
    </dgm:pt>
    <dgm:pt modelId="{CD23FA30-E65A-E44D-BC53-47352EB50C35}" type="parTrans" cxnId="{3631B879-F5E6-3F41-A66D-AD3AA9702EE4}">
      <dgm:prSet/>
      <dgm:spPr/>
      <dgm:t>
        <a:bodyPr/>
        <a:lstStyle/>
        <a:p>
          <a:endParaRPr lang="en-US"/>
        </a:p>
      </dgm:t>
    </dgm:pt>
    <dgm:pt modelId="{4AB4F7B6-F891-D148-ABF8-45A330A683E7}">
      <dgm:prSet phldrT="[Text]"/>
      <dgm:spPr>
        <a:solidFill>
          <a:srgbClr val="198C44"/>
        </a:solidFill>
        <a:ln>
          <a:noFill/>
        </a:ln>
      </dgm:spPr>
      <dgm:t>
        <a:bodyPr/>
        <a:lstStyle/>
        <a:p>
          <a:endParaRPr lang="en-US"/>
        </a:p>
      </dgm:t>
    </dgm:pt>
    <dgm:pt modelId="{4056527B-BE44-2543-B068-3708481FF1DB}" type="sibTrans" cxnId="{A5DED3B7-3973-A94E-9A89-2879DA442BED}">
      <dgm:prSet/>
      <dgm:spPr/>
      <dgm:t>
        <a:bodyPr/>
        <a:lstStyle/>
        <a:p>
          <a:endParaRPr lang="en-US"/>
        </a:p>
      </dgm:t>
    </dgm:pt>
    <dgm:pt modelId="{EE3424BD-59A7-CA41-85D8-E70F0B263D75}" type="parTrans" cxnId="{A5DED3B7-3973-A94E-9A89-2879DA442BED}">
      <dgm:prSet/>
      <dgm:spPr/>
      <dgm:t>
        <a:bodyPr/>
        <a:lstStyle/>
        <a:p>
          <a:endParaRPr lang="en-US"/>
        </a:p>
      </dgm:t>
    </dgm:pt>
    <dgm:pt modelId="{0237B2AD-8EFF-B34C-A3FB-1154414511F8}">
      <dgm:prSet phldrT="[Text]"/>
      <dgm:spPr>
        <a:solidFill>
          <a:srgbClr val="037A42"/>
        </a:solidFill>
        <a:ln>
          <a:noFill/>
        </a:ln>
      </dgm:spPr>
      <dgm:t>
        <a:bodyPr/>
        <a:lstStyle/>
        <a:p>
          <a:endParaRPr lang="en-US"/>
        </a:p>
      </dgm:t>
    </dgm:pt>
    <dgm:pt modelId="{0CC06259-4754-0C4E-8A8E-EAEF15EFDF71}" type="sibTrans" cxnId="{A418181B-195F-C540-A70E-33DD1BB18438}">
      <dgm:prSet/>
      <dgm:spPr/>
      <dgm:t>
        <a:bodyPr/>
        <a:lstStyle/>
        <a:p>
          <a:endParaRPr lang="en-US"/>
        </a:p>
      </dgm:t>
    </dgm:pt>
    <dgm:pt modelId="{D624C5D0-33DF-2C47-8B35-75619E60B953}" type="parTrans" cxnId="{A418181B-195F-C540-A70E-33DD1BB18438}">
      <dgm:prSet/>
      <dgm:spPr/>
      <dgm:t>
        <a:bodyPr/>
        <a:lstStyle/>
        <a:p>
          <a:endParaRPr lang="en-US"/>
        </a:p>
      </dgm:t>
    </dgm:pt>
    <dgm:pt modelId="{DC06D3F0-5939-3B40-BE38-69B6816FF1BC}" type="pres">
      <dgm:prSet presAssocID="{781F165F-88FD-0F49-BE5E-543C6AE3943A}" presName="Name0" presStyleCnt="0">
        <dgm:presLayoutVars>
          <dgm:dir/>
          <dgm:resizeHandles val="exact"/>
        </dgm:presLayoutVars>
      </dgm:prSet>
      <dgm:spPr/>
    </dgm:pt>
    <dgm:pt modelId="{50EAD4B2-E716-D742-879F-CD20B48D44D7}" type="pres">
      <dgm:prSet presAssocID="{C635E773-73F4-C345-876F-EC49C0411170}" presName="parTxOnly" presStyleLbl="node1" presStyleIdx="0" presStyleCnt="5" custScaleY="74745">
        <dgm:presLayoutVars>
          <dgm:bulletEnabled val="1"/>
        </dgm:presLayoutVars>
      </dgm:prSet>
      <dgm:spPr/>
    </dgm:pt>
    <dgm:pt modelId="{4606B817-F00B-414A-B82D-CF923619FEF1}" type="pres">
      <dgm:prSet presAssocID="{EA1D7F34-9907-924C-A925-0273FC50CAFF}" presName="parSpace" presStyleCnt="0"/>
      <dgm:spPr/>
    </dgm:pt>
    <dgm:pt modelId="{5D4AE62E-D122-E549-9FDE-C5A6579226E6}" type="pres">
      <dgm:prSet presAssocID="{F1633484-F410-2049-89F6-2A52C17E2BA3}" presName="parTxOnly" presStyleLbl="node1" presStyleIdx="1" presStyleCnt="5">
        <dgm:presLayoutVars>
          <dgm:bulletEnabled val="1"/>
        </dgm:presLayoutVars>
      </dgm:prSet>
      <dgm:spPr/>
    </dgm:pt>
    <dgm:pt modelId="{1A42C200-678F-244F-8ED2-D5EB0B003BE6}" type="pres">
      <dgm:prSet presAssocID="{A67590F1-B987-3746-B308-B8D98A49756B}" presName="parSpace" presStyleCnt="0"/>
      <dgm:spPr/>
    </dgm:pt>
    <dgm:pt modelId="{37E9EE08-28DD-1043-85D6-6F389C61BA97}" type="pres">
      <dgm:prSet presAssocID="{4AB4F7B6-F891-D148-ABF8-45A330A683E7}" presName="parTxOnly" presStyleLbl="node1" presStyleIdx="2" presStyleCnt="5">
        <dgm:presLayoutVars>
          <dgm:bulletEnabled val="1"/>
        </dgm:presLayoutVars>
      </dgm:prSet>
      <dgm:spPr/>
    </dgm:pt>
    <dgm:pt modelId="{04965C53-6357-2A48-96C1-2BF8A7D297B5}" type="pres">
      <dgm:prSet presAssocID="{4056527B-BE44-2543-B068-3708481FF1DB}" presName="parSpace" presStyleCnt="0"/>
      <dgm:spPr/>
    </dgm:pt>
    <dgm:pt modelId="{A321AFAD-7A09-B44E-BB82-A6F453920C7D}" type="pres">
      <dgm:prSet presAssocID="{0237B2AD-8EFF-B34C-A3FB-1154414511F8}" presName="parTxOnly" presStyleLbl="node1" presStyleIdx="3" presStyleCnt="5">
        <dgm:presLayoutVars>
          <dgm:bulletEnabled val="1"/>
        </dgm:presLayoutVars>
      </dgm:prSet>
      <dgm:spPr/>
    </dgm:pt>
    <dgm:pt modelId="{CC20E6BA-B6D8-B642-97CB-782BBC8EAFC8}" type="pres">
      <dgm:prSet presAssocID="{0CC06259-4754-0C4E-8A8E-EAEF15EFDF71}" presName="parSpace" presStyleCnt="0"/>
      <dgm:spPr/>
    </dgm:pt>
    <dgm:pt modelId="{5F174EF4-47BF-034A-A5EF-AE2C38F44384}" type="pres">
      <dgm:prSet presAssocID="{F25FDE00-3150-7C40-802A-15F9D786E62A}" presName="parTxOnly" presStyleLbl="node1" presStyleIdx="4" presStyleCnt="5">
        <dgm:presLayoutVars>
          <dgm:bulletEnabled val="1"/>
        </dgm:presLayoutVars>
      </dgm:prSet>
      <dgm:spPr/>
    </dgm:pt>
  </dgm:ptLst>
  <dgm:cxnLst>
    <dgm:cxn modelId="{F4CC0614-8BEF-8247-B3EC-3ED665669DEA}" type="presOf" srcId="{F25FDE00-3150-7C40-802A-15F9D786E62A}" destId="{5F174EF4-47BF-034A-A5EF-AE2C38F44384}" srcOrd="0" destOrd="0" presId="urn:microsoft.com/office/officeart/2005/8/layout/hChevron3"/>
    <dgm:cxn modelId="{A418181B-195F-C540-A70E-33DD1BB18438}" srcId="{781F165F-88FD-0F49-BE5E-543C6AE3943A}" destId="{0237B2AD-8EFF-B34C-A3FB-1154414511F8}" srcOrd="3" destOrd="0" parTransId="{D624C5D0-33DF-2C47-8B35-75619E60B953}" sibTransId="{0CC06259-4754-0C4E-8A8E-EAEF15EFDF71}"/>
    <dgm:cxn modelId="{D146952A-992B-9E42-950C-4AC59B760E13}" srcId="{781F165F-88FD-0F49-BE5E-543C6AE3943A}" destId="{F25FDE00-3150-7C40-802A-15F9D786E62A}" srcOrd="4" destOrd="0" parTransId="{720D6F4F-0792-DB4E-9628-D6C7D483B106}" sibTransId="{D466D50F-E9A4-5942-AEBC-16FD4AB72BA9}"/>
    <dgm:cxn modelId="{CC47F536-0801-0E4D-A6FE-019FC57311FF}" type="presOf" srcId="{C635E773-73F4-C345-876F-EC49C0411170}" destId="{50EAD4B2-E716-D742-879F-CD20B48D44D7}" srcOrd="0" destOrd="0" presId="urn:microsoft.com/office/officeart/2005/8/layout/hChevron3"/>
    <dgm:cxn modelId="{3631B879-F5E6-3F41-A66D-AD3AA9702EE4}" srcId="{781F165F-88FD-0F49-BE5E-543C6AE3943A}" destId="{F1633484-F410-2049-89F6-2A52C17E2BA3}" srcOrd="1" destOrd="0" parTransId="{CD23FA30-E65A-E44D-BC53-47352EB50C35}" sibTransId="{A67590F1-B987-3746-B308-B8D98A49756B}"/>
    <dgm:cxn modelId="{86DFB58F-278C-0649-8828-2FC3B5C950C6}" type="presOf" srcId="{781F165F-88FD-0F49-BE5E-543C6AE3943A}" destId="{DC06D3F0-5939-3B40-BE38-69B6816FF1BC}" srcOrd="0" destOrd="0" presId="urn:microsoft.com/office/officeart/2005/8/layout/hChevron3"/>
    <dgm:cxn modelId="{F06B00AF-F195-7648-897A-E95D8BD34700}" type="presOf" srcId="{0237B2AD-8EFF-B34C-A3FB-1154414511F8}" destId="{A321AFAD-7A09-B44E-BB82-A6F453920C7D}" srcOrd="0" destOrd="0" presId="urn:microsoft.com/office/officeart/2005/8/layout/hChevron3"/>
    <dgm:cxn modelId="{FA0D96AF-8DB6-EE4F-AE6A-1957C94BF852}" srcId="{781F165F-88FD-0F49-BE5E-543C6AE3943A}" destId="{C635E773-73F4-C345-876F-EC49C0411170}" srcOrd="0" destOrd="0" parTransId="{B45208C6-8991-2B41-8692-AA509185E479}" sibTransId="{EA1D7F34-9907-924C-A925-0273FC50CAFF}"/>
    <dgm:cxn modelId="{A5DED3B7-3973-A94E-9A89-2879DA442BED}" srcId="{781F165F-88FD-0F49-BE5E-543C6AE3943A}" destId="{4AB4F7B6-F891-D148-ABF8-45A330A683E7}" srcOrd="2" destOrd="0" parTransId="{EE3424BD-59A7-CA41-85D8-E70F0B263D75}" sibTransId="{4056527B-BE44-2543-B068-3708481FF1DB}"/>
    <dgm:cxn modelId="{3A9560D5-0262-A647-A9A2-22F33C719DBE}" type="presOf" srcId="{F1633484-F410-2049-89F6-2A52C17E2BA3}" destId="{5D4AE62E-D122-E549-9FDE-C5A6579226E6}" srcOrd="0" destOrd="0" presId="urn:microsoft.com/office/officeart/2005/8/layout/hChevron3"/>
    <dgm:cxn modelId="{27BF22F6-587D-B242-8E62-E28AA2BF70DF}" type="presOf" srcId="{4AB4F7B6-F891-D148-ABF8-45A330A683E7}" destId="{37E9EE08-28DD-1043-85D6-6F389C61BA97}" srcOrd="0" destOrd="0" presId="urn:microsoft.com/office/officeart/2005/8/layout/hChevron3"/>
    <dgm:cxn modelId="{0A0FDD96-DBF8-DA4E-8F8A-F0220FA54057}" type="presParOf" srcId="{DC06D3F0-5939-3B40-BE38-69B6816FF1BC}" destId="{50EAD4B2-E716-D742-879F-CD20B48D44D7}" srcOrd="0" destOrd="0" presId="urn:microsoft.com/office/officeart/2005/8/layout/hChevron3"/>
    <dgm:cxn modelId="{4ACB4758-3BE7-104E-B1FC-4F65CC8BAFB5}" type="presParOf" srcId="{DC06D3F0-5939-3B40-BE38-69B6816FF1BC}" destId="{4606B817-F00B-414A-B82D-CF923619FEF1}" srcOrd="1" destOrd="0" presId="urn:microsoft.com/office/officeart/2005/8/layout/hChevron3"/>
    <dgm:cxn modelId="{4E1C7057-C10B-6C44-9364-39C8F41AF5D3}" type="presParOf" srcId="{DC06D3F0-5939-3B40-BE38-69B6816FF1BC}" destId="{5D4AE62E-D122-E549-9FDE-C5A6579226E6}" srcOrd="2" destOrd="0" presId="urn:microsoft.com/office/officeart/2005/8/layout/hChevron3"/>
    <dgm:cxn modelId="{C9EF5958-91D1-0C4E-BBCC-30C6B9E98A11}" type="presParOf" srcId="{DC06D3F0-5939-3B40-BE38-69B6816FF1BC}" destId="{1A42C200-678F-244F-8ED2-D5EB0B003BE6}" srcOrd="3" destOrd="0" presId="urn:microsoft.com/office/officeart/2005/8/layout/hChevron3"/>
    <dgm:cxn modelId="{22EF08E3-C507-794D-9AA4-5194ABC672D5}" type="presParOf" srcId="{DC06D3F0-5939-3B40-BE38-69B6816FF1BC}" destId="{37E9EE08-28DD-1043-85D6-6F389C61BA97}" srcOrd="4" destOrd="0" presId="urn:microsoft.com/office/officeart/2005/8/layout/hChevron3"/>
    <dgm:cxn modelId="{1F097187-981F-BC46-A33D-07610A96E8D6}" type="presParOf" srcId="{DC06D3F0-5939-3B40-BE38-69B6816FF1BC}" destId="{04965C53-6357-2A48-96C1-2BF8A7D297B5}" srcOrd="5" destOrd="0" presId="urn:microsoft.com/office/officeart/2005/8/layout/hChevron3"/>
    <dgm:cxn modelId="{848211E8-75B3-B54B-A3D9-AE2C4C7490FF}" type="presParOf" srcId="{DC06D3F0-5939-3B40-BE38-69B6816FF1BC}" destId="{A321AFAD-7A09-B44E-BB82-A6F453920C7D}" srcOrd="6" destOrd="0" presId="urn:microsoft.com/office/officeart/2005/8/layout/hChevron3"/>
    <dgm:cxn modelId="{0FE839CC-8251-C94A-B866-B3D5BC4FF374}" type="presParOf" srcId="{DC06D3F0-5939-3B40-BE38-69B6816FF1BC}" destId="{CC20E6BA-B6D8-B642-97CB-782BBC8EAFC8}" srcOrd="7" destOrd="0" presId="urn:microsoft.com/office/officeart/2005/8/layout/hChevron3"/>
    <dgm:cxn modelId="{050B84AD-E733-1E43-BA50-F4CC8A9B3DC0}" type="presParOf" srcId="{DC06D3F0-5939-3B40-BE38-69B6816FF1BC}" destId="{5F174EF4-47BF-034A-A5EF-AE2C38F44384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781F165F-88FD-0F49-BE5E-543C6AE3943A}" type="doc">
      <dgm:prSet loTypeId="urn:microsoft.com/office/officeart/2005/8/layout/hChevron3" loCatId="" qsTypeId="urn:microsoft.com/office/officeart/2005/8/quickstyle/simple1" qsCatId="simple" csTypeId="urn:microsoft.com/office/officeart/2005/8/colors/accent1_2" csCatId="accent1" phldr="1"/>
      <dgm:spPr/>
    </dgm:pt>
    <dgm:pt modelId="{F25FDE00-3150-7C40-802A-15F9D786E62A}">
      <dgm:prSet phldrT="[Text]"/>
      <dgm:spPr>
        <a:solidFill>
          <a:srgbClr val="036E3D"/>
        </a:solidFill>
        <a:ln>
          <a:noFill/>
        </a:ln>
      </dgm:spPr>
      <dgm:t>
        <a:bodyPr/>
        <a:lstStyle/>
        <a:p>
          <a:endParaRPr lang="en-US"/>
        </a:p>
      </dgm:t>
    </dgm:pt>
    <dgm:pt modelId="{720D6F4F-0792-DB4E-9628-D6C7D483B106}" type="parTrans" cxnId="{D146952A-992B-9E42-950C-4AC59B760E13}">
      <dgm:prSet/>
      <dgm:spPr/>
      <dgm:t>
        <a:bodyPr/>
        <a:lstStyle/>
        <a:p>
          <a:endParaRPr lang="en-US"/>
        </a:p>
      </dgm:t>
    </dgm:pt>
    <dgm:pt modelId="{D466D50F-E9A4-5942-AEBC-16FD4AB72BA9}" type="sibTrans" cxnId="{D146952A-992B-9E42-950C-4AC59B760E13}">
      <dgm:prSet/>
      <dgm:spPr/>
      <dgm:t>
        <a:bodyPr/>
        <a:lstStyle/>
        <a:p>
          <a:endParaRPr lang="en-US"/>
        </a:p>
      </dgm:t>
    </dgm:pt>
    <dgm:pt modelId="{C635E773-73F4-C345-876F-EC49C0411170}">
      <dgm:prSet phldrT="[Text]"/>
      <dgm:spPr>
        <a:solidFill>
          <a:srgbClr val="24A558"/>
        </a:solidFill>
        <a:ln>
          <a:solidFill>
            <a:srgbClr val="29A457"/>
          </a:solidFill>
        </a:ln>
      </dgm:spPr>
      <dgm:t>
        <a:bodyPr/>
        <a:lstStyle/>
        <a:p>
          <a:endParaRPr lang="en-US"/>
        </a:p>
      </dgm:t>
    </dgm:pt>
    <dgm:pt modelId="{EA1D7F34-9907-924C-A925-0273FC50CAFF}" type="sibTrans" cxnId="{FA0D96AF-8DB6-EE4F-AE6A-1957C94BF852}">
      <dgm:prSet/>
      <dgm:spPr/>
      <dgm:t>
        <a:bodyPr/>
        <a:lstStyle/>
        <a:p>
          <a:endParaRPr lang="en-US"/>
        </a:p>
      </dgm:t>
    </dgm:pt>
    <dgm:pt modelId="{B45208C6-8991-2B41-8692-AA509185E479}" type="parTrans" cxnId="{FA0D96AF-8DB6-EE4F-AE6A-1957C94BF852}">
      <dgm:prSet/>
      <dgm:spPr/>
      <dgm:t>
        <a:bodyPr/>
        <a:lstStyle/>
        <a:p>
          <a:endParaRPr lang="en-US"/>
        </a:p>
      </dgm:t>
    </dgm:pt>
    <dgm:pt modelId="{F1633484-F410-2049-89F6-2A52C17E2BA3}">
      <dgm:prSet phldrT="[Text]"/>
      <dgm:spPr>
        <a:solidFill>
          <a:srgbClr val="1D964B"/>
        </a:solidFill>
        <a:ln>
          <a:noFill/>
        </a:ln>
      </dgm:spPr>
      <dgm:t>
        <a:bodyPr/>
        <a:lstStyle/>
        <a:p>
          <a:endParaRPr lang="en-US"/>
        </a:p>
      </dgm:t>
    </dgm:pt>
    <dgm:pt modelId="{A67590F1-B987-3746-B308-B8D98A49756B}" type="sibTrans" cxnId="{3631B879-F5E6-3F41-A66D-AD3AA9702EE4}">
      <dgm:prSet/>
      <dgm:spPr/>
      <dgm:t>
        <a:bodyPr/>
        <a:lstStyle/>
        <a:p>
          <a:endParaRPr lang="en-US"/>
        </a:p>
      </dgm:t>
    </dgm:pt>
    <dgm:pt modelId="{CD23FA30-E65A-E44D-BC53-47352EB50C35}" type="parTrans" cxnId="{3631B879-F5E6-3F41-A66D-AD3AA9702EE4}">
      <dgm:prSet/>
      <dgm:spPr/>
      <dgm:t>
        <a:bodyPr/>
        <a:lstStyle/>
        <a:p>
          <a:endParaRPr lang="en-US"/>
        </a:p>
      </dgm:t>
    </dgm:pt>
    <dgm:pt modelId="{4AB4F7B6-F891-D148-ABF8-45A330A683E7}">
      <dgm:prSet phldrT="[Text]"/>
      <dgm:spPr>
        <a:solidFill>
          <a:srgbClr val="198C44"/>
        </a:solidFill>
        <a:ln>
          <a:noFill/>
        </a:ln>
      </dgm:spPr>
      <dgm:t>
        <a:bodyPr/>
        <a:lstStyle/>
        <a:p>
          <a:endParaRPr lang="en-US"/>
        </a:p>
      </dgm:t>
    </dgm:pt>
    <dgm:pt modelId="{4056527B-BE44-2543-B068-3708481FF1DB}" type="sibTrans" cxnId="{A5DED3B7-3973-A94E-9A89-2879DA442BED}">
      <dgm:prSet/>
      <dgm:spPr/>
      <dgm:t>
        <a:bodyPr/>
        <a:lstStyle/>
        <a:p>
          <a:endParaRPr lang="en-US"/>
        </a:p>
      </dgm:t>
    </dgm:pt>
    <dgm:pt modelId="{EE3424BD-59A7-CA41-85D8-E70F0B263D75}" type="parTrans" cxnId="{A5DED3B7-3973-A94E-9A89-2879DA442BED}">
      <dgm:prSet/>
      <dgm:spPr/>
      <dgm:t>
        <a:bodyPr/>
        <a:lstStyle/>
        <a:p>
          <a:endParaRPr lang="en-US"/>
        </a:p>
      </dgm:t>
    </dgm:pt>
    <dgm:pt modelId="{0237B2AD-8EFF-B34C-A3FB-1154414511F8}">
      <dgm:prSet phldrT="[Text]"/>
      <dgm:spPr>
        <a:solidFill>
          <a:srgbClr val="037A42"/>
        </a:solidFill>
        <a:ln>
          <a:noFill/>
        </a:ln>
      </dgm:spPr>
      <dgm:t>
        <a:bodyPr/>
        <a:lstStyle/>
        <a:p>
          <a:endParaRPr lang="en-US"/>
        </a:p>
      </dgm:t>
    </dgm:pt>
    <dgm:pt modelId="{0CC06259-4754-0C4E-8A8E-EAEF15EFDF71}" type="sibTrans" cxnId="{A418181B-195F-C540-A70E-33DD1BB18438}">
      <dgm:prSet/>
      <dgm:spPr/>
      <dgm:t>
        <a:bodyPr/>
        <a:lstStyle/>
        <a:p>
          <a:endParaRPr lang="en-US"/>
        </a:p>
      </dgm:t>
    </dgm:pt>
    <dgm:pt modelId="{D624C5D0-33DF-2C47-8B35-75619E60B953}" type="parTrans" cxnId="{A418181B-195F-C540-A70E-33DD1BB18438}">
      <dgm:prSet/>
      <dgm:spPr/>
      <dgm:t>
        <a:bodyPr/>
        <a:lstStyle/>
        <a:p>
          <a:endParaRPr lang="en-US"/>
        </a:p>
      </dgm:t>
    </dgm:pt>
    <dgm:pt modelId="{DC06D3F0-5939-3B40-BE38-69B6816FF1BC}" type="pres">
      <dgm:prSet presAssocID="{781F165F-88FD-0F49-BE5E-543C6AE3943A}" presName="Name0" presStyleCnt="0">
        <dgm:presLayoutVars>
          <dgm:dir/>
          <dgm:resizeHandles val="exact"/>
        </dgm:presLayoutVars>
      </dgm:prSet>
      <dgm:spPr/>
    </dgm:pt>
    <dgm:pt modelId="{50EAD4B2-E716-D742-879F-CD20B48D44D7}" type="pres">
      <dgm:prSet presAssocID="{C635E773-73F4-C345-876F-EC49C0411170}" presName="parTxOnly" presStyleLbl="node1" presStyleIdx="0" presStyleCnt="5" custScaleY="74745">
        <dgm:presLayoutVars>
          <dgm:bulletEnabled val="1"/>
        </dgm:presLayoutVars>
      </dgm:prSet>
      <dgm:spPr/>
    </dgm:pt>
    <dgm:pt modelId="{4606B817-F00B-414A-B82D-CF923619FEF1}" type="pres">
      <dgm:prSet presAssocID="{EA1D7F34-9907-924C-A925-0273FC50CAFF}" presName="parSpace" presStyleCnt="0"/>
      <dgm:spPr/>
    </dgm:pt>
    <dgm:pt modelId="{5D4AE62E-D122-E549-9FDE-C5A6579226E6}" type="pres">
      <dgm:prSet presAssocID="{F1633484-F410-2049-89F6-2A52C17E2BA3}" presName="parTxOnly" presStyleLbl="node1" presStyleIdx="1" presStyleCnt="5">
        <dgm:presLayoutVars>
          <dgm:bulletEnabled val="1"/>
        </dgm:presLayoutVars>
      </dgm:prSet>
      <dgm:spPr/>
    </dgm:pt>
    <dgm:pt modelId="{1A42C200-678F-244F-8ED2-D5EB0B003BE6}" type="pres">
      <dgm:prSet presAssocID="{A67590F1-B987-3746-B308-B8D98A49756B}" presName="parSpace" presStyleCnt="0"/>
      <dgm:spPr/>
    </dgm:pt>
    <dgm:pt modelId="{37E9EE08-28DD-1043-85D6-6F389C61BA97}" type="pres">
      <dgm:prSet presAssocID="{4AB4F7B6-F891-D148-ABF8-45A330A683E7}" presName="parTxOnly" presStyleLbl="node1" presStyleIdx="2" presStyleCnt="5">
        <dgm:presLayoutVars>
          <dgm:bulletEnabled val="1"/>
        </dgm:presLayoutVars>
      </dgm:prSet>
      <dgm:spPr/>
    </dgm:pt>
    <dgm:pt modelId="{04965C53-6357-2A48-96C1-2BF8A7D297B5}" type="pres">
      <dgm:prSet presAssocID="{4056527B-BE44-2543-B068-3708481FF1DB}" presName="parSpace" presStyleCnt="0"/>
      <dgm:spPr/>
    </dgm:pt>
    <dgm:pt modelId="{A321AFAD-7A09-B44E-BB82-A6F453920C7D}" type="pres">
      <dgm:prSet presAssocID="{0237B2AD-8EFF-B34C-A3FB-1154414511F8}" presName="parTxOnly" presStyleLbl="node1" presStyleIdx="3" presStyleCnt="5">
        <dgm:presLayoutVars>
          <dgm:bulletEnabled val="1"/>
        </dgm:presLayoutVars>
      </dgm:prSet>
      <dgm:spPr/>
    </dgm:pt>
    <dgm:pt modelId="{CC20E6BA-B6D8-B642-97CB-782BBC8EAFC8}" type="pres">
      <dgm:prSet presAssocID="{0CC06259-4754-0C4E-8A8E-EAEF15EFDF71}" presName="parSpace" presStyleCnt="0"/>
      <dgm:spPr/>
    </dgm:pt>
    <dgm:pt modelId="{5F174EF4-47BF-034A-A5EF-AE2C38F44384}" type="pres">
      <dgm:prSet presAssocID="{F25FDE00-3150-7C40-802A-15F9D786E62A}" presName="parTxOnly" presStyleLbl="node1" presStyleIdx="4" presStyleCnt="5">
        <dgm:presLayoutVars>
          <dgm:bulletEnabled val="1"/>
        </dgm:presLayoutVars>
      </dgm:prSet>
      <dgm:spPr/>
    </dgm:pt>
  </dgm:ptLst>
  <dgm:cxnLst>
    <dgm:cxn modelId="{F4CC0614-8BEF-8247-B3EC-3ED665669DEA}" type="presOf" srcId="{F25FDE00-3150-7C40-802A-15F9D786E62A}" destId="{5F174EF4-47BF-034A-A5EF-AE2C38F44384}" srcOrd="0" destOrd="0" presId="urn:microsoft.com/office/officeart/2005/8/layout/hChevron3"/>
    <dgm:cxn modelId="{A418181B-195F-C540-A70E-33DD1BB18438}" srcId="{781F165F-88FD-0F49-BE5E-543C6AE3943A}" destId="{0237B2AD-8EFF-B34C-A3FB-1154414511F8}" srcOrd="3" destOrd="0" parTransId="{D624C5D0-33DF-2C47-8B35-75619E60B953}" sibTransId="{0CC06259-4754-0C4E-8A8E-EAEF15EFDF71}"/>
    <dgm:cxn modelId="{D146952A-992B-9E42-950C-4AC59B760E13}" srcId="{781F165F-88FD-0F49-BE5E-543C6AE3943A}" destId="{F25FDE00-3150-7C40-802A-15F9D786E62A}" srcOrd="4" destOrd="0" parTransId="{720D6F4F-0792-DB4E-9628-D6C7D483B106}" sibTransId="{D466D50F-E9A4-5942-AEBC-16FD4AB72BA9}"/>
    <dgm:cxn modelId="{CC47F536-0801-0E4D-A6FE-019FC57311FF}" type="presOf" srcId="{C635E773-73F4-C345-876F-EC49C0411170}" destId="{50EAD4B2-E716-D742-879F-CD20B48D44D7}" srcOrd="0" destOrd="0" presId="urn:microsoft.com/office/officeart/2005/8/layout/hChevron3"/>
    <dgm:cxn modelId="{3631B879-F5E6-3F41-A66D-AD3AA9702EE4}" srcId="{781F165F-88FD-0F49-BE5E-543C6AE3943A}" destId="{F1633484-F410-2049-89F6-2A52C17E2BA3}" srcOrd="1" destOrd="0" parTransId="{CD23FA30-E65A-E44D-BC53-47352EB50C35}" sibTransId="{A67590F1-B987-3746-B308-B8D98A49756B}"/>
    <dgm:cxn modelId="{86DFB58F-278C-0649-8828-2FC3B5C950C6}" type="presOf" srcId="{781F165F-88FD-0F49-BE5E-543C6AE3943A}" destId="{DC06D3F0-5939-3B40-BE38-69B6816FF1BC}" srcOrd="0" destOrd="0" presId="urn:microsoft.com/office/officeart/2005/8/layout/hChevron3"/>
    <dgm:cxn modelId="{F06B00AF-F195-7648-897A-E95D8BD34700}" type="presOf" srcId="{0237B2AD-8EFF-B34C-A3FB-1154414511F8}" destId="{A321AFAD-7A09-B44E-BB82-A6F453920C7D}" srcOrd="0" destOrd="0" presId="urn:microsoft.com/office/officeart/2005/8/layout/hChevron3"/>
    <dgm:cxn modelId="{FA0D96AF-8DB6-EE4F-AE6A-1957C94BF852}" srcId="{781F165F-88FD-0F49-BE5E-543C6AE3943A}" destId="{C635E773-73F4-C345-876F-EC49C0411170}" srcOrd="0" destOrd="0" parTransId="{B45208C6-8991-2B41-8692-AA509185E479}" sibTransId="{EA1D7F34-9907-924C-A925-0273FC50CAFF}"/>
    <dgm:cxn modelId="{A5DED3B7-3973-A94E-9A89-2879DA442BED}" srcId="{781F165F-88FD-0F49-BE5E-543C6AE3943A}" destId="{4AB4F7B6-F891-D148-ABF8-45A330A683E7}" srcOrd="2" destOrd="0" parTransId="{EE3424BD-59A7-CA41-85D8-E70F0B263D75}" sibTransId="{4056527B-BE44-2543-B068-3708481FF1DB}"/>
    <dgm:cxn modelId="{3A9560D5-0262-A647-A9A2-22F33C719DBE}" type="presOf" srcId="{F1633484-F410-2049-89F6-2A52C17E2BA3}" destId="{5D4AE62E-D122-E549-9FDE-C5A6579226E6}" srcOrd="0" destOrd="0" presId="urn:microsoft.com/office/officeart/2005/8/layout/hChevron3"/>
    <dgm:cxn modelId="{27BF22F6-587D-B242-8E62-E28AA2BF70DF}" type="presOf" srcId="{4AB4F7B6-F891-D148-ABF8-45A330A683E7}" destId="{37E9EE08-28DD-1043-85D6-6F389C61BA97}" srcOrd="0" destOrd="0" presId="urn:microsoft.com/office/officeart/2005/8/layout/hChevron3"/>
    <dgm:cxn modelId="{0A0FDD96-DBF8-DA4E-8F8A-F0220FA54057}" type="presParOf" srcId="{DC06D3F0-5939-3B40-BE38-69B6816FF1BC}" destId="{50EAD4B2-E716-D742-879F-CD20B48D44D7}" srcOrd="0" destOrd="0" presId="urn:microsoft.com/office/officeart/2005/8/layout/hChevron3"/>
    <dgm:cxn modelId="{4ACB4758-3BE7-104E-B1FC-4F65CC8BAFB5}" type="presParOf" srcId="{DC06D3F0-5939-3B40-BE38-69B6816FF1BC}" destId="{4606B817-F00B-414A-B82D-CF923619FEF1}" srcOrd="1" destOrd="0" presId="urn:microsoft.com/office/officeart/2005/8/layout/hChevron3"/>
    <dgm:cxn modelId="{4E1C7057-C10B-6C44-9364-39C8F41AF5D3}" type="presParOf" srcId="{DC06D3F0-5939-3B40-BE38-69B6816FF1BC}" destId="{5D4AE62E-D122-E549-9FDE-C5A6579226E6}" srcOrd="2" destOrd="0" presId="urn:microsoft.com/office/officeart/2005/8/layout/hChevron3"/>
    <dgm:cxn modelId="{C9EF5958-91D1-0C4E-BBCC-30C6B9E98A11}" type="presParOf" srcId="{DC06D3F0-5939-3B40-BE38-69B6816FF1BC}" destId="{1A42C200-678F-244F-8ED2-D5EB0B003BE6}" srcOrd="3" destOrd="0" presId="urn:microsoft.com/office/officeart/2005/8/layout/hChevron3"/>
    <dgm:cxn modelId="{22EF08E3-C507-794D-9AA4-5194ABC672D5}" type="presParOf" srcId="{DC06D3F0-5939-3B40-BE38-69B6816FF1BC}" destId="{37E9EE08-28DD-1043-85D6-6F389C61BA97}" srcOrd="4" destOrd="0" presId="urn:microsoft.com/office/officeart/2005/8/layout/hChevron3"/>
    <dgm:cxn modelId="{1F097187-981F-BC46-A33D-07610A96E8D6}" type="presParOf" srcId="{DC06D3F0-5939-3B40-BE38-69B6816FF1BC}" destId="{04965C53-6357-2A48-96C1-2BF8A7D297B5}" srcOrd="5" destOrd="0" presId="urn:microsoft.com/office/officeart/2005/8/layout/hChevron3"/>
    <dgm:cxn modelId="{848211E8-75B3-B54B-A3D9-AE2C4C7490FF}" type="presParOf" srcId="{DC06D3F0-5939-3B40-BE38-69B6816FF1BC}" destId="{A321AFAD-7A09-B44E-BB82-A6F453920C7D}" srcOrd="6" destOrd="0" presId="urn:microsoft.com/office/officeart/2005/8/layout/hChevron3"/>
    <dgm:cxn modelId="{0FE839CC-8251-C94A-B866-B3D5BC4FF374}" type="presParOf" srcId="{DC06D3F0-5939-3B40-BE38-69B6816FF1BC}" destId="{CC20E6BA-B6D8-B642-97CB-782BBC8EAFC8}" srcOrd="7" destOrd="0" presId="urn:microsoft.com/office/officeart/2005/8/layout/hChevron3"/>
    <dgm:cxn modelId="{050B84AD-E733-1E43-BA50-F4CC8A9B3DC0}" type="presParOf" srcId="{DC06D3F0-5939-3B40-BE38-69B6816FF1BC}" destId="{5F174EF4-47BF-034A-A5EF-AE2C38F44384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1F165F-88FD-0F49-BE5E-543C6AE3943A}" type="doc">
      <dgm:prSet loTypeId="urn:microsoft.com/office/officeart/2005/8/layout/hChevron3" loCatId="" qsTypeId="urn:microsoft.com/office/officeart/2005/8/quickstyle/simple1" qsCatId="simple" csTypeId="urn:microsoft.com/office/officeart/2005/8/colors/accent1_2" csCatId="accent1" phldr="1"/>
      <dgm:spPr/>
    </dgm:pt>
    <dgm:pt modelId="{F25FDE00-3150-7C40-802A-15F9D786E62A}">
      <dgm:prSet phldrT="[Text]"/>
      <dgm:spPr>
        <a:solidFill>
          <a:srgbClr val="036E3D"/>
        </a:solidFill>
        <a:ln>
          <a:noFill/>
        </a:ln>
      </dgm:spPr>
      <dgm:t>
        <a:bodyPr/>
        <a:lstStyle/>
        <a:p>
          <a:endParaRPr lang="en-US"/>
        </a:p>
      </dgm:t>
    </dgm:pt>
    <dgm:pt modelId="{720D6F4F-0792-DB4E-9628-D6C7D483B106}" type="parTrans" cxnId="{D146952A-992B-9E42-950C-4AC59B760E13}">
      <dgm:prSet/>
      <dgm:spPr/>
      <dgm:t>
        <a:bodyPr/>
        <a:lstStyle/>
        <a:p>
          <a:endParaRPr lang="en-US"/>
        </a:p>
      </dgm:t>
    </dgm:pt>
    <dgm:pt modelId="{D466D50F-E9A4-5942-AEBC-16FD4AB72BA9}" type="sibTrans" cxnId="{D146952A-992B-9E42-950C-4AC59B760E13}">
      <dgm:prSet/>
      <dgm:spPr/>
      <dgm:t>
        <a:bodyPr/>
        <a:lstStyle/>
        <a:p>
          <a:endParaRPr lang="en-US"/>
        </a:p>
      </dgm:t>
    </dgm:pt>
    <dgm:pt modelId="{C635E773-73F4-C345-876F-EC49C0411170}">
      <dgm:prSet phldrT="[Text]"/>
      <dgm:spPr>
        <a:solidFill>
          <a:srgbClr val="24A558"/>
        </a:solidFill>
        <a:ln>
          <a:solidFill>
            <a:srgbClr val="29A457"/>
          </a:solidFill>
        </a:ln>
      </dgm:spPr>
      <dgm:t>
        <a:bodyPr/>
        <a:lstStyle/>
        <a:p>
          <a:endParaRPr lang="en-US"/>
        </a:p>
      </dgm:t>
    </dgm:pt>
    <dgm:pt modelId="{EA1D7F34-9907-924C-A925-0273FC50CAFF}" type="sibTrans" cxnId="{FA0D96AF-8DB6-EE4F-AE6A-1957C94BF852}">
      <dgm:prSet/>
      <dgm:spPr/>
      <dgm:t>
        <a:bodyPr/>
        <a:lstStyle/>
        <a:p>
          <a:endParaRPr lang="en-US"/>
        </a:p>
      </dgm:t>
    </dgm:pt>
    <dgm:pt modelId="{B45208C6-8991-2B41-8692-AA509185E479}" type="parTrans" cxnId="{FA0D96AF-8DB6-EE4F-AE6A-1957C94BF852}">
      <dgm:prSet/>
      <dgm:spPr/>
      <dgm:t>
        <a:bodyPr/>
        <a:lstStyle/>
        <a:p>
          <a:endParaRPr lang="en-US"/>
        </a:p>
      </dgm:t>
    </dgm:pt>
    <dgm:pt modelId="{F1633484-F410-2049-89F6-2A52C17E2BA3}">
      <dgm:prSet phldrT="[Text]"/>
      <dgm:spPr>
        <a:solidFill>
          <a:srgbClr val="1D964B"/>
        </a:solidFill>
        <a:ln>
          <a:noFill/>
        </a:ln>
      </dgm:spPr>
      <dgm:t>
        <a:bodyPr/>
        <a:lstStyle/>
        <a:p>
          <a:endParaRPr lang="en-US"/>
        </a:p>
      </dgm:t>
    </dgm:pt>
    <dgm:pt modelId="{A67590F1-B987-3746-B308-B8D98A49756B}" type="sibTrans" cxnId="{3631B879-F5E6-3F41-A66D-AD3AA9702EE4}">
      <dgm:prSet/>
      <dgm:spPr/>
      <dgm:t>
        <a:bodyPr/>
        <a:lstStyle/>
        <a:p>
          <a:endParaRPr lang="en-US"/>
        </a:p>
      </dgm:t>
    </dgm:pt>
    <dgm:pt modelId="{CD23FA30-E65A-E44D-BC53-47352EB50C35}" type="parTrans" cxnId="{3631B879-F5E6-3F41-A66D-AD3AA9702EE4}">
      <dgm:prSet/>
      <dgm:spPr/>
      <dgm:t>
        <a:bodyPr/>
        <a:lstStyle/>
        <a:p>
          <a:endParaRPr lang="en-US"/>
        </a:p>
      </dgm:t>
    </dgm:pt>
    <dgm:pt modelId="{4AB4F7B6-F891-D148-ABF8-45A330A683E7}">
      <dgm:prSet phldrT="[Text]"/>
      <dgm:spPr>
        <a:solidFill>
          <a:srgbClr val="198C44"/>
        </a:solidFill>
        <a:ln>
          <a:noFill/>
        </a:ln>
      </dgm:spPr>
      <dgm:t>
        <a:bodyPr/>
        <a:lstStyle/>
        <a:p>
          <a:endParaRPr lang="en-US"/>
        </a:p>
      </dgm:t>
    </dgm:pt>
    <dgm:pt modelId="{4056527B-BE44-2543-B068-3708481FF1DB}" type="sibTrans" cxnId="{A5DED3B7-3973-A94E-9A89-2879DA442BED}">
      <dgm:prSet/>
      <dgm:spPr/>
      <dgm:t>
        <a:bodyPr/>
        <a:lstStyle/>
        <a:p>
          <a:endParaRPr lang="en-US"/>
        </a:p>
      </dgm:t>
    </dgm:pt>
    <dgm:pt modelId="{EE3424BD-59A7-CA41-85D8-E70F0B263D75}" type="parTrans" cxnId="{A5DED3B7-3973-A94E-9A89-2879DA442BED}">
      <dgm:prSet/>
      <dgm:spPr/>
      <dgm:t>
        <a:bodyPr/>
        <a:lstStyle/>
        <a:p>
          <a:endParaRPr lang="en-US"/>
        </a:p>
      </dgm:t>
    </dgm:pt>
    <dgm:pt modelId="{0237B2AD-8EFF-B34C-A3FB-1154414511F8}">
      <dgm:prSet phldrT="[Text]"/>
      <dgm:spPr>
        <a:solidFill>
          <a:srgbClr val="037A42"/>
        </a:solidFill>
        <a:ln>
          <a:noFill/>
        </a:ln>
      </dgm:spPr>
      <dgm:t>
        <a:bodyPr/>
        <a:lstStyle/>
        <a:p>
          <a:endParaRPr lang="en-US"/>
        </a:p>
      </dgm:t>
    </dgm:pt>
    <dgm:pt modelId="{0CC06259-4754-0C4E-8A8E-EAEF15EFDF71}" type="sibTrans" cxnId="{A418181B-195F-C540-A70E-33DD1BB18438}">
      <dgm:prSet/>
      <dgm:spPr/>
      <dgm:t>
        <a:bodyPr/>
        <a:lstStyle/>
        <a:p>
          <a:endParaRPr lang="en-US"/>
        </a:p>
      </dgm:t>
    </dgm:pt>
    <dgm:pt modelId="{D624C5D0-33DF-2C47-8B35-75619E60B953}" type="parTrans" cxnId="{A418181B-195F-C540-A70E-33DD1BB18438}">
      <dgm:prSet/>
      <dgm:spPr/>
      <dgm:t>
        <a:bodyPr/>
        <a:lstStyle/>
        <a:p>
          <a:endParaRPr lang="en-US"/>
        </a:p>
      </dgm:t>
    </dgm:pt>
    <dgm:pt modelId="{DC06D3F0-5939-3B40-BE38-69B6816FF1BC}" type="pres">
      <dgm:prSet presAssocID="{781F165F-88FD-0F49-BE5E-543C6AE3943A}" presName="Name0" presStyleCnt="0">
        <dgm:presLayoutVars>
          <dgm:dir/>
          <dgm:resizeHandles val="exact"/>
        </dgm:presLayoutVars>
      </dgm:prSet>
      <dgm:spPr/>
    </dgm:pt>
    <dgm:pt modelId="{50EAD4B2-E716-D742-879F-CD20B48D44D7}" type="pres">
      <dgm:prSet presAssocID="{C635E773-73F4-C345-876F-EC49C0411170}" presName="parTxOnly" presStyleLbl="node1" presStyleIdx="0" presStyleCnt="5" custScaleY="74745">
        <dgm:presLayoutVars>
          <dgm:bulletEnabled val="1"/>
        </dgm:presLayoutVars>
      </dgm:prSet>
      <dgm:spPr/>
    </dgm:pt>
    <dgm:pt modelId="{4606B817-F00B-414A-B82D-CF923619FEF1}" type="pres">
      <dgm:prSet presAssocID="{EA1D7F34-9907-924C-A925-0273FC50CAFF}" presName="parSpace" presStyleCnt="0"/>
      <dgm:spPr/>
    </dgm:pt>
    <dgm:pt modelId="{5D4AE62E-D122-E549-9FDE-C5A6579226E6}" type="pres">
      <dgm:prSet presAssocID="{F1633484-F410-2049-89F6-2A52C17E2BA3}" presName="parTxOnly" presStyleLbl="node1" presStyleIdx="1" presStyleCnt="5">
        <dgm:presLayoutVars>
          <dgm:bulletEnabled val="1"/>
        </dgm:presLayoutVars>
      </dgm:prSet>
      <dgm:spPr/>
    </dgm:pt>
    <dgm:pt modelId="{1A42C200-678F-244F-8ED2-D5EB0B003BE6}" type="pres">
      <dgm:prSet presAssocID="{A67590F1-B987-3746-B308-B8D98A49756B}" presName="parSpace" presStyleCnt="0"/>
      <dgm:spPr/>
    </dgm:pt>
    <dgm:pt modelId="{37E9EE08-28DD-1043-85D6-6F389C61BA97}" type="pres">
      <dgm:prSet presAssocID="{4AB4F7B6-F891-D148-ABF8-45A330A683E7}" presName="parTxOnly" presStyleLbl="node1" presStyleIdx="2" presStyleCnt="5">
        <dgm:presLayoutVars>
          <dgm:bulletEnabled val="1"/>
        </dgm:presLayoutVars>
      </dgm:prSet>
      <dgm:spPr/>
    </dgm:pt>
    <dgm:pt modelId="{04965C53-6357-2A48-96C1-2BF8A7D297B5}" type="pres">
      <dgm:prSet presAssocID="{4056527B-BE44-2543-B068-3708481FF1DB}" presName="parSpace" presStyleCnt="0"/>
      <dgm:spPr/>
    </dgm:pt>
    <dgm:pt modelId="{A321AFAD-7A09-B44E-BB82-A6F453920C7D}" type="pres">
      <dgm:prSet presAssocID="{0237B2AD-8EFF-B34C-A3FB-1154414511F8}" presName="parTxOnly" presStyleLbl="node1" presStyleIdx="3" presStyleCnt="5">
        <dgm:presLayoutVars>
          <dgm:bulletEnabled val="1"/>
        </dgm:presLayoutVars>
      </dgm:prSet>
      <dgm:spPr/>
    </dgm:pt>
    <dgm:pt modelId="{CC20E6BA-B6D8-B642-97CB-782BBC8EAFC8}" type="pres">
      <dgm:prSet presAssocID="{0CC06259-4754-0C4E-8A8E-EAEF15EFDF71}" presName="parSpace" presStyleCnt="0"/>
      <dgm:spPr/>
    </dgm:pt>
    <dgm:pt modelId="{5F174EF4-47BF-034A-A5EF-AE2C38F44384}" type="pres">
      <dgm:prSet presAssocID="{F25FDE00-3150-7C40-802A-15F9D786E62A}" presName="parTxOnly" presStyleLbl="node1" presStyleIdx="4" presStyleCnt="5">
        <dgm:presLayoutVars>
          <dgm:bulletEnabled val="1"/>
        </dgm:presLayoutVars>
      </dgm:prSet>
      <dgm:spPr/>
    </dgm:pt>
  </dgm:ptLst>
  <dgm:cxnLst>
    <dgm:cxn modelId="{F4CC0614-8BEF-8247-B3EC-3ED665669DEA}" type="presOf" srcId="{F25FDE00-3150-7C40-802A-15F9D786E62A}" destId="{5F174EF4-47BF-034A-A5EF-AE2C38F44384}" srcOrd="0" destOrd="0" presId="urn:microsoft.com/office/officeart/2005/8/layout/hChevron3"/>
    <dgm:cxn modelId="{A418181B-195F-C540-A70E-33DD1BB18438}" srcId="{781F165F-88FD-0F49-BE5E-543C6AE3943A}" destId="{0237B2AD-8EFF-B34C-A3FB-1154414511F8}" srcOrd="3" destOrd="0" parTransId="{D624C5D0-33DF-2C47-8B35-75619E60B953}" sibTransId="{0CC06259-4754-0C4E-8A8E-EAEF15EFDF71}"/>
    <dgm:cxn modelId="{D146952A-992B-9E42-950C-4AC59B760E13}" srcId="{781F165F-88FD-0F49-BE5E-543C6AE3943A}" destId="{F25FDE00-3150-7C40-802A-15F9D786E62A}" srcOrd="4" destOrd="0" parTransId="{720D6F4F-0792-DB4E-9628-D6C7D483B106}" sibTransId="{D466D50F-E9A4-5942-AEBC-16FD4AB72BA9}"/>
    <dgm:cxn modelId="{CC47F536-0801-0E4D-A6FE-019FC57311FF}" type="presOf" srcId="{C635E773-73F4-C345-876F-EC49C0411170}" destId="{50EAD4B2-E716-D742-879F-CD20B48D44D7}" srcOrd="0" destOrd="0" presId="urn:microsoft.com/office/officeart/2005/8/layout/hChevron3"/>
    <dgm:cxn modelId="{3631B879-F5E6-3F41-A66D-AD3AA9702EE4}" srcId="{781F165F-88FD-0F49-BE5E-543C6AE3943A}" destId="{F1633484-F410-2049-89F6-2A52C17E2BA3}" srcOrd="1" destOrd="0" parTransId="{CD23FA30-E65A-E44D-BC53-47352EB50C35}" sibTransId="{A67590F1-B987-3746-B308-B8D98A49756B}"/>
    <dgm:cxn modelId="{86DFB58F-278C-0649-8828-2FC3B5C950C6}" type="presOf" srcId="{781F165F-88FD-0F49-BE5E-543C6AE3943A}" destId="{DC06D3F0-5939-3B40-BE38-69B6816FF1BC}" srcOrd="0" destOrd="0" presId="urn:microsoft.com/office/officeart/2005/8/layout/hChevron3"/>
    <dgm:cxn modelId="{F06B00AF-F195-7648-897A-E95D8BD34700}" type="presOf" srcId="{0237B2AD-8EFF-B34C-A3FB-1154414511F8}" destId="{A321AFAD-7A09-B44E-BB82-A6F453920C7D}" srcOrd="0" destOrd="0" presId="urn:microsoft.com/office/officeart/2005/8/layout/hChevron3"/>
    <dgm:cxn modelId="{FA0D96AF-8DB6-EE4F-AE6A-1957C94BF852}" srcId="{781F165F-88FD-0F49-BE5E-543C6AE3943A}" destId="{C635E773-73F4-C345-876F-EC49C0411170}" srcOrd="0" destOrd="0" parTransId="{B45208C6-8991-2B41-8692-AA509185E479}" sibTransId="{EA1D7F34-9907-924C-A925-0273FC50CAFF}"/>
    <dgm:cxn modelId="{A5DED3B7-3973-A94E-9A89-2879DA442BED}" srcId="{781F165F-88FD-0F49-BE5E-543C6AE3943A}" destId="{4AB4F7B6-F891-D148-ABF8-45A330A683E7}" srcOrd="2" destOrd="0" parTransId="{EE3424BD-59A7-CA41-85D8-E70F0B263D75}" sibTransId="{4056527B-BE44-2543-B068-3708481FF1DB}"/>
    <dgm:cxn modelId="{3A9560D5-0262-A647-A9A2-22F33C719DBE}" type="presOf" srcId="{F1633484-F410-2049-89F6-2A52C17E2BA3}" destId="{5D4AE62E-D122-E549-9FDE-C5A6579226E6}" srcOrd="0" destOrd="0" presId="urn:microsoft.com/office/officeart/2005/8/layout/hChevron3"/>
    <dgm:cxn modelId="{27BF22F6-587D-B242-8E62-E28AA2BF70DF}" type="presOf" srcId="{4AB4F7B6-F891-D148-ABF8-45A330A683E7}" destId="{37E9EE08-28DD-1043-85D6-6F389C61BA97}" srcOrd="0" destOrd="0" presId="urn:microsoft.com/office/officeart/2005/8/layout/hChevron3"/>
    <dgm:cxn modelId="{0A0FDD96-DBF8-DA4E-8F8A-F0220FA54057}" type="presParOf" srcId="{DC06D3F0-5939-3B40-BE38-69B6816FF1BC}" destId="{50EAD4B2-E716-D742-879F-CD20B48D44D7}" srcOrd="0" destOrd="0" presId="urn:microsoft.com/office/officeart/2005/8/layout/hChevron3"/>
    <dgm:cxn modelId="{4ACB4758-3BE7-104E-B1FC-4F65CC8BAFB5}" type="presParOf" srcId="{DC06D3F0-5939-3B40-BE38-69B6816FF1BC}" destId="{4606B817-F00B-414A-B82D-CF923619FEF1}" srcOrd="1" destOrd="0" presId="urn:microsoft.com/office/officeart/2005/8/layout/hChevron3"/>
    <dgm:cxn modelId="{4E1C7057-C10B-6C44-9364-39C8F41AF5D3}" type="presParOf" srcId="{DC06D3F0-5939-3B40-BE38-69B6816FF1BC}" destId="{5D4AE62E-D122-E549-9FDE-C5A6579226E6}" srcOrd="2" destOrd="0" presId="urn:microsoft.com/office/officeart/2005/8/layout/hChevron3"/>
    <dgm:cxn modelId="{C9EF5958-91D1-0C4E-BBCC-30C6B9E98A11}" type="presParOf" srcId="{DC06D3F0-5939-3B40-BE38-69B6816FF1BC}" destId="{1A42C200-678F-244F-8ED2-D5EB0B003BE6}" srcOrd="3" destOrd="0" presId="urn:microsoft.com/office/officeart/2005/8/layout/hChevron3"/>
    <dgm:cxn modelId="{22EF08E3-C507-794D-9AA4-5194ABC672D5}" type="presParOf" srcId="{DC06D3F0-5939-3B40-BE38-69B6816FF1BC}" destId="{37E9EE08-28DD-1043-85D6-6F389C61BA97}" srcOrd="4" destOrd="0" presId="urn:microsoft.com/office/officeart/2005/8/layout/hChevron3"/>
    <dgm:cxn modelId="{1F097187-981F-BC46-A33D-07610A96E8D6}" type="presParOf" srcId="{DC06D3F0-5939-3B40-BE38-69B6816FF1BC}" destId="{04965C53-6357-2A48-96C1-2BF8A7D297B5}" srcOrd="5" destOrd="0" presId="urn:microsoft.com/office/officeart/2005/8/layout/hChevron3"/>
    <dgm:cxn modelId="{848211E8-75B3-B54B-A3D9-AE2C4C7490FF}" type="presParOf" srcId="{DC06D3F0-5939-3B40-BE38-69B6816FF1BC}" destId="{A321AFAD-7A09-B44E-BB82-A6F453920C7D}" srcOrd="6" destOrd="0" presId="urn:microsoft.com/office/officeart/2005/8/layout/hChevron3"/>
    <dgm:cxn modelId="{0FE839CC-8251-C94A-B866-B3D5BC4FF374}" type="presParOf" srcId="{DC06D3F0-5939-3B40-BE38-69B6816FF1BC}" destId="{CC20E6BA-B6D8-B642-97CB-782BBC8EAFC8}" srcOrd="7" destOrd="0" presId="urn:microsoft.com/office/officeart/2005/8/layout/hChevron3"/>
    <dgm:cxn modelId="{050B84AD-E733-1E43-BA50-F4CC8A9B3DC0}" type="presParOf" srcId="{DC06D3F0-5939-3B40-BE38-69B6816FF1BC}" destId="{5F174EF4-47BF-034A-A5EF-AE2C38F44384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81F165F-88FD-0F49-BE5E-543C6AE3943A}" type="doc">
      <dgm:prSet loTypeId="urn:microsoft.com/office/officeart/2005/8/layout/hChevron3" loCatId="" qsTypeId="urn:microsoft.com/office/officeart/2005/8/quickstyle/simple1" qsCatId="simple" csTypeId="urn:microsoft.com/office/officeart/2005/8/colors/accent1_2" csCatId="accent1" phldr="1"/>
      <dgm:spPr/>
    </dgm:pt>
    <dgm:pt modelId="{F25FDE00-3150-7C40-802A-15F9D786E62A}">
      <dgm:prSet phldrT="[Text]"/>
      <dgm:spPr>
        <a:solidFill>
          <a:srgbClr val="036E3D"/>
        </a:solidFill>
        <a:ln>
          <a:noFill/>
        </a:ln>
      </dgm:spPr>
      <dgm:t>
        <a:bodyPr/>
        <a:lstStyle/>
        <a:p>
          <a:endParaRPr lang="en-US"/>
        </a:p>
      </dgm:t>
    </dgm:pt>
    <dgm:pt modelId="{720D6F4F-0792-DB4E-9628-D6C7D483B106}" type="parTrans" cxnId="{D146952A-992B-9E42-950C-4AC59B760E13}">
      <dgm:prSet/>
      <dgm:spPr/>
      <dgm:t>
        <a:bodyPr/>
        <a:lstStyle/>
        <a:p>
          <a:endParaRPr lang="en-US"/>
        </a:p>
      </dgm:t>
    </dgm:pt>
    <dgm:pt modelId="{D466D50F-E9A4-5942-AEBC-16FD4AB72BA9}" type="sibTrans" cxnId="{D146952A-992B-9E42-950C-4AC59B760E13}">
      <dgm:prSet/>
      <dgm:spPr/>
      <dgm:t>
        <a:bodyPr/>
        <a:lstStyle/>
        <a:p>
          <a:endParaRPr lang="en-US"/>
        </a:p>
      </dgm:t>
    </dgm:pt>
    <dgm:pt modelId="{C635E773-73F4-C345-876F-EC49C0411170}">
      <dgm:prSet phldrT="[Text]"/>
      <dgm:spPr>
        <a:solidFill>
          <a:srgbClr val="24A558"/>
        </a:solidFill>
        <a:ln>
          <a:solidFill>
            <a:srgbClr val="29A457"/>
          </a:solidFill>
        </a:ln>
      </dgm:spPr>
      <dgm:t>
        <a:bodyPr/>
        <a:lstStyle/>
        <a:p>
          <a:endParaRPr lang="en-US"/>
        </a:p>
      </dgm:t>
    </dgm:pt>
    <dgm:pt modelId="{EA1D7F34-9907-924C-A925-0273FC50CAFF}" type="sibTrans" cxnId="{FA0D96AF-8DB6-EE4F-AE6A-1957C94BF852}">
      <dgm:prSet/>
      <dgm:spPr/>
      <dgm:t>
        <a:bodyPr/>
        <a:lstStyle/>
        <a:p>
          <a:endParaRPr lang="en-US"/>
        </a:p>
      </dgm:t>
    </dgm:pt>
    <dgm:pt modelId="{B45208C6-8991-2B41-8692-AA509185E479}" type="parTrans" cxnId="{FA0D96AF-8DB6-EE4F-AE6A-1957C94BF852}">
      <dgm:prSet/>
      <dgm:spPr/>
      <dgm:t>
        <a:bodyPr/>
        <a:lstStyle/>
        <a:p>
          <a:endParaRPr lang="en-US"/>
        </a:p>
      </dgm:t>
    </dgm:pt>
    <dgm:pt modelId="{F1633484-F410-2049-89F6-2A52C17E2BA3}">
      <dgm:prSet phldrT="[Text]"/>
      <dgm:spPr>
        <a:solidFill>
          <a:srgbClr val="1D964B"/>
        </a:solidFill>
        <a:ln>
          <a:noFill/>
        </a:ln>
      </dgm:spPr>
      <dgm:t>
        <a:bodyPr/>
        <a:lstStyle/>
        <a:p>
          <a:endParaRPr lang="en-US"/>
        </a:p>
      </dgm:t>
    </dgm:pt>
    <dgm:pt modelId="{A67590F1-B987-3746-B308-B8D98A49756B}" type="sibTrans" cxnId="{3631B879-F5E6-3F41-A66D-AD3AA9702EE4}">
      <dgm:prSet/>
      <dgm:spPr/>
      <dgm:t>
        <a:bodyPr/>
        <a:lstStyle/>
        <a:p>
          <a:endParaRPr lang="en-US"/>
        </a:p>
      </dgm:t>
    </dgm:pt>
    <dgm:pt modelId="{CD23FA30-E65A-E44D-BC53-47352EB50C35}" type="parTrans" cxnId="{3631B879-F5E6-3F41-A66D-AD3AA9702EE4}">
      <dgm:prSet/>
      <dgm:spPr/>
      <dgm:t>
        <a:bodyPr/>
        <a:lstStyle/>
        <a:p>
          <a:endParaRPr lang="en-US"/>
        </a:p>
      </dgm:t>
    </dgm:pt>
    <dgm:pt modelId="{4AB4F7B6-F891-D148-ABF8-45A330A683E7}">
      <dgm:prSet phldrT="[Text]"/>
      <dgm:spPr>
        <a:solidFill>
          <a:srgbClr val="198C44"/>
        </a:solidFill>
        <a:ln>
          <a:noFill/>
        </a:ln>
      </dgm:spPr>
      <dgm:t>
        <a:bodyPr/>
        <a:lstStyle/>
        <a:p>
          <a:endParaRPr lang="en-US"/>
        </a:p>
      </dgm:t>
    </dgm:pt>
    <dgm:pt modelId="{4056527B-BE44-2543-B068-3708481FF1DB}" type="sibTrans" cxnId="{A5DED3B7-3973-A94E-9A89-2879DA442BED}">
      <dgm:prSet/>
      <dgm:spPr/>
      <dgm:t>
        <a:bodyPr/>
        <a:lstStyle/>
        <a:p>
          <a:endParaRPr lang="en-US"/>
        </a:p>
      </dgm:t>
    </dgm:pt>
    <dgm:pt modelId="{EE3424BD-59A7-CA41-85D8-E70F0B263D75}" type="parTrans" cxnId="{A5DED3B7-3973-A94E-9A89-2879DA442BED}">
      <dgm:prSet/>
      <dgm:spPr/>
      <dgm:t>
        <a:bodyPr/>
        <a:lstStyle/>
        <a:p>
          <a:endParaRPr lang="en-US"/>
        </a:p>
      </dgm:t>
    </dgm:pt>
    <dgm:pt modelId="{0237B2AD-8EFF-B34C-A3FB-1154414511F8}">
      <dgm:prSet phldrT="[Text]"/>
      <dgm:spPr>
        <a:solidFill>
          <a:srgbClr val="037A42"/>
        </a:solidFill>
        <a:ln>
          <a:noFill/>
        </a:ln>
      </dgm:spPr>
      <dgm:t>
        <a:bodyPr/>
        <a:lstStyle/>
        <a:p>
          <a:endParaRPr lang="en-US"/>
        </a:p>
      </dgm:t>
    </dgm:pt>
    <dgm:pt modelId="{0CC06259-4754-0C4E-8A8E-EAEF15EFDF71}" type="sibTrans" cxnId="{A418181B-195F-C540-A70E-33DD1BB18438}">
      <dgm:prSet/>
      <dgm:spPr/>
      <dgm:t>
        <a:bodyPr/>
        <a:lstStyle/>
        <a:p>
          <a:endParaRPr lang="en-US"/>
        </a:p>
      </dgm:t>
    </dgm:pt>
    <dgm:pt modelId="{D624C5D0-33DF-2C47-8B35-75619E60B953}" type="parTrans" cxnId="{A418181B-195F-C540-A70E-33DD1BB18438}">
      <dgm:prSet/>
      <dgm:spPr/>
      <dgm:t>
        <a:bodyPr/>
        <a:lstStyle/>
        <a:p>
          <a:endParaRPr lang="en-US"/>
        </a:p>
      </dgm:t>
    </dgm:pt>
    <dgm:pt modelId="{DC06D3F0-5939-3B40-BE38-69B6816FF1BC}" type="pres">
      <dgm:prSet presAssocID="{781F165F-88FD-0F49-BE5E-543C6AE3943A}" presName="Name0" presStyleCnt="0">
        <dgm:presLayoutVars>
          <dgm:dir/>
          <dgm:resizeHandles val="exact"/>
        </dgm:presLayoutVars>
      </dgm:prSet>
      <dgm:spPr/>
    </dgm:pt>
    <dgm:pt modelId="{50EAD4B2-E716-D742-879F-CD20B48D44D7}" type="pres">
      <dgm:prSet presAssocID="{C635E773-73F4-C345-876F-EC49C0411170}" presName="parTxOnly" presStyleLbl="node1" presStyleIdx="0" presStyleCnt="5" custScaleY="74745">
        <dgm:presLayoutVars>
          <dgm:bulletEnabled val="1"/>
        </dgm:presLayoutVars>
      </dgm:prSet>
      <dgm:spPr/>
    </dgm:pt>
    <dgm:pt modelId="{4606B817-F00B-414A-B82D-CF923619FEF1}" type="pres">
      <dgm:prSet presAssocID="{EA1D7F34-9907-924C-A925-0273FC50CAFF}" presName="parSpace" presStyleCnt="0"/>
      <dgm:spPr/>
    </dgm:pt>
    <dgm:pt modelId="{5D4AE62E-D122-E549-9FDE-C5A6579226E6}" type="pres">
      <dgm:prSet presAssocID="{F1633484-F410-2049-89F6-2A52C17E2BA3}" presName="parTxOnly" presStyleLbl="node1" presStyleIdx="1" presStyleCnt="5">
        <dgm:presLayoutVars>
          <dgm:bulletEnabled val="1"/>
        </dgm:presLayoutVars>
      </dgm:prSet>
      <dgm:spPr/>
    </dgm:pt>
    <dgm:pt modelId="{1A42C200-678F-244F-8ED2-D5EB0B003BE6}" type="pres">
      <dgm:prSet presAssocID="{A67590F1-B987-3746-B308-B8D98A49756B}" presName="parSpace" presStyleCnt="0"/>
      <dgm:spPr/>
    </dgm:pt>
    <dgm:pt modelId="{37E9EE08-28DD-1043-85D6-6F389C61BA97}" type="pres">
      <dgm:prSet presAssocID="{4AB4F7B6-F891-D148-ABF8-45A330A683E7}" presName="parTxOnly" presStyleLbl="node1" presStyleIdx="2" presStyleCnt="5">
        <dgm:presLayoutVars>
          <dgm:bulletEnabled val="1"/>
        </dgm:presLayoutVars>
      </dgm:prSet>
      <dgm:spPr/>
    </dgm:pt>
    <dgm:pt modelId="{04965C53-6357-2A48-96C1-2BF8A7D297B5}" type="pres">
      <dgm:prSet presAssocID="{4056527B-BE44-2543-B068-3708481FF1DB}" presName="parSpace" presStyleCnt="0"/>
      <dgm:spPr/>
    </dgm:pt>
    <dgm:pt modelId="{A321AFAD-7A09-B44E-BB82-A6F453920C7D}" type="pres">
      <dgm:prSet presAssocID="{0237B2AD-8EFF-B34C-A3FB-1154414511F8}" presName="parTxOnly" presStyleLbl="node1" presStyleIdx="3" presStyleCnt="5">
        <dgm:presLayoutVars>
          <dgm:bulletEnabled val="1"/>
        </dgm:presLayoutVars>
      </dgm:prSet>
      <dgm:spPr/>
    </dgm:pt>
    <dgm:pt modelId="{CC20E6BA-B6D8-B642-97CB-782BBC8EAFC8}" type="pres">
      <dgm:prSet presAssocID="{0CC06259-4754-0C4E-8A8E-EAEF15EFDF71}" presName="parSpace" presStyleCnt="0"/>
      <dgm:spPr/>
    </dgm:pt>
    <dgm:pt modelId="{5F174EF4-47BF-034A-A5EF-AE2C38F44384}" type="pres">
      <dgm:prSet presAssocID="{F25FDE00-3150-7C40-802A-15F9D786E62A}" presName="parTxOnly" presStyleLbl="node1" presStyleIdx="4" presStyleCnt="5">
        <dgm:presLayoutVars>
          <dgm:bulletEnabled val="1"/>
        </dgm:presLayoutVars>
      </dgm:prSet>
      <dgm:spPr/>
    </dgm:pt>
  </dgm:ptLst>
  <dgm:cxnLst>
    <dgm:cxn modelId="{F4CC0614-8BEF-8247-B3EC-3ED665669DEA}" type="presOf" srcId="{F25FDE00-3150-7C40-802A-15F9D786E62A}" destId="{5F174EF4-47BF-034A-A5EF-AE2C38F44384}" srcOrd="0" destOrd="0" presId="urn:microsoft.com/office/officeart/2005/8/layout/hChevron3"/>
    <dgm:cxn modelId="{A418181B-195F-C540-A70E-33DD1BB18438}" srcId="{781F165F-88FD-0F49-BE5E-543C6AE3943A}" destId="{0237B2AD-8EFF-B34C-A3FB-1154414511F8}" srcOrd="3" destOrd="0" parTransId="{D624C5D0-33DF-2C47-8B35-75619E60B953}" sibTransId="{0CC06259-4754-0C4E-8A8E-EAEF15EFDF71}"/>
    <dgm:cxn modelId="{D146952A-992B-9E42-950C-4AC59B760E13}" srcId="{781F165F-88FD-0F49-BE5E-543C6AE3943A}" destId="{F25FDE00-3150-7C40-802A-15F9D786E62A}" srcOrd="4" destOrd="0" parTransId="{720D6F4F-0792-DB4E-9628-D6C7D483B106}" sibTransId="{D466D50F-E9A4-5942-AEBC-16FD4AB72BA9}"/>
    <dgm:cxn modelId="{CC47F536-0801-0E4D-A6FE-019FC57311FF}" type="presOf" srcId="{C635E773-73F4-C345-876F-EC49C0411170}" destId="{50EAD4B2-E716-D742-879F-CD20B48D44D7}" srcOrd="0" destOrd="0" presId="urn:microsoft.com/office/officeart/2005/8/layout/hChevron3"/>
    <dgm:cxn modelId="{3631B879-F5E6-3F41-A66D-AD3AA9702EE4}" srcId="{781F165F-88FD-0F49-BE5E-543C6AE3943A}" destId="{F1633484-F410-2049-89F6-2A52C17E2BA3}" srcOrd="1" destOrd="0" parTransId="{CD23FA30-E65A-E44D-BC53-47352EB50C35}" sibTransId="{A67590F1-B987-3746-B308-B8D98A49756B}"/>
    <dgm:cxn modelId="{86DFB58F-278C-0649-8828-2FC3B5C950C6}" type="presOf" srcId="{781F165F-88FD-0F49-BE5E-543C6AE3943A}" destId="{DC06D3F0-5939-3B40-BE38-69B6816FF1BC}" srcOrd="0" destOrd="0" presId="urn:microsoft.com/office/officeart/2005/8/layout/hChevron3"/>
    <dgm:cxn modelId="{F06B00AF-F195-7648-897A-E95D8BD34700}" type="presOf" srcId="{0237B2AD-8EFF-B34C-A3FB-1154414511F8}" destId="{A321AFAD-7A09-B44E-BB82-A6F453920C7D}" srcOrd="0" destOrd="0" presId="urn:microsoft.com/office/officeart/2005/8/layout/hChevron3"/>
    <dgm:cxn modelId="{FA0D96AF-8DB6-EE4F-AE6A-1957C94BF852}" srcId="{781F165F-88FD-0F49-BE5E-543C6AE3943A}" destId="{C635E773-73F4-C345-876F-EC49C0411170}" srcOrd="0" destOrd="0" parTransId="{B45208C6-8991-2B41-8692-AA509185E479}" sibTransId="{EA1D7F34-9907-924C-A925-0273FC50CAFF}"/>
    <dgm:cxn modelId="{A5DED3B7-3973-A94E-9A89-2879DA442BED}" srcId="{781F165F-88FD-0F49-BE5E-543C6AE3943A}" destId="{4AB4F7B6-F891-D148-ABF8-45A330A683E7}" srcOrd="2" destOrd="0" parTransId="{EE3424BD-59A7-CA41-85D8-E70F0B263D75}" sibTransId="{4056527B-BE44-2543-B068-3708481FF1DB}"/>
    <dgm:cxn modelId="{3A9560D5-0262-A647-A9A2-22F33C719DBE}" type="presOf" srcId="{F1633484-F410-2049-89F6-2A52C17E2BA3}" destId="{5D4AE62E-D122-E549-9FDE-C5A6579226E6}" srcOrd="0" destOrd="0" presId="urn:microsoft.com/office/officeart/2005/8/layout/hChevron3"/>
    <dgm:cxn modelId="{27BF22F6-587D-B242-8E62-E28AA2BF70DF}" type="presOf" srcId="{4AB4F7B6-F891-D148-ABF8-45A330A683E7}" destId="{37E9EE08-28DD-1043-85D6-6F389C61BA97}" srcOrd="0" destOrd="0" presId="urn:microsoft.com/office/officeart/2005/8/layout/hChevron3"/>
    <dgm:cxn modelId="{0A0FDD96-DBF8-DA4E-8F8A-F0220FA54057}" type="presParOf" srcId="{DC06D3F0-5939-3B40-BE38-69B6816FF1BC}" destId="{50EAD4B2-E716-D742-879F-CD20B48D44D7}" srcOrd="0" destOrd="0" presId="urn:microsoft.com/office/officeart/2005/8/layout/hChevron3"/>
    <dgm:cxn modelId="{4ACB4758-3BE7-104E-B1FC-4F65CC8BAFB5}" type="presParOf" srcId="{DC06D3F0-5939-3B40-BE38-69B6816FF1BC}" destId="{4606B817-F00B-414A-B82D-CF923619FEF1}" srcOrd="1" destOrd="0" presId="urn:microsoft.com/office/officeart/2005/8/layout/hChevron3"/>
    <dgm:cxn modelId="{4E1C7057-C10B-6C44-9364-39C8F41AF5D3}" type="presParOf" srcId="{DC06D3F0-5939-3B40-BE38-69B6816FF1BC}" destId="{5D4AE62E-D122-E549-9FDE-C5A6579226E6}" srcOrd="2" destOrd="0" presId="urn:microsoft.com/office/officeart/2005/8/layout/hChevron3"/>
    <dgm:cxn modelId="{C9EF5958-91D1-0C4E-BBCC-30C6B9E98A11}" type="presParOf" srcId="{DC06D3F0-5939-3B40-BE38-69B6816FF1BC}" destId="{1A42C200-678F-244F-8ED2-D5EB0B003BE6}" srcOrd="3" destOrd="0" presId="urn:microsoft.com/office/officeart/2005/8/layout/hChevron3"/>
    <dgm:cxn modelId="{22EF08E3-C507-794D-9AA4-5194ABC672D5}" type="presParOf" srcId="{DC06D3F0-5939-3B40-BE38-69B6816FF1BC}" destId="{37E9EE08-28DD-1043-85D6-6F389C61BA97}" srcOrd="4" destOrd="0" presId="urn:microsoft.com/office/officeart/2005/8/layout/hChevron3"/>
    <dgm:cxn modelId="{1F097187-981F-BC46-A33D-07610A96E8D6}" type="presParOf" srcId="{DC06D3F0-5939-3B40-BE38-69B6816FF1BC}" destId="{04965C53-6357-2A48-96C1-2BF8A7D297B5}" srcOrd="5" destOrd="0" presId="urn:microsoft.com/office/officeart/2005/8/layout/hChevron3"/>
    <dgm:cxn modelId="{848211E8-75B3-B54B-A3D9-AE2C4C7490FF}" type="presParOf" srcId="{DC06D3F0-5939-3B40-BE38-69B6816FF1BC}" destId="{A321AFAD-7A09-B44E-BB82-A6F453920C7D}" srcOrd="6" destOrd="0" presId="urn:microsoft.com/office/officeart/2005/8/layout/hChevron3"/>
    <dgm:cxn modelId="{0FE839CC-8251-C94A-B866-B3D5BC4FF374}" type="presParOf" srcId="{DC06D3F0-5939-3B40-BE38-69B6816FF1BC}" destId="{CC20E6BA-B6D8-B642-97CB-782BBC8EAFC8}" srcOrd="7" destOrd="0" presId="urn:microsoft.com/office/officeart/2005/8/layout/hChevron3"/>
    <dgm:cxn modelId="{050B84AD-E733-1E43-BA50-F4CC8A9B3DC0}" type="presParOf" srcId="{DC06D3F0-5939-3B40-BE38-69B6816FF1BC}" destId="{5F174EF4-47BF-034A-A5EF-AE2C38F44384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81F165F-88FD-0F49-BE5E-543C6AE3943A}" type="doc">
      <dgm:prSet loTypeId="urn:microsoft.com/office/officeart/2005/8/layout/hChevron3" loCatId="" qsTypeId="urn:microsoft.com/office/officeart/2005/8/quickstyle/simple1" qsCatId="simple" csTypeId="urn:microsoft.com/office/officeart/2005/8/colors/accent1_2" csCatId="accent1" phldr="1"/>
      <dgm:spPr/>
    </dgm:pt>
    <dgm:pt modelId="{F25FDE00-3150-7C40-802A-15F9D786E62A}">
      <dgm:prSet phldrT="[Text]"/>
      <dgm:spPr>
        <a:solidFill>
          <a:srgbClr val="036E3D"/>
        </a:solidFill>
        <a:ln>
          <a:noFill/>
        </a:ln>
      </dgm:spPr>
      <dgm:t>
        <a:bodyPr/>
        <a:lstStyle/>
        <a:p>
          <a:endParaRPr lang="en-US"/>
        </a:p>
      </dgm:t>
    </dgm:pt>
    <dgm:pt modelId="{720D6F4F-0792-DB4E-9628-D6C7D483B106}" type="parTrans" cxnId="{D146952A-992B-9E42-950C-4AC59B760E13}">
      <dgm:prSet/>
      <dgm:spPr/>
      <dgm:t>
        <a:bodyPr/>
        <a:lstStyle/>
        <a:p>
          <a:endParaRPr lang="en-US"/>
        </a:p>
      </dgm:t>
    </dgm:pt>
    <dgm:pt modelId="{D466D50F-E9A4-5942-AEBC-16FD4AB72BA9}" type="sibTrans" cxnId="{D146952A-992B-9E42-950C-4AC59B760E13}">
      <dgm:prSet/>
      <dgm:spPr/>
      <dgm:t>
        <a:bodyPr/>
        <a:lstStyle/>
        <a:p>
          <a:endParaRPr lang="en-US"/>
        </a:p>
      </dgm:t>
    </dgm:pt>
    <dgm:pt modelId="{C635E773-73F4-C345-876F-EC49C0411170}">
      <dgm:prSet phldrT="[Text]"/>
      <dgm:spPr>
        <a:solidFill>
          <a:srgbClr val="24A558"/>
        </a:solidFill>
        <a:ln>
          <a:solidFill>
            <a:srgbClr val="29A457"/>
          </a:solidFill>
        </a:ln>
      </dgm:spPr>
      <dgm:t>
        <a:bodyPr/>
        <a:lstStyle/>
        <a:p>
          <a:endParaRPr lang="en-US"/>
        </a:p>
      </dgm:t>
    </dgm:pt>
    <dgm:pt modelId="{EA1D7F34-9907-924C-A925-0273FC50CAFF}" type="sibTrans" cxnId="{FA0D96AF-8DB6-EE4F-AE6A-1957C94BF852}">
      <dgm:prSet/>
      <dgm:spPr/>
      <dgm:t>
        <a:bodyPr/>
        <a:lstStyle/>
        <a:p>
          <a:endParaRPr lang="en-US"/>
        </a:p>
      </dgm:t>
    </dgm:pt>
    <dgm:pt modelId="{B45208C6-8991-2B41-8692-AA509185E479}" type="parTrans" cxnId="{FA0D96AF-8DB6-EE4F-AE6A-1957C94BF852}">
      <dgm:prSet/>
      <dgm:spPr/>
      <dgm:t>
        <a:bodyPr/>
        <a:lstStyle/>
        <a:p>
          <a:endParaRPr lang="en-US"/>
        </a:p>
      </dgm:t>
    </dgm:pt>
    <dgm:pt modelId="{F1633484-F410-2049-89F6-2A52C17E2BA3}">
      <dgm:prSet phldrT="[Text]"/>
      <dgm:spPr>
        <a:solidFill>
          <a:srgbClr val="1D964B"/>
        </a:solidFill>
        <a:ln>
          <a:noFill/>
        </a:ln>
      </dgm:spPr>
      <dgm:t>
        <a:bodyPr/>
        <a:lstStyle/>
        <a:p>
          <a:endParaRPr lang="en-US"/>
        </a:p>
      </dgm:t>
    </dgm:pt>
    <dgm:pt modelId="{A67590F1-B987-3746-B308-B8D98A49756B}" type="sibTrans" cxnId="{3631B879-F5E6-3F41-A66D-AD3AA9702EE4}">
      <dgm:prSet/>
      <dgm:spPr/>
      <dgm:t>
        <a:bodyPr/>
        <a:lstStyle/>
        <a:p>
          <a:endParaRPr lang="en-US"/>
        </a:p>
      </dgm:t>
    </dgm:pt>
    <dgm:pt modelId="{CD23FA30-E65A-E44D-BC53-47352EB50C35}" type="parTrans" cxnId="{3631B879-F5E6-3F41-A66D-AD3AA9702EE4}">
      <dgm:prSet/>
      <dgm:spPr/>
      <dgm:t>
        <a:bodyPr/>
        <a:lstStyle/>
        <a:p>
          <a:endParaRPr lang="en-US"/>
        </a:p>
      </dgm:t>
    </dgm:pt>
    <dgm:pt modelId="{4AB4F7B6-F891-D148-ABF8-45A330A683E7}">
      <dgm:prSet phldrT="[Text]"/>
      <dgm:spPr>
        <a:solidFill>
          <a:srgbClr val="198C44"/>
        </a:solidFill>
        <a:ln>
          <a:noFill/>
        </a:ln>
      </dgm:spPr>
      <dgm:t>
        <a:bodyPr/>
        <a:lstStyle/>
        <a:p>
          <a:endParaRPr lang="en-US"/>
        </a:p>
      </dgm:t>
    </dgm:pt>
    <dgm:pt modelId="{4056527B-BE44-2543-B068-3708481FF1DB}" type="sibTrans" cxnId="{A5DED3B7-3973-A94E-9A89-2879DA442BED}">
      <dgm:prSet/>
      <dgm:spPr/>
      <dgm:t>
        <a:bodyPr/>
        <a:lstStyle/>
        <a:p>
          <a:endParaRPr lang="en-US"/>
        </a:p>
      </dgm:t>
    </dgm:pt>
    <dgm:pt modelId="{EE3424BD-59A7-CA41-85D8-E70F0B263D75}" type="parTrans" cxnId="{A5DED3B7-3973-A94E-9A89-2879DA442BED}">
      <dgm:prSet/>
      <dgm:spPr/>
      <dgm:t>
        <a:bodyPr/>
        <a:lstStyle/>
        <a:p>
          <a:endParaRPr lang="en-US"/>
        </a:p>
      </dgm:t>
    </dgm:pt>
    <dgm:pt modelId="{0237B2AD-8EFF-B34C-A3FB-1154414511F8}">
      <dgm:prSet phldrT="[Text]"/>
      <dgm:spPr>
        <a:solidFill>
          <a:srgbClr val="037A42"/>
        </a:solidFill>
        <a:ln>
          <a:noFill/>
        </a:ln>
      </dgm:spPr>
      <dgm:t>
        <a:bodyPr/>
        <a:lstStyle/>
        <a:p>
          <a:endParaRPr lang="en-US"/>
        </a:p>
      </dgm:t>
    </dgm:pt>
    <dgm:pt modelId="{0CC06259-4754-0C4E-8A8E-EAEF15EFDF71}" type="sibTrans" cxnId="{A418181B-195F-C540-A70E-33DD1BB18438}">
      <dgm:prSet/>
      <dgm:spPr/>
      <dgm:t>
        <a:bodyPr/>
        <a:lstStyle/>
        <a:p>
          <a:endParaRPr lang="en-US"/>
        </a:p>
      </dgm:t>
    </dgm:pt>
    <dgm:pt modelId="{D624C5D0-33DF-2C47-8B35-75619E60B953}" type="parTrans" cxnId="{A418181B-195F-C540-A70E-33DD1BB18438}">
      <dgm:prSet/>
      <dgm:spPr/>
      <dgm:t>
        <a:bodyPr/>
        <a:lstStyle/>
        <a:p>
          <a:endParaRPr lang="en-US"/>
        </a:p>
      </dgm:t>
    </dgm:pt>
    <dgm:pt modelId="{DC06D3F0-5939-3B40-BE38-69B6816FF1BC}" type="pres">
      <dgm:prSet presAssocID="{781F165F-88FD-0F49-BE5E-543C6AE3943A}" presName="Name0" presStyleCnt="0">
        <dgm:presLayoutVars>
          <dgm:dir/>
          <dgm:resizeHandles val="exact"/>
        </dgm:presLayoutVars>
      </dgm:prSet>
      <dgm:spPr/>
    </dgm:pt>
    <dgm:pt modelId="{50EAD4B2-E716-D742-879F-CD20B48D44D7}" type="pres">
      <dgm:prSet presAssocID="{C635E773-73F4-C345-876F-EC49C0411170}" presName="parTxOnly" presStyleLbl="node1" presStyleIdx="0" presStyleCnt="5" custScaleY="74745">
        <dgm:presLayoutVars>
          <dgm:bulletEnabled val="1"/>
        </dgm:presLayoutVars>
      </dgm:prSet>
      <dgm:spPr/>
    </dgm:pt>
    <dgm:pt modelId="{4606B817-F00B-414A-B82D-CF923619FEF1}" type="pres">
      <dgm:prSet presAssocID="{EA1D7F34-9907-924C-A925-0273FC50CAFF}" presName="parSpace" presStyleCnt="0"/>
      <dgm:spPr/>
    </dgm:pt>
    <dgm:pt modelId="{5D4AE62E-D122-E549-9FDE-C5A6579226E6}" type="pres">
      <dgm:prSet presAssocID="{F1633484-F410-2049-89F6-2A52C17E2BA3}" presName="parTxOnly" presStyleLbl="node1" presStyleIdx="1" presStyleCnt="5">
        <dgm:presLayoutVars>
          <dgm:bulletEnabled val="1"/>
        </dgm:presLayoutVars>
      </dgm:prSet>
      <dgm:spPr/>
    </dgm:pt>
    <dgm:pt modelId="{1A42C200-678F-244F-8ED2-D5EB0B003BE6}" type="pres">
      <dgm:prSet presAssocID="{A67590F1-B987-3746-B308-B8D98A49756B}" presName="parSpace" presStyleCnt="0"/>
      <dgm:spPr/>
    </dgm:pt>
    <dgm:pt modelId="{37E9EE08-28DD-1043-85D6-6F389C61BA97}" type="pres">
      <dgm:prSet presAssocID="{4AB4F7B6-F891-D148-ABF8-45A330A683E7}" presName="parTxOnly" presStyleLbl="node1" presStyleIdx="2" presStyleCnt="5">
        <dgm:presLayoutVars>
          <dgm:bulletEnabled val="1"/>
        </dgm:presLayoutVars>
      </dgm:prSet>
      <dgm:spPr/>
    </dgm:pt>
    <dgm:pt modelId="{04965C53-6357-2A48-96C1-2BF8A7D297B5}" type="pres">
      <dgm:prSet presAssocID="{4056527B-BE44-2543-B068-3708481FF1DB}" presName="parSpace" presStyleCnt="0"/>
      <dgm:spPr/>
    </dgm:pt>
    <dgm:pt modelId="{A321AFAD-7A09-B44E-BB82-A6F453920C7D}" type="pres">
      <dgm:prSet presAssocID="{0237B2AD-8EFF-B34C-A3FB-1154414511F8}" presName="parTxOnly" presStyleLbl="node1" presStyleIdx="3" presStyleCnt="5">
        <dgm:presLayoutVars>
          <dgm:bulletEnabled val="1"/>
        </dgm:presLayoutVars>
      </dgm:prSet>
      <dgm:spPr/>
    </dgm:pt>
    <dgm:pt modelId="{CC20E6BA-B6D8-B642-97CB-782BBC8EAFC8}" type="pres">
      <dgm:prSet presAssocID="{0CC06259-4754-0C4E-8A8E-EAEF15EFDF71}" presName="parSpace" presStyleCnt="0"/>
      <dgm:spPr/>
    </dgm:pt>
    <dgm:pt modelId="{5F174EF4-47BF-034A-A5EF-AE2C38F44384}" type="pres">
      <dgm:prSet presAssocID="{F25FDE00-3150-7C40-802A-15F9D786E62A}" presName="parTxOnly" presStyleLbl="node1" presStyleIdx="4" presStyleCnt="5">
        <dgm:presLayoutVars>
          <dgm:bulletEnabled val="1"/>
        </dgm:presLayoutVars>
      </dgm:prSet>
      <dgm:spPr/>
    </dgm:pt>
  </dgm:ptLst>
  <dgm:cxnLst>
    <dgm:cxn modelId="{F4CC0614-8BEF-8247-B3EC-3ED665669DEA}" type="presOf" srcId="{F25FDE00-3150-7C40-802A-15F9D786E62A}" destId="{5F174EF4-47BF-034A-A5EF-AE2C38F44384}" srcOrd="0" destOrd="0" presId="urn:microsoft.com/office/officeart/2005/8/layout/hChevron3"/>
    <dgm:cxn modelId="{A418181B-195F-C540-A70E-33DD1BB18438}" srcId="{781F165F-88FD-0F49-BE5E-543C6AE3943A}" destId="{0237B2AD-8EFF-B34C-A3FB-1154414511F8}" srcOrd="3" destOrd="0" parTransId="{D624C5D0-33DF-2C47-8B35-75619E60B953}" sibTransId="{0CC06259-4754-0C4E-8A8E-EAEF15EFDF71}"/>
    <dgm:cxn modelId="{D146952A-992B-9E42-950C-4AC59B760E13}" srcId="{781F165F-88FD-0F49-BE5E-543C6AE3943A}" destId="{F25FDE00-3150-7C40-802A-15F9D786E62A}" srcOrd="4" destOrd="0" parTransId="{720D6F4F-0792-DB4E-9628-D6C7D483B106}" sibTransId="{D466D50F-E9A4-5942-AEBC-16FD4AB72BA9}"/>
    <dgm:cxn modelId="{CC47F536-0801-0E4D-A6FE-019FC57311FF}" type="presOf" srcId="{C635E773-73F4-C345-876F-EC49C0411170}" destId="{50EAD4B2-E716-D742-879F-CD20B48D44D7}" srcOrd="0" destOrd="0" presId="urn:microsoft.com/office/officeart/2005/8/layout/hChevron3"/>
    <dgm:cxn modelId="{3631B879-F5E6-3F41-A66D-AD3AA9702EE4}" srcId="{781F165F-88FD-0F49-BE5E-543C6AE3943A}" destId="{F1633484-F410-2049-89F6-2A52C17E2BA3}" srcOrd="1" destOrd="0" parTransId="{CD23FA30-E65A-E44D-BC53-47352EB50C35}" sibTransId="{A67590F1-B987-3746-B308-B8D98A49756B}"/>
    <dgm:cxn modelId="{86DFB58F-278C-0649-8828-2FC3B5C950C6}" type="presOf" srcId="{781F165F-88FD-0F49-BE5E-543C6AE3943A}" destId="{DC06D3F0-5939-3B40-BE38-69B6816FF1BC}" srcOrd="0" destOrd="0" presId="urn:microsoft.com/office/officeart/2005/8/layout/hChevron3"/>
    <dgm:cxn modelId="{F06B00AF-F195-7648-897A-E95D8BD34700}" type="presOf" srcId="{0237B2AD-8EFF-B34C-A3FB-1154414511F8}" destId="{A321AFAD-7A09-B44E-BB82-A6F453920C7D}" srcOrd="0" destOrd="0" presId="urn:microsoft.com/office/officeart/2005/8/layout/hChevron3"/>
    <dgm:cxn modelId="{FA0D96AF-8DB6-EE4F-AE6A-1957C94BF852}" srcId="{781F165F-88FD-0F49-BE5E-543C6AE3943A}" destId="{C635E773-73F4-C345-876F-EC49C0411170}" srcOrd="0" destOrd="0" parTransId="{B45208C6-8991-2B41-8692-AA509185E479}" sibTransId="{EA1D7F34-9907-924C-A925-0273FC50CAFF}"/>
    <dgm:cxn modelId="{A5DED3B7-3973-A94E-9A89-2879DA442BED}" srcId="{781F165F-88FD-0F49-BE5E-543C6AE3943A}" destId="{4AB4F7B6-F891-D148-ABF8-45A330A683E7}" srcOrd="2" destOrd="0" parTransId="{EE3424BD-59A7-CA41-85D8-E70F0B263D75}" sibTransId="{4056527B-BE44-2543-B068-3708481FF1DB}"/>
    <dgm:cxn modelId="{3A9560D5-0262-A647-A9A2-22F33C719DBE}" type="presOf" srcId="{F1633484-F410-2049-89F6-2A52C17E2BA3}" destId="{5D4AE62E-D122-E549-9FDE-C5A6579226E6}" srcOrd="0" destOrd="0" presId="urn:microsoft.com/office/officeart/2005/8/layout/hChevron3"/>
    <dgm:cxn modelId="{27BF22F6-587D-B242-8E62-E28AA2BF70DF}" type="presOf" srcId="{4AB4F7B6-F891-D148-ABF8-45A330A683E7}" destId="{37E9EE08-28DD-1043-85D6-6F389C61BA97}" srcOrd="0" destOrd="0" presId="urn:microsoft.com/office/officeart/2005/8/layout/hChevron3"/>
    <dgm:cxn modelId="{0A0FDD96-DBF8-DA4E-8F8A-F0220FA54057}" type="presParOf" srcId="{DC06D3F0-5939-3B40-BE38-69B6816FF1BC}" destId="{50EAD4B2-E716-D742-879F-CD20B48D44D7}" srcOrd="0" destOrd="0" presId="urn:microsoft.com/office/officeart/2005/8/layout/hChevron3"/>
    <dgm:cxn modelId="{4ACB4758-3BE7-104E-B1FC-4F65CC8BAFB5}" type="presParOf" srcId="{DC06D3F0-5939-3B40-BE38-69B6816FF1BC}" destId="{4606B817-F00B-414A-B82D-CF923619FEF1}" srcOrd="1" destOrd="0" presId="urn:microsoft.com/office/officeart/2005/8/layout/hChevron3"/>
    <dgm:cxn modelId="{4E1C7057-C10B-6C44-9364-39C8F41AF5D3}" type="presParOf" srcId="{DC06D3F0-5939-3B40-BE38-69B6816FF1BC}" destId="{5D4AE62E-D122-E549-9FDE-C5A6579226E6}" srcOrd="2" destOrd="0" presId="urn:microsoft.com/office/officeart/2005/8/layout/hChevron3"/>
    <dgm:cxn modelId="{C9EF5958-91D1-0C4E-BBCC-30C6B9E98A11}" type="presParOf" srcId="{DC06D3F0-5939-3B40-BE38-69B6816FF1BC}" destId="{1A42C200-678F-244F-8ED2-D5EB0B003BE6}" srcOrd="3" destOrd="0" presId="urn:microsoft.com/office/officeart/2005/8/layout/hChevron3"/>
    <dgm:cxn modelId="{22EF08E3-C507-794D-9AA4-5194ABC672D5}" type="presParOf" srcId="{DC06D3F0-5939-3B40-BE38-69B6816FF1BC}" destId="{37E9EE08-28DD-1043-85D6-6F389C61BA97}" srcOrd="4" destOrd="0" presId="urn:microsoft.com/office/officeart/2005/8/layout/hChevron3"/>
    <dgm:cxn modelId="{1F097187-981F-BC46-A33D-07610A96E8D6}" type="presParOf" srcId="{DC06D3F0-5939-3B40-BE38-69B6816FF1BC}" destId="{04965C53-6357-2A48-96C1-2BF8A7D297B5}" srcOrd="5" destOrd="0" presId="urn:microsoft.com/office/officeart/2005/8/layout/hChevron3"/>
    <dgm:cxn modelId="{848211E8-75B3-B54B-A3D9-AE2C4C7490FF}" type="presParOf" srcId="{DC06D3F0-5939-3B40-BE38-69B6816FF1BC}" destId="{A321AFAD-7A09-B44E-BB82-A6F453920C7D}" srcOrd="6" destOrd="0" presId="urn:microsoft.com/office/officeart/2005/8/layout/hChevron3"/>
    <dgm:cxn modelId="{0FE839CC-8251-C94A-B866-B3D5BC4FF374}" type="presParOf" srcId="{DC06D3F0-5939-3B40-BE38-69B6816FF1BC}" destId="{CC20E6BA-B6D8-B642-97CB-782BBC8EAFC8}" srcOrd="7" destOrd="0" presId="urn:microsoft.com/office/officeart/2005/8/layout/hChevron3"/>
    <dgm:cxn modelId="{050B84AD-E733-1E43-BA50-F4CC8A9B3DC0}" type="presParOf" srcId="{DC06D3F0-5939-3B40-BE38-69B6816FF1BC}" destId="{5F174EF4-47BF-034A-A5EF-AE2C38F44384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81F165F-88FD-0F49-BE5E-543C6AE3943A}" type="doc">
      <dgm:prSet loTypeId="urn:microsoft.com/office/officeart/2005/8/layout/hChevron3" loCatId="" qsTypeId="urn:microsoft.com/office/officeart/2005/8/quickstyle/simple1" qsCatId="simple" csTypeId="urn:microsoft.com/office/officeart/2005/8/colors/accent1_2" csCatId="accent1" phldr="1"/>
      <dgm:spPr/>
    </dgm:pt>
    <dgm:pt modelId="{F25FDE00-3150-7C40-802A-15F9D786E62A}">
      <dgm:prSet phldrT="[Text]"/>
      <dgm:spPr>
        <a:solidFill>
          <a:srgbClr val="036E3D"/>
        </a:solidFill>
        <a:ln>
          <a:noFill/>
        </a:ln>
      </dgm:spPr>
      <dgm:t>
        <a:bodyPr/>
        <a:lstStyle/>
        <a:p>
          <a:endParaRPr lang="en-US"/>
        </a:p>
      </dgm:t>
    </dgm:pt>
    <dgm:pt modelId="{720D6F4F-0792-DB4E-9628-D6C7D483B106}" type="parTrans" cxnId="{D146952A-992B-9E42-950C-4AC59B760E13}">
      <dgm:prSet/>
      <dgm:spPr/>
      <dgm:t>
        <a:bodyPr/>
        <a:lstStyle/>
        <a:p>
          <a:endParaRPr lang="en-US"/>
        </a:p>
      </dgm:t>
    </dgm:pt>
    <dgm:pt modelId="{D466D50F-E9A4-5942-AEBC-16FD4AB72BA9}" type="sibTrans" cxnId="{D146952A-992B-9E42-950C-4AC59B760E13}">
      <dgm:prSet/>
      <dgm:spPr/>
      <dgm:t>
        <a:bodyPr/>
        <a:lstStyle/>
        <a:p>
          <a:endParaRPr lang="en-US"/>
        </a:p>
      </dgm:t>
    </dgm:pt>
    <dgm:pt modelId="{C635E773-73F4-C345-876F-EC49C0411170}">
      <dgm:prSet phldrT="[Text]"/>
      <dgm:spPr>
        <a:solidFill>
          <a:srgbClr val="24A558"/>
        </a:solidFill>
        <a:ln>
          <a:solidFill>
            <a:srgbClr val="29A457"/>
          </a:solidFill>
        </a:ln>
      </dgm:spPr>
      <dgm:t>
        <a:bodyPr/>
        <a:lstStyle/>
        <a:p>
          <a:endParaRPr lang="en-US"/>
        </a:p>
      </dgm:t>
    </dgm:pt>
    <dgm:pt modelId="{EA1D7F34-9907-924C-A925-0273FC50CAFF}" type="sibTrans" cxnId="{FA0D96AF-8DB6-EE4F-AE6A-1957C94BF852}">
      <dgm:prSet/>
      <dgm:spPr/>
      <dgm:t>
        <a:bodyPr/>
        <a:lstStyle/>
        <a:p>
          <a:endParaRPr lang="en-US"/>
        </a:p>
      </dgm:t>
    </dgm:pt>
    <dgm:pt modelId="{B45208C6-8991-2B41-8692-AA509185E479}" type="parTrans" cxnId="{FA0D96AF-8DB6-EE4F-AE6A-1957C94BF852}">
      <dgm:prSet/>
      <dgm:spPr/>
      <dgm:t>
        <a:bodyPr/>
        <a:lstStyle/>
        <a:p>
          <a:endParaRPr lang="en-US"/>
        </a:p>
      </dgm:t>
    </dgm:pt>
    <dgm:pt modelId="{F1633484-F410-2049-89F6-2A52C17E2BA3}">
      <dgm:prSet phldrT="[Text]"/>
      <dgm:spPr>
        <a:solidFill>
          <a:srgbClr val="1D964B"/>
        </a:solidFill>
        <a:ln>
          <a:noFill/>
        </a:ln>
      </dgm:spPr>
      <dgm:t>
        <a:bodyPr/>
        <a:lstStyle/>
        <a:p>
          <a:endParaRPr lang="en-US"/>
        </a:p>
      </dgm:t>
    </dgm:pt>
    <dgm:pt modelId="{A67590F1-B987-3746-B308-B8D98A49756B}" type="sibTrans" cxnId="{3631B879-F5E6-3F41-A66D-AD3AA9702EE4}">
      <dgm:prSet/>
      <dgm:spPr/>
      <dgm:t>
        <a:bodyPr/>
        <a:lstStyle/>
        <a:p>
          <a:endParaRPr lang="en-US"/>
        </a:p>
      </dgm:t>
    </dgm:pt>
    <dgm:pt modelId="{CD23FA30-E65A-E44D-BC53-47352EB50C35}" type="parTrans" cxnId="{3631B879-F5E6-3F41-A66D-AD3AA9702EE4}">
      <dgm:prSet/>
      <dgm:spPr/>
      <dgm:t>
        <a:bodyPr/>
        <a:lstStyle/>
        <a:p>
          <a:endParaRPr lang="en-US"/>
        </a:p>
      </dgm:t>
    </dgm:pt>
    <dgm:pt modelId="{4AB4F7B6-F891-D148-ABF8-45A330A683E7}">
      <dgm:prSet phldrT="[Text]"/>
      <dgm:spPr>
        <a:solidFill>
          <a:srgbClr val="198C44"/>
        </a:solidFill>
        <a:ln>
          <a:noFill/>
        </a:ln>
      </dgm:spPr>
      <dgm:t>
        <a:bodyPr/>
        <a:lstStyle/>
        <a:p>
          <a:endParaRPr lang="en-US"/>
        </a:p>
      </dgm:t>
    </dgm:pt>
    <dgm:pt modelId="{4056527B-BE44-2543-B068-3708481FF1DB}" type="sibTrans" cxnId="{A5DED3B7-3973-A94E-9A89-2879DA442BED}">
      <dgm:prSet/>
      <dgm:spPr/>
      <dgm:t>
        <a:bodyPr/>
        <a:lstStyle/>
        <a:p>
          <a:endParaRPr lang="en-US"/>
        </a:p>
      </dgm:t>
    </dgm:pt>
    <dgm:pt modelId="{EE3424BD-59A7-CA41-85D8-E70F0B263D75}" type="parTrans" cxnId="{A5DED3B7-3973-A94E-9A89-2879DA442BED}">
      <dgm:prSet/>
      <dgm:spPr/>
      <dgm:t>
        <a:bodyPr/>
        <a:lstStyle/>
        <a:p>
          <a:endParaRPr lang="en-US"/>
        </a:p>
      </dgm:t>
    </dgm:pt>
    <dgm:pt modelId="{0237B2AD-8EFF-B34C-A3FB-1154414511F8}">
      <dgm:prSet phldrT="[Text]"/>
      <dgm:spPr>
        <a:solidFill>
          <a:srgbClr val="037A42"/>
        </a:solidFill>
        <a:ln>
          <a:noFill/>
        </a:ln>
      </dgm:spPr>
      <dgm:t>
        <a:bodyPr/>
        <a:lstStyle/>
        <a:p>
          <a:endParaRPr lang="en-US"/>
        </a:p>
      </dgm:t>
    </dgm:pt>
    <dgm:pt modelId="{0CC06259-4754-0C4E-8A8E-EAEF15EFDF71}" type="sibTrans" cxnId="{A418181B-195F-C540-A70E-33DD1BB18438}">
      <dgm:prSet/>
      <dgm:spPr/>
      <dgm:t>
        <a:bodyPr/>
        <a:lstStyle/>
        <a:p>
          <a:endParaRPr lang="en-US"/>
        </a:p>
      </dgm:t>
    </dgm:pt>
    <dgm:pt modelId="{D624C5D0-33DF-2C47-8B35-75619E60B953}" type="parTrans" cxnId="{A418181B-195F-C540-A70E-33DD1BB18438}">
      <dgm:prSet/>
      <dgm:spPr/>
      <dgm:t>
        <a:bodyPr/>
        <a:lstStyle/>
        <a:p>
          <a:endParaRPr lang="en-US"/>
        </a:p>
      </dgm:t>
    </dgm:pt>
    <dgm:pt modelId="{DC06D3F0-5939-3B40-BE38-69B6816FF1BC}" type="pres">
      <dgm:prSet presAssocID="{781F165F-88FD-0F49-BE5E-543C6AE3943A}" presName="Name0" presStyleCnt="0">
        <dgm:presLayoutVars>
          <dgm:dir/>
          <dgm:resizeHandles val="exact"/>
        </dgm:presLayoutVars>
      </dgm:prSet>
      <dgm:spPr/>
    </dgm:pt>
    <dgm:pt modelId="{50EAD4B2-E716-D742-879F-CD20B48D44D7}" type="pres">
      <dgm:prSet presAssocID="{C635E773-73F4-C345-876F-EC49C0411170}" presName="parTxOnly" presStyleLbl="node1" presStyleIdx="0" presStyleCnt="5" custScaleY="74745">
        <dgm:presLayoutVars>
          <dgm:bulletEnabled val="1"/>
        </dgm:presLayoutVars>
      </dgm:prSet>
      <dgm:spPr/>
    </dgm:pt>
    <dgm:pt modelId="{4606B817-F00B-414A-B82D-CF923619FEF1}" type="pres">
      <dgm:prSet presAssocID="{EA1D7F34-9907-924C-A925-0273FC50CAFF}" presName="parSpace" presStyleCnt="0"/>
      <dgm:spPr/>
    </dgm:pt>
    <dgm:pt modelId="{5D4AE62E-D122-E549-9FDE-C5A6579226E6}" type="pres">
      <dgm:prSet presAssocID="{F1633484-F410-2049-89F6-2A52C17E2BA3}" presName="parTxOnly" presStyleLbl="node1" presStyleIdx="1" presStyleCnt="5">
        <dgm:presLayoutVars>
          <dgm:bulletEnabled val="1"/>
        </dgm:presLayoutVars>
      </dgm:prSet>
      <dgm:spPr/>
    </dgm:pt>
    <dgm:pt modelId="{1A42C200-678F-244F-8ED2-D5EB0B003BE6}" type="pres">
      <dgm:prSet presAssocID="{A67590F1-B987-3746-B308-B8D98A49756B}" presName="parSpace" presStyleCnt="0"/>
      <dgm:spPr/>
    </dgm:pt>
    <dgm:pt modelId="{37E9EE08-28DD-1043-85D6-6F389C61BA97}" type="pres">
      <dgm:prSet presAssocID="{4AB4F7B6-F891-D148-ABF8-45A330A683E7}" presName="parTxOnly" presStyleLbl="node1" presStyleIdx="2" presStyleCnt="5">
        <dgm:presLayoutVars>
          <dgm:bulletEnabled val="1"/>
        </dgm:presLayoutVars>
      </dgm:prSet>
      <dgm:spPr/>
    </dgm:pt>
    <dgm:pt modelId="{04965C53-6357-2A48-96C1-2BF8A7D297B5}" type="pres">
      <dgm:prSet presAssocID="{4056527B-BE44-2543-B068-3708481FF1DB}" presName="parSpace" presStyleCnt="0"/>
      <dgm:spPr/>
    </dgm:pt>
    <dgm:pt modelId="{A321AFAD-7A09-B44E-BB82-A6F453920C7D}" type="pres">
      <dgm:prSet presAssocID="{0237B2AD-8EFF-B34C-A3FB-1154414511F8}" presName="parTxOnly" presStyleLbl="node1" presStyleIdx="3" presStyleCnt="5">
        <dgm:presLayoutVars>
          <dgm:bulletEnabled val="1"/>
        </dgm:presLayoutVars>
      </dgm:prSet>
      <dgm:spPr/>
    </dgm:pt>
    <dgm:pt modelId="{CC20E6BA-B6D8-B642-97CB-782BBC8EAFC8}" type="pres">
      <dgm:prSet presAssocID="{0CC06259-4754-0C4E-8A8E-EAEF15EFDF71}" presName="parSpace" presStyleCnt="0"/>
      <dgm:spPr/>
    </dgm:pt>
    <dgm:pt modelId="{5F174EF4-47BF-034A-A5EF-AE2C38F44384}" type="pres">
      <dgm:prSet presAssocID="{F25FDE00-3150-7C40-802A-15F9D786E62A}" presName="parTxOnly" presStyleLbl="node1" presStyleIdx="4" presStyleCnt="5">
        <dgm:presLayoutVars>
          <dgm:bulletEnabled val="1"/>
        </dgm:presLayoutVars>
      </dgm:prSet>
      <dgm:spPr/>
    </dgm:pt>
  </dgm:ptLst>
  <dgm:cxnLst>
    <dgm:cxn modelId="{F4CC0614-8BEF-8247-B3EC-3ED665669DEA}" type="presOf" srcId="{F25FDE00-3150-7C40-802A-15F9D786E62A}" destId="{5F174EF4-47BF-034A-A5EF-AE2C38F44384}" srcOrd="0" destOrd="0" presId="urn:microsoft.com/office/officeart/2005/8/layout/hChevron3"/>
    <dgm:cxn modelId="{A418181B-195F-C540-A70E-33DD1BB18438}" srcId="{781F165F-88FD-0F49-BE5E-543C6AE3943A}" destId="{0237B2AD-8EFF-B34C-A3FB-1154414511F8}" srcOrd="3" destOrd="0" parTransId="{D624C5D0-33DF-2C47-8B35-75619E60B953}" sibTransId="{0CC06259-4754-0C4E-8A8E-EAEF15EFDF71}"/>
    <dgm:cxn modelId="{D146952A-992B-9E42-950C-4AC59B760E13}" srcId="{781F165F-88FD-0F49-BE5E-543C6AE3943A}" destId="{F25FDE00-3150-7C40-802A-15F9D786E62A}" srcOrd="4" destOrd="0" parTransId="{720D6F4F-0792-DB4E-9628-D6C7D483B106}" sibTransId="{D466D50F-E9A4-5942-AEBC-16FD4AB72BA9}"/>
    <dgm:cxn modelId="{CC47F536-0801-0E4D-A6FE-019FC57311FF}" type="presOf" srcId="{C635E773-73F4-C345-876F-EC49C0411170}" destId="{50EAD4B2-E716-D742-879F-CD20B48D44D7}" srcOrd="0" destOrd="0" presId="urn:microsoft.com/office/officeart/2005/8/layout/hChevron3"/>
    <dgm:cxn modelId="{3631B879-F5E6-3F41-A66D-AD3AA9702EE4}" srcId="{781F165F-88FD-0F49-BE5E-543C6AE3943A}" destId="{F1633484-F410-2049-89F6-2A52C17E2BA3}" srcOrd="1" destOrd="0" parTransId="{CD23FA30-E65A-E44D-BC53-47352EB50C35}" sibTransId="{A67590F1-B987-3746-B308-B8D98A49756B}"/>
    <dgm:cxn modelId="{86DFB58F-278C-0649-8828-2FC3B5C950C6}" type="presOf" srcId="{781F165F-88FD-0F49-BE5E-543C6AE3943A}" destId="{DC06D3F0-5939-3B40-BE38-69B6816FF1BC}" srcOrd="0" destOrd="0" presId="urn:microsoft.com/office/officeart/2005/8/layout/hChevron3"/>
    <dgm:cxn modelId="{F06B00AF-F195-7648-897A-E95D8BD34700}" type="presOf" srcId="{0237B2AD-8EFF-B34C-A3FB-1154414511F8}" destId="{A321AFAD-7A09-B44E-BB82-A6F453920C7D}" srcOrd="0" destOrd="0" presId="urn:microsoft.com/office/officeart/2005/8/layout/hChevron3"/>
    <dgm:cxn modelId="{FA0D96AF-8DB6-EE4F-AE6A-1957C94BF852}" srcId="{781F165F-88FD-0F49-BE5E-543C6AE3943A}" destId="{C635E773-73F4-C345-876F-EC49C0411170}" srcOrd="0" destOrd="0" parTransId="{B45208C6-8991-2B41-8692-AA509185E479}" sibTransId="{EA1D7F34-9907-924C-A925-0273FC50CAFF}"/>
    <dgm:cxn modelId="{A5DED3B7-3973-A94E-9A89-2879DA442BED}" srcId="{781F165F-88FD-0F49-BE5E-543C6AE3943A}" destId="{4AB4F7B6-F891-D148-ABF8-45A330A683E7}" srcOrd="2" destOrd="0" parTransId="{EE3424BD-59A7-CA41-85D8-E70F0B263D75}" sibTransId="{4056527B-BE44-2543-B068-3708481FF1DB}"/>
    <dgm:cxn modelId="{3A9560D5-0262-A647-A9A2-22F33C719DBE}" type="presOf" srcId="{F1633484-F410-2049-89F6-2A52C17E2BA3}" destId="{5D4AE62E-D122-E549-9FDE-C5A6579226E6}" srcOrd="0" destOrd="0" presId="urn:microsoft.com/office/officeart/2005/8/layout/hChevron3"/>
    <dgm:cxn modelId="{27BF22F6-587D-B242-8E62-E28AA2BF70DF}" type="presOf" srcId="{4AB4F7B6-F891-D148-ABF8-45A330A683E7}" destId="{37E9EE08-28DD-1043-85D6-6F389C61BA97}" srcOrd="0" destOrd="0" presId="urn:microsoft.com/office/officeart/2005/8/layout/hChevron3"/>
    <dgm:cxn modelId="{0A0FDD96-DBF8-DA4E-8F8A-F0220FA54057}" type="presParOf" srcId="{DC06D3F0-5939-3B40-BE38-69B6816FF1BC}" destId="{50EAD4B2-E716-D742-879F-CD20B48D44D7}" srcOrd="0" destOrd="0" presId="urn:microsoft.com/office/officeart/2005/8/layout/hChevron3"/>
    <dgm:cxn modelId="{4ACB4758-3BE7-104E-B1FC-4F65CC8BAFB5}" type="presParOf" srcId="{DC06D3F0-5939-3B40-BE38-69B6816FF1BC}" destId="{4606B817-F00B-414A-B82D-CF923619FEF1}" srcOrd="1" destOrd="0" presId="urn:microsoft.com/office/officeart/2005/8/layout/hChevron3"/>
    <dgm:cxn modelId="{4E1C7057-C10B-6C44-9364-39C8F41AF5D3}" type="presParOf" srcId="{DC06D3F0-5939-3B40-BE38-69B6816FF1BC}" destId="{5D4AE62E-D122-E549-9FDE-C5A6579226E6}" srcOrd="2" destOrd="0" presId="urn:microsoft.com/office/officeart/2005/8/layout/hChevron3"/>
    <dgm:cxn modelId="{C9EF5958-91D1-0C4E-BBCC-30C6B9E98A11}" type="presParOf" srcId="{DC06D3F0-5939-3B40-BE38-69B6816FF1BC}" destId="{1A42C200-678F-244F-8ED2-D5EB0B003BE6}" srcOrd="3" destOrd="0" presId="urn:microsoft.com/office/officeart/2005/8/layout/hChevron3"/>
    <dgm:cxn modelId="{22EF08E3-C507-794D-9AA4-5194ABC672D5}" type="presParOf" srcId="{DC06D3F0-5939-3B40-BE38-69B6816FF1BC}" destId="{37E9EE08-28DD-1043-85D6-6F389C61BA97}" srcOrd="4" destOrd="0" presId="urn:microsoft.com/office/officeart/2005/8/layout/hChevron3"/>
    <dgm:cxn modelId="{1F097187-981F-BC46-A33D-07610A96E8D6}" type="presParOf" srcId="{DC06D3F0-5939-3B40-BE38-69B6816FF1BC}" destId="{04965C53-6357-2A48-96C1-2BF8A7D297B5}" srcOrd="5" destOrd="0" presId="urn:microsoft.com/office/officeart/2005/8/layout/hChevron3"/>
    <dgm:cxn modelId="{848211E8-75B3-B54B-A3D9-AE2C4C7490FF}" type="presParOf" srcId="{DC06D3F0-5939-3B40-BE38-69B6816FF1BC}" destId="{A321AFAD-7A09-B44E-BB82-A6F453920C7D}" srcOrd="6" destOrd="0" presId="urn:microsoft.com/office/officeart/2005/8/layout/hChevron3"/>
    <dgm:cxn modelId="{0FE839CC-8251-C94A-B866-B3D5BC4FF374}" type="presParOf" srcId="{DC06D3F0-5939-3B40-BE38-69B6816FF1BC}" destId="{CC20E6BA-B6D8-B642-97CB-782BBC8EAFC8}" srcOrd="7" destOrd="0" presId="urn:microsoft.com/office/officeart/2005/8/layout/hChevron3"/>
    <dgm:cxn modelId="{050B84AD-E733-1E43-BA50-F4CC8A9B3DC0}" type="presParOf" srcId="{DC06D3F0-5939-3B40-BE38-69B6816FF1BC}" destId="{5F174EF4-47BF-034A-A5EF-AE2C38F44384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81F165F-88FD-0F49-BE5E-543C6AE3943A}" type="doc">
      <dgm:prSet loTypeId="urn:microsoft.com/office/officeart/2005/8/layout/hChevron3" loCatId="" qsTypeId="urn:microsoft.com/office/officeart/2005/8/quickstyle/simple1" qsCatId="simple" csTypeId="urn:microsoft.com/office/officeart/2005/8/colors/accent1_2" csCatId="accent1" phldr="1"/>
      <dgm:spPr/>
    </dgm:pt>
    <dgm:pt modelId="{F25FDE00-3150-7C40-802A-15F9D786E62A}">
      <dgm:prSet phldrT="[Text]"/>
      <dgm:spPr>
        <a:solidFill>
          <a:srgbClr val="036E3D"/>
        </a:solidFill>
        <a:ln>
          <a:noFill/>
        </a:ln>
      </dgm:spPr>
      <dgm:t>
        <a:bodyPr/>
        <a:lstStyle/>
        <a:p>
          <a:endParaRPr lang="en-US"/>
        </a:p>
      </dgm:t>
    </dgm:pt>
    <dgm:pt modelId="{720D6F4F-0792-DB4E-9628-D6C7D483B106}" type="parTrans" cxnId="{D146952A-992B-9E42-950C-4AC59B760E13}">
      <dgm:prSet/>
      <dgm:spPr/>
      <dgm:t>
        <a:bodyPr/>
        <a:lstStyle/>
        <a:p>
          <a:endParaRPr lang="en-US"/>
        </a:p>
      </dgm:t>
    </dgm:pt>
    <dgm:pt modelId="{D466D50F-E9A4-5942-AEBC-16FD4AB72BA9}" type="sibTrans" cxnId="{D146952A-992B-9E42-950C-4AC59B760E13}">
      <dgm:prSet/>
      <dgm:spPr/>
      <dgm:t>
        <a:bodyPr/>
        <a:lstStyle/>
        <a:p>
          <a:endParaRPr lang="en-US"/>
        </a:p>
      </dgm:t>
    </dgm:pt>
    <dgm:pt modelId="{C635E773-73F4-C345-876F-EC49C0411170}">
      <dgm:prSet phldrT="[Text]"/>
      <dgm:spPr>
        <a:solidFill>
          <a:srgbClr val="24A558"/>
        </a:solidFill>
        <a:ln>
          <a:solidFill>
            <a:srgbClr val="29A457"/>
          </a:solidFill>
        </a:ln>
      </dgm:spPr>
      <dgm:t>
        <a:bodyPr/>
        <a:lstStyle/>
        <a:p>
          <a:endParaRPr lang="en-US"/>
        </a:p>
      </dgm:t>
    </dgm:pt>
    <dgm:pt modelId="{EA1D7F34-9907-924C-A925-0273FC50CAFF}" type="sibTrans" cxnId="{FA0D96AF-8DB6-EE4F-AE6A-1957C94BF852}">
      <dgm:prSet/>
      <dgm:spPr/>
      <dgm:t>
        <a:bodyPr/>
        <a:lstStyle/>
        <a:p>
          <a:endParaRPr lang="en-US"/>
        </a:p>
      </dgm:t>
    </dgm:pt>
    <dgm:pt modelId="{B45208C6-8991-2B41-8692-AA509185E479}" type="parTrans" cxnId="{FA0D96AF-8DB6-EE4F-AE6A-1957C94BF852}">
      <dgm:prSet/>
      <dgm:spPr/>
      <dgm:t>
        <a:bodyPr/>
        <a:lstStyle/>
        <a:p>
          <a:endParaRPr lang="en-US"/>
        </a:p>
      </dgm:t>
    </dgm:pt>
    <dgm:pt modelId="{F1633484-F410-2049-89F6-2A52C17E2BA3}">
      <dgm:prSet phldrT="[Text]"/>
      <dgm:spPr>
        <a:solidFill>
          <a:srgbClr val="1D964B"/>
        </a:solidFill>
        <a:ln>
          <a:noFill/>
        </a:ln>
      </dgm:spPr>
      <dgm:t>
        <a:bodyPr/>
        <a:lstStyle/>
        <a:p>
          <a:endParaRPr lang="en-US"/>
        </a:p>
      </dgm:t>
    </dgm:pt>
    <dgm:pt modelId="{A67590F1-B987-3746-B308-B8D98A49756B}" type="sibTrans" cxnId="{3631B879-F5E6-3F41-A66D-AD3AA9702EE4}">
      <dgm:prSet/>
      <dgm:spPr/>
      <dgm:t>
        <a:bodyPr/>
        <a:lstStyle/>
        <a:p>
          <a:endParaRPr lang="en-US"/>
        </a:p>
      </dgm:t>
    </dgm:pt>
    <dgm:pt modelId="{CD23FA30-E65A-E44D-BC53-47352EB50C35}" type="parTrans" cxnId="{3631B879-F5E6-3F41-A66D-AD3AA9702EE4}">
      <dgm:prSet/>
      <dgm:spPr/>
      <dgm:t>
        <a:bodyPr/>
        <a:lstStyle/>
        <a:p>
          <a:endParaRPr lang="en-US"/>
        </a:p>
      </dgm:t>
    </dgm:pt>
    <dgm:pt modelId="{4AB4F7B6-F891-D148-ABF8-45A330A683E7}">
      <dgm:prSet phldrT="[Text]"/>
      <dgm:spPr>
        <a:solidFill>
          <a:srgbClr val="198C44"/>
        </a:solidFill>
        <a:ln>
          <a:noFill/>
        </a:ln>
      </dgm:spPr>
      <dgm:t>
        <a:bodyPr/>
        <a:lstStyle/>
        <a:p>
          <a:endParaRPr lang="en-US"/>
        </a:p>
      </dgm:t>
    </dgm:pt>
    <dgm:pt modelId="{4056527B-BE44-2543-B068-3708481FF1DB}" type="sibTrans" cxnId="{A5DED3B7-3973-A94E-9A89-2879DA442BED}">
      <dgm:prSet/>
      <dgm:spPr/>
      <dgm:t>
        <a:bodyPr/>
        <a:lstStyle/>
        <a:p>
          <a:endParaRPr lang="en-US"/>
        </a:p>
      </dgm:t>
    </dgm:pt>
    <dgm:pt modelId="{EE3424BD-59A7-CA41-85D8-E70F0B263D75}" type="parTrans" cxnId="{A5DED3B7-3973-A94E-9A89-2879DA442BED}">
      <dgm:prSet/>
      <dgm:spPr/>
      <dgm:t>
        <a:bodyPr/>
        <a:lstStyle/>
        <a:p>
          <a:endParaRPr lang="en-US"/>
        </a:p>
      </dgm:t>
    </dgm:pt>
    <dgm:pt modelId="{0237B2AD-8EFF-B34C-A3FB-1154414511F8}">
      <dgm:prSet phldrT="[Text]"/>
      <dgm:spPr>
        <a:solidFill>
          <a:srgbClr val="037A42"/>
        </a:solidFill>
        <a:ln>
          <a:noFill/>
        </a:ln>
      </dgm:spPr>
      <dgm:t>
        <a:bodyPr/>
        <a:lstStyle/>
        <a:p>
          <a:endParaRPr lang="en-US"/>
        </a:p>
      </dgm:t>
    </dgm:pt>
    <dgm:pt modelId="{0CC06259-4754-0C4E-8A8E-EAEF15EFDF71}" type="sibTrans" cxnId="{A418181B-195F-C540-A70E-33DD1BB18438}">
      <dgm:prSet/>
      <dgm:spPr/>
      <dgm:t>
        <a:bodyPr/>
        <a:lstStyle/>
        <a:p>
          <a:endParaRPr lang="en-US"/>
        </a:p>
      </dgm:t>
    </dgm:pt>
    <dgm:pt modelId="{D624C5D0-33DF-2C47-8B35-75619E60B953}" type="parTrans" cxnId="{A418181B-195F-C540-A70E-33DD1BB18438}">
      <dgm:prSet/>
      <dgm:spPr/>
      <dgm:t>
        <a:bodyPr/>
        <a:lstStyle/>
        <a:p>
          <a:endParaRPr lang="en-US"/>
        </a:p>
      </dgm:t>
    </dgm:pt>
    <dgm:pt modelId="{DC06D3F0-5939-3B40-BE38-69B6816FF1BC}" type="pres">
      <dgm:prSet presAssocID="{781F165F-88FD-0F49-BE5E-543C6AE3943A}" presName="Name0" presStyleCnt="0">
        <dgm:presLayoutVars>
          <dgm:dir/>
          <dgm:resizeHandles val="exact"/>
        </dgm:presLayoutVars>
      </dgm:prSet>
      <dgm:spPr/>
    </dgm:pt>
    <dgm:pt modelId="{50EAD4B2-E716-D742-879F-CD20B48D44D7}" type="pres">
      <dgm:prSet presAssocID="{C635E773-73F4-C345-876F-EC49C0411170}" presName="parTxOnly" presStyleLbl="node1" presStyleIdx="0" presStyleCnt="5" custScaleY="74745">
        <dgm:presLayoutVars>
          <dgm:bulletEnabled val="1"/>
        </dgm:presLayoutVars>
      </dgm:prSet>
      <dgm:spPr/>
    </dgm:pt>
    <dgm:pt modelId="{4606B817-F00B-414A-B82D-CF923619FEF1}" type="pres">
      <dgm:prSet presAssocID="{EA1D7F34-9907-924C-A925-0273FC50CAFF}" presName="parSpace" presStyleCnt="0"/>
      <dgm:spPr/>
    </dgm:pt>
    <dgm:pt modelId="{5D4AE62E-D122-E549-9FDE-C5A6579226E6}" type="pres">
      <dgm:prSet presAssocID="{F1633484-F410-2049-89F6-2A52C17E2BA3}" presName="parTxOnly" presStyleLbl="node1" presStyleIdx="1" presStyleCnt="5">
        <dgm:presLayoutVars>
          <dgm:bulletEnabled val="1"/>
        </dgm:presLayoutVars>
      </dgm:prSet>
      <dgm:spPr/>
    </dgm:pt>
    <dgm:pt modelId="{1A42C200-678F-244F-8ED2-D5EB0B003BE6}" type="pres">
      <dgm:prSet presAssocID="{A67590F1-B987-3746-B308-B8D98A49756B}" presName="parSpace" presStyleCnt="0"/>
      <dgm:spPr/>
    </dgm:pt>
    <dgm:pt modelId="{37E9EE08-28DD-1043-85D6-6F389C61BA97}" type="pres">
      <dgm:prSet presAssocID="{4AB4F7B6-F891-D148-ABF8-45A330A683E7}" presName="parTxOnly" presStyleLbl="node1" presStyleIdx="2" presStyleCnt="5">
        <dgm:presLayoutVars>
          <dgm:bulletEnabled val="1"/>
        </dgm:presLayoutVars>
      </dgm:prSet>
      <dgm:spPr/>
    </dgm:pt>
    <dgm:pt modelId="{04965C53-6357-2A48-96C1-2BF8A7D297B5}" type="pres">
      <dgm:prSet presAssocID="{4056527B-BE44-2543-B068-3708481FF1DB}" presName="parSpace" presStyleCnt="0"/>
      <dgm:spPr/>
    </dgm:pt>
    <dgm:pt modelId="{A321AFAD-7A09-B44E-BB82-A6F453920C7D}" type="pres">
      <dgm:prSet presAssocID="{0237B2AD-8EFF-B34C-A3FB-1154414511F8}" presName="parTxOnly" presStyleLbl="node1" presStyleIdx="3" presStyleCnt="5">
        <dgm:presLayoutVars>
          <dgm:bulletEnabled val="1"/>
        </dgm:presLayoutVars>
      </dgm:prSet>
      <dgm:spPr/>
    </dgm:pt>
    <dgm:pt modelId="{CC20E6BA-B6D8-B642-97CB-782BBC8EAFC8}" type="pres">
      <dgm:prSet presAssocID="{0CC06259-4754-0C4E-8A8E-EAEF15EFDF71}" presName="parSpace" presStyleCnt="0"/>
      <dgm:spPr/>
    </dgm:pt>
    <dgm:pt modelId="{5F174EF4-47BF-034A-A5EF-AE2C38F44384}" type="pres">
      <dgm:prSet presAssocID="{F25FDE00-3150-7C40-802A-15F9D786E62A}" presName="parTxOnly" presStyleLbl="node1" presStyleIdx="4" presStyleCnt="5">
        <dgm:presLayoutVars>
          <dgm:bulletEnabled val="1"/>
        </dgm:presLayoutVars>
      </dgm:prSet>
      <dgm:spPr/>
    </dgm:pt>
  </dgm:ptLst>
  <dgm:cxnLst>
    <dgm:cxn modelId="{F4CC0614-8BEF-8247-B3EC-3ED665669DEA}" type="presOf" srcId="{F25FDE00-3150-7C40-802A-15F9D786E62A}" destId="{5F174EF4-47BF-034A-A5EF-AE2C38F44384}" srcOrd="0" destOrd="0" presId="urn:microsoft.com/office/officeart/2005/8/layout/hChevron3"/>
    <dgm:cxn modelId="{A418181B-195F-C540-A70E-33DD1BB18438}" srcId="{781F165F-88FD-0F49-BE5E-543C6AE3943A}" destId="{0237B2AD-8EFF-B34C-A3FB-1154414511F8}" srcOrd="3" destOrd="0" parTransId="{D624C5D0-33DF-2C47-8B35-75619E60B953}" sibTransId="{0CC06259-4754-0C4E-8A8E-EAEF15EFDF71}"/>
    <dgm:cxn modelId="{D146952A-992B-9E42-950C-4AC59B760E13}" srcId="{781F165F-88FD-0F49-BE5E-543C6AE3943A}" destId="{F25FDE00-3150-7C40-802A-15F9D786E62A}" srcOrd="4" destOrd="0" parTransId="{720D6F4F-0792-DB4E-9628-D6C7D483B106}" sibTransId="{D466D50F-E9A4-5942-AEBC-16FD4AB72BA9}"/>
    <dgm:cxn modelId="{CC47F536-0801-0E4D-A6FE-019FC57311FF}" type="presOf" srcId="{C635E773-73F4-C345-876F-EC49C0411170}" destId="{50EAD4B2-E716-D742-879F-CD20B48D44D7}" srcOrd="0" destOrd="0" presId="urn:microsoft.com/office/officeart/2005/8/layout/hChevron3"/>
    <dgm:cxn modelId="{3631B879-F5E6-3F41-A66D-AD3AA9702EE4}" srcId="{781F165F-88FD-0F49-BE5E-543C6AE3943A}" destId="{F1633484-F410-2049-89F6-2A52C17E2BA3}" srcOrd="1" destOrd="0" parTransId="{CD23FA30-E65A-E44D-BC53-47352EB50C35}" sibTransId="{A67590F1-B987-3746-B308-B8D98A49756B}"/>
    <dgm:cxn modelId="{86DFB58F-278C-0649-8828-2FC3B5C950C6}" type="presOf" srcId="{781F165F-88FD-0F49-BE5E-543C6AE3943A}" destId="{DC06D3F0-5939-3B40-BE38-69B6816FF1BC}" srcOrd="0" destOrd="0" presId="urn:microsoft.com/office/officeart/2005/8/layout/hChevron3"/>
    <dgm:cxn modelId="{F06B00AF-F195-7648-897A-E95D8BD34700}" type="presOf" srcId="{0237B2AD-8EFF-B34C-A3FB-1154414511F8}" destId="{A321AFAD-7A09-B44E-BB82-A6F453920C7D}" srcOrd="0" destOrd="0" presId="urn:microsoft.com/office/officeart/2005/8/layout/hChevron3"/>
    <dgm:cxn modelId="{FA0D96AF-8DB6-EE4F-AE6A-1957C94BF852}" srcId="{781F165F-88FD-0F49-BE5E-543C6AE3943A}" destId="{C635E773-73F4-C345-876F-EC49C0411170}" srcOrd="0" destOrd="0" parTransId="{B45208C6-8991-2B41-8692-AA509185E479}" sibTransId="{EA1D7F34-9907-924C-A925-0273FC50CAFF}"/>
    <dgm:cxn modelId="{A5DED3B7-3973-A94E-9A89-2879DA442BED}" srcId="{781F165F-88FD-0F49-BE5E-543C6AE3943A}" destId="{4AB4F7B6-F891-D148-ABF8-45A330A683E7}" srcOrd="2" destOrd="0" parTransId="{EE3424BD-59A7-CA41-85D8-E70F0B263D75}" sibTransId="{4056527B-BE44-2543-B068-3708481FF1DB}"/>
    <dgm:cxn modelId="{3A9560D5-0262-A647-A9A2-22F33C719DBE}" type="presOf" srcId="{F1633484-F410-2049-89F6-2A52C17E2BA3}" destId="{5D4AE62E-D122-E549-9FDE-C5A6579226E6}" srcOrd="0" destOrd="0" presId="urn:microsoft.com/office/officeart/2005/8/layout/hChevron3"/>
    <dgm:cxn modelId="{27BF22F6-587D-B242-8E62-E28AA2BF70DF}" type="presOf" srcId="{4AB4F7B6-F891-D148-ABF8-45A330A683E7}" destId="{37E9EE08-28DD-1043-85D6-6F389C61BA97}" srcOrd="0" destOrd="0" presId="urn:microsoft.com/office/officeart/2005/8/layout/hChevron3"/>
    <dgm:cxn modelId="{0A0FDD96-DBF8-DA4E-8F8A-F0220FA54057}" type="presParOf" srcId="{DC06D3F0-5939-3B40-BE38-69B6816FF1BC}" destId="{50EAD4B2-E716-D742-879F-CD20B48D44D7}" srcOrd="0" destOrd="0" presId="urn:microsoft.com/office/officeart/2005/8/layout/hChevron3"/>
    <dgm:cxn modelId="{4ACB4758-3BE7-104E-B1FC-4F65CC8BAFB5}" type="presParOf" srcId="{DC06D3F0-5939-3B40-BE38-69B6816FF1BC}" destId="{4606B817-F00B-414A-B82D-CF923619FEF1}" srcOrd="1" destOrd="0" presId="urn:microsoft.com/office/officeart/2005/8/layout/hChevron3"/>
    <dgm:cxn modelId="{4E1C7057-C10B-6C44-9364-39C8F41AF5D3}" type="presParOf" srcId="{DC06D3F0-5939-3B40-BE38-69B6816FF1BC}" destId="{5D4AE62E-D122-E549-9FDE-C5A6579226E6}" srcOrd="2" destOrd="0" presId="urn:microsoft.com/office/officeart/2005/8/layout/hChevron3"/>
    <dgm:cxn modelId="{C9EF5958-91D1-0C4E-BBCC-30C6B9E98A11}" type="presParOf" srcId="{DC06D3F0-5939-3B40-BE38-69B6816FF1BC}" destId="{1A42C200-678F-244F-8ED2-D5EB0B003BE6}" srcOrd="3" destOrd="0" presId="urn:microsoft.com/office/officeart/2005/8/layout/hChevron3"/>
    <dgm:cxn modelId="{22EF08E3-C507-794D-9AA4-5194ABC672D5}" type="presParOf" srcId="{DC06D3F0-5939-3B40-BE38-69B6816FF1BC}" destId="{37E9EE08-28DD-1043-85D6-6F389C61BA97}" srcOrd="4" destOrd="0" presId="urn:microsoft.com/office/officeart/2005/8/layout/hChevron3"/>
    <dgm:cxn modelId="{1F097187-981F-BC46-A33D-07610A96E8D6}" type="presParOf" srcId="{DC06D3F0-5939-3B40-BE38-69B6816FF1BC}" destId="{04965C53-6357-2A48-96C1-2BF8A7D297B5}" srcOrd="5" destOrd="0" presId="urn:microsoft.com/office/officeart/2005/8/layout/hChevron3"/>
    <dgm:cxn modelId="{848211E8-75B3-B54B-A3D9-AE2C4C7490FF}" type="presParOf" srcId="{DC06D3F0-5939-3B40-BE38-69B6816FF1BC}" destId="{A321AFAD-7A09-B44E-BB82-A6F453920C7D}" srcOrd="6" destOrd="0" presId="urn:microsoft.com/office/officeart/2005/8/layout/hChevron3"/>
    <dgm:cxn modelId="{0FE839CC-8251-C94A-B866-B3D5BC4FF374}" type="presParOf" srcId="{DC06D3F0-5939-3B40-BE38-69B6816FF1BC}" destId="{CC20E6BA-B6D8-B642-97CB-782BBC8EAFC8}" srcOrd="7" destOrd="0" presId="urn:microsoft.com/office/officeart/2005/8/layout/hChevron3"/>
    <dgm:cxn modelId="{050B84AD-E733-1E43-BA50-F4CC8A9B3DC0}" type="presParOf" srcId="{DC06D3F0-5939-3B40-BE38-69B6816FF1BC}" destId="{5F174EF4-47BF-034A-A5EF-AE2C38F44384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781F165F-88FD-0F49-BE5E-543C6AE3943A}" type="doc">
      <dgm:prSet loTypeId="urn:microsoft.com/office/officeart/2005/8/layout/hChevron3" loCatId="" qsTypeId="urn:microsoft.com/office/officeart/2005/8/quickstyle/simple1" qsCatId="simple" csTypeId="urn:microsoft.com/office/officeart/2005/8/colors/accent1_2" csCatId="accent1" phldr="1"/>
      <dgm:spPr/>
    </dgm:pt>
    <dgm:pt modelId="{F25FDE00-3150-7C40-802A-15F9D786E62A}">
      <dgm:prSet phldrT="[Text]"/>
      <dgm:spPr>
        <a:solidFill>
          <a:srgbClr val="036E3D"/>
        </a:solidFill>
        <a:ln>
          <a:noFill/>
        </a:ln>
      </dgm:spPr>
      <dgm:t>
        <a:bodyPr/>
        <a:lstStyle/>
        <a:p>
          <a:endParaRPr lang="en-US"/>
        </a:p>
      </dgm:t>
    </dgm:pt>
    <dgm:pt modelId="{720D6F4F-0792-DB4E-9628-D6C7D483B106}" type="parTrans" cxnId="{D146952A-992B-9E42-950C-4AC59B760E13}">
      <dgm:prSet/>
      <dgm:spPr/>
      <dgm:t>
        <a:bodyPr/>
        <a:lstStyle/>
        <a:p>
          <a:endParaRPr lang="en-US"/>
        </a:p>
      </dgm:t>
    </dgm:pt>
    <dgm:pt modelId="{D466D50F-E9A4-5942-AEBC-16FD4AB72BA9}" type="sibTrans" cxnId="{D146952A-992B-9E42-950C-4AC59B760E13}">
      <dgm:prSet/>
      <dgm:spPr/>
      <dgm:t>
        <a:bodyPr/>
        <a:lstStyle/>
        <a:p>
          <a:endParaRPr lang="en-US"/>
        </a:p>
      </dgm:t>
    </dgm:pt>
    <dgm:pt modelId="{C635E773-73F4-C345-876F-EC49C0411170}">
      <dgm:prSet phldrT="[Text]"/>
      <dgm:spPr>
        <a:solidFill>
          <a:srgbClr val="24A558"/>
        </a:solidFill>
        <a:ln>
          <a:solidFill>
            <a:srgbClr val="29A457"/>
          </a:solidFill>
        </a:ln>
      </dgm:spPr>
      <dgm:t>
        <a:bodyPr/>
        <a:lstStyle/>
        <a:p>
          <a:endParaRPr lang="en-US"/>
        </a:p>
      </dgm:t>
    </dgm:pt>
    <dgm:pt modelId="{EA1D7F34-9907-924C-A925-0273FC50CAFF}" type="sibTrans" cxnId="{FA0D96AF-8DB6-EE4F-AE6A-1957C94BF852}">
      <dgm:prSet/>
      <dgm:spPr/>
      <dgm:t>
        <a:bodyPr/>
        <a:lstStyle/>
        <a:p>
          <a:endParaRPr lang="en-US"/>
        </a:p>
      </dgm:t>
    </dgm:pt>
    <dgm:pt modelId="{B45208C6-8991-2B41-8692-AA509185E479}" type="parTrans" cxnId="{FA0D96AF-8DB6-EE4F-AE6A-1957C94BF852}">
      <dgm:prSet/>
      <dgm:spPr/>
      <dgm:t>
        <a:bodyPr/>
        <a:lstStyle/>
        <a:p>
          <a:endParaRPr lang="en-US"/>
        </a:p>
      </dgm:t>
    </dgm:pt>
    <dgm:pt modelId="{F1633484-F410-2049-89F6-2A52C17E2BA3}">
      <dgm:prSet phldrT="[Text]"/>
      <dgm:spPr>
        <a:solidFill>
          <a:srgbClr val="1D964B"/>
        </a:solidFill>
        <a:ln>
          <a:noFill/>
        </a:ln>
      </dgm:spPr>
      <dgm:t>
        <a:bodyPr/>
        <a:lstStyle/>
        <a:p>
          <a:endParaRPr lang="en-US"/>
        </a:p>
      </dgm:t>
    </dgm:pt>
    <dgm:pt modelId="{A67590F1-B987-3746-B308-B8D98A49756B}" type="sibTrans" cxnId="{3631B879-F5E6-3F41-A66D-AD3AA9702EE4}">
      <dgm:prSet/>
      <dgm:spPr/>
      <dgm:t>
        <a:bodyPr/>
        <a:lstStyle/>
        <a:p>
          <a:endParaRPr lang="en-US"/>
        </a:p>
      </dgm:t>
    </dgm:pt>
    <dgm:pt modelId="{CD23FA30-E65A-E44D-BC53-47352EB50C35}" type="parTrans" cxnId="{3631B879-F5E6-3F41-A66D-AD3AA9702EE4}">
      <dgm:prSet/>
      <dgm:spPr/>
      <dgm:t>
        <a:bodyPr/>
        <a:lstStyle/>
        <a:p>
          <a:endParaRPr lang="en-US"/>
        </a:p>
      </dgm:t>
    </dgm:pt>
    <dgm:pt modelId="{4AB4F7B6-F891-D148-ABF8-45A330A683E7}">
      <dgm:prSet phldrT="[Text]"/>
      <dgm:spPr>
        <a:solidFill>
          <a:srgbClr val="198C44"/>
        </a:solidFill>
        <a:ln>
          <a:noFill/>
        </a:ln>
      </dgm:spPr>
      <dgm:t>
        <a:bodyPr/>
        <a:lstStyle/>
        <a:p>
          <a:endParaRPr lang="en-US"/>
        </a:p>
      </dgm:t>
    </dgm:pt>
    <dgm:pt modelId="{4056527B-BE44-2543-B068-3708481FF1DB}" type="sibTrans" cxnId="{A5DED3B7-3973-A94E-9A89-2879DA442BED}">
      <dgm:prSet/>
      <dgm:spPr/>
      <dgm:t>
        <a:bodyPr/>
        <a:lstStyle/>
        <a:p>
          <a:endParaRPr lang="en-US"/>
        </a:p>
      </dgm:t>
    </dgm:pt>
    <dgm:pt modelId="{EE3424BD-59A7-CA41-85D8-E70F0B263D75}" type="parTrans" cxnId="{A5DED3B7-3973-A94E-9A89-2879DA442BED}">
      <dgm:prSet/>
      <dgm:spPr/>
      <dgm:t>
        <a:bodyPr/>
        <a:lstStyle/>
        <a:p>
          <a:endParaRPr lang="en-US"/>
        </a:p>
      </dgm:t>
    </dgm:pt>
    <dgm:pt modelId="{0237B2AD-8EFF-B34C-A3FB-1154414511F8}">
      <dgm:prSet phldrT="[Text]"/>
      <dgm:spPr>
        <a:solidFill>
          <a:srgbClr val="037A42"/>
        </a:solidFill>
        <a:ln>
          <a:noFill/>
        </a:ln>
      </dgm:spPr>
      <dgm:t>
        <a:bodyPr/>
        <a:lstStyle/>
        <a:p>
          <a:endParaRPr lang="en-US"/>
        </a:p>
      </dgm:t>
    </dgm:pt>
    <dgm:pt modelId="{0CC06259-4754-0C4E-8A8E-EAEF15EFDF71}" type="sibTrans" cxnId="{A418181B-195F-C540-A70E-33DD1BB18438}">
      <dgm:prSet/>
      <dgm:spPr/>
      <dgm:t>
        <a:bodyPr/>
        <a:lstStyle/>
        <a:p>
          <a:endParaRPr lang="en-US"/>
        </a:p>
      </dgm:t>
    </dgm:pt>
    <dgm:pt modelId="{D624C5D0-33DF-2C47-8B35-75619E60B953}" type="parTrans" cxnId="{A418181B-195F-C540-A70E-33DD1BB18438}">
      <dgm:prSet/>
      <dgm:spPr/>
      <dgm:t>
        <a:bodyPr/>
        <a:lstStyle/>
        <a:p>
          <a:endParaRPr lang="en-US"/>
        </a:p>
      </dgm:t>
    </dgm:pt>
    <dgm:pt modelId="{DC06D3F0-5939-3B40-BE38-69B6816FF1BC}" type="pres">
      <dgm:prSet presAssocID="{781F165F-88FD-0F49-BE5E-543C6AE3943A}" presName="Name0" presStyleCnt="0">
        <dgm:presLayoutVars>
          <dgm:dir/>
          <dgm:resizeHandles val="exact"/>
        </dgm:presLayoutVars>
      </dgm:prSet>
      <dgm:spPr/>
    </dgm:pt>
    <dgm:pt modelId="{50EAD4B2-E716-D742-879F-CD20B48D44D7}" type="pres">
      <dgm:prSet presAssocID="{C635E773-73F4-C345-876F-EC49C0411170}" presName="parTxOnly" presStyleLbl="node1" presStyleIdx="0" presStyleCnt="5" custScaleY="74745">
        <dgm:presLayoutVars>
          <dgm:bulletEnabled val="1"/>
        </dgm:presLayoutVars>
      </dgm:prSet>
      <dgm:spPr/>
    </dgm:pt>
    <dgm:pt modelId="{4606B817-F00B-414A-B82D-CF923619FEF1}" type="pres">
      <dgm:prSet presAssocID="{EA1D7F34-9907-924C-A925-0273FC50CAFF}" presName="parSpace" presStyleCnt="0"/>
      <dgm:spPr/>
    </dgm:pt>
    <dgm:pt modelId="{5D4AE62E-D122-E549-9FDE-C5A6579226E6}" type="pres">
      <dgm:prSet presAssocID="{F1633484-F410-2049-89F6-2A52C17E2BA3}" presName="parTxOnly" presStyleLbl="node1" presStyleIdx="1" presStyleCnt="5">
        <dgm:presLayoutVars>
          <dgm:bulletEnabled val="1"/>
        </dgm:presLayoutVars>
      </dgm:prSet>
      <dgm:spPr/>
    </dgm:pt>
    <dgm:pt modelId="{1A42C200-678F-244F-8ED2-D5EB0B003BE6}" type="pres">
      <dgm:prSet presAssocID="{A67590F1-B987-3746-B308-B8D98A49756B}" presName="parSpace" presStyleCnt="0"/>
      <dgm:spPr/>
    </dgm:pt>
    <dgm:pt modelId="{37E9EE08-28DD-1043-85D6-6F389C61BA97}" type="pres">
      <dgm:prSet presAssocID="{4AB4F7B6-F891-D148-ABF8-45A330A683E7}" presName="parTxOnly" presStyleLbl="node1" presStyleIdx="2" presStyleCnt="5">
        <dgm:presLayoutVars>
          <dgm:bulletEnabled val="1"/>
        </dgm:presLayoutVars>
      </dgm:prSet>
      <dgm:spPr/>
    </dgm:pt>
    <dgm:pt modelId="{04965C53-6357-2A48-96C1-2BF8A7D297B5}" type="pres">
      <dgm:prSet presAssocID="{4056527B-BE44-2543-B068-3708481FF1DB}" presName="parSpace" presStyleCnt="0"/>
      <dgm:spPr/>
    </dgm:pt>
    <dgm:pt modelId="{A321AFAD-7A09-B44E-BB82-A6F453920C7D}" type="pres">
      <dgm:prSet presAssocID="{0237B2AD-8EFF-B34C-A3FB-1154414511F8}" presName="parTxOnly" presStyleLbl="node1" presStyleIdx="3" presStyleCnt="5">
        <dgm:presLayoutVars>
          <dgm:bulletEnabled val="1"/>
        </dgm:presLayoutVars>
      </dgm:prSet>
      <dgm:spPr/>
    </dgm:pt>
    <dgm:pt modelId="{CC20E6BA-B6D8-B642-97CB-782BBC8EAFC8}" type="pres">
      <dgm:prSet presAssocID="{0CC06259-4754-0C4E-8A8E-EAEF15EFDF71}" presName="parSpace" presStyleCnt="0"/>
      <dgm:spPr/>
    </dgm:pt>
    <dgm:pt modelId="{5F174EF4-47BF-034A-A5EF-AE2C38F44384}" type="pres">
      <dgm:prSet presAssocID="{F25FDE00-3150-7C40-802A-15F9D786E62A}" presName="parTxOnly" presStyleLbl="node1" presStyleIdx="4" presStyleCnt="5">
        <dgm:presLayoutVars>
          <dgm:bulletEnabled val="1"/>
        </dgm:presLayoutVars>
      </dgm:prSet>
      <dgm:spPr/>
    </dgm:pt>
  </dgm:ptLst>
  <dgm:cxnLst>
    <dgm:cxn modelId="{F4CC0614-8BEF-8247-B3EC-3ED665669DEA}" type="presOf" srcId="{F25FDE00-3150-7C40-802A-15F9D786E62A}" destId="{5F174EF4-47BF-034A-A5EF-AE2C38F44384}" srcOrd="0" destOrd="0" presId="urn:microsoft.com/office/officeart/2005/8/layout/hChevron3"/>
    <dgm:cxn modelId="{A418181B-195F-C540-A70E-33DD1BB18438}" srcId="{781F165F-88FD-0F49-BE5E-543C6AE3943A}" destId="{0237B2AD-8EFF-B34C-A3FB-1154414511F8}" srcOrd="3" destOrd="0" parTransId="{D624C5D0-33DF-2C47-8B35-75619E60B953}" sibTransId="{0CC06259-4754-0C4E-8A8E-EAEF15EFDF71}"/>
    <dgm:cxn modelId="{D146952A-992B-9E42-950C-4AC59B760E13}" srcId="{781F165F-88FD-0F49-BE5E-543C6AE3943A}" destId="{F25FDE00-3150-7C40-802A-15F9D786E62A}" srcOrd="4" destOrd="0" parTransId="{720D6F4F-0792-DB4E-9628-D6C7D483B106}" sibTransId="{D466D50F-E9A4-5942-AEBC-16FD4AB72BA9}"/>
    <dgm:cxn modelId="{CC47F536-0801-0E4D-A6FE-019FC57311FF}" type="presOf" srcId="{C635E773-73F4-C345-876F-EC49C0411170}" destId="{50EAD4B2-E716-D742-879F-CD20B48D44D7}" srcOrd="0" destOrd="0" presId="urn:microsoft.com/office/officeart/2005/8/layout/hChevron3"/>
    <dgm:cxn modelId="{3631B879-F5E6-3F41-A66D-AD3AA9702EE4}" srcId="{781F165F-88FD-0F49-BE5E-543C6AE3943A}" destId="{F1633484-F410-2049-89F6-2A52C17E2BA3}" srcOrd="1" destOrd="0" parTransId="{CD23FA30-E65A-E44D-BC53-47352EB50C35}" sibTransId="{A67590F1-B987-3746-B308-B8D98A49756B}"/>
    <dgm:cxn modelId="{86DFB58F-278C-0649-8828-2FC3B5C950C6}" type="presOf" srcId="{781F165F-88FD-0F49-BE5E-543C6AE3943A}" destId="{DC06D3F0-5939-3B40-BE38-69B6816FF1BC}" srcOrd="0" destOrd="0" presId="urn:microsoft.com/office/officeart/2005/8/layout/hChevron3"/>
    <dgm:cxn modelId="{F06B00AF-F195-7648-897A-E95D8BD34700}" type="presOf" srcId="{0237B2AD-8EFF-B34C-A3FB-1154414511F8}" destId="{A321AFAD-7A09-B44E-BB82-A6F453920C7D}" srcOrd="0" destOrd="0" presId="urn:microsoft.com/office/officeart/2005/8/layout/hChevron3"/>
    <dgm:cxn modelId="{FA0D96AF-8DB6-EE4F-AE6A-1957C94BF852}" srcId="{781F165F-88FD-0F49-BE5E-543C6AE3943A}" destId="{C635E773-73F4-C345-876F-EC49C0411170}" srcOrd="0" destOrd="0" parTransId="{B45208C6-8991-2B41-8692-AA509185E479}" sibTransId="{EA1D7F34-9907-924C-A925-0273FC50CAFF}"/>
    <dgm:cxn modelId="{A5DED3B7-3973-A94E-9A89-2879DA442BED}" srcId="{781F165F-88FD-0F49-BE5E-543C6AE3943A}" destId="{4AB4F7B6-F891-D148-ABF8-45A330A683E7}" srcOrd="2" destOrd="0" parTransId="{EE3424BD-59A7-CA41-85D8-E70F0B263D75}" sibTransId="{4056527B-BE44-2543-B068-3708481FF1DB}"/>
    <dgm:cxn modelId="{3A9560D5-0262-A647-A9A2-22F33C719DBE}" type="presOf" srcId="{F1633484-F410-2049-89F6-2A52C17E2BA3}" destId="{5D4AE62E-D122-E549-9FDE-C5A6579226E6}" srcOrd="0" destOrd="0" presId="urn:microsoft.com/office/officeart/2005/8/layout/hChevron3"/>
    <dgm:cxn modelId="{27BF22F6-587D-B242-8E62-E28AA2BF70DF}" type="presOf" srcId="{4AB4F7B6-F891-D148-ABF8-45A330A683E7}" destId="{37E9EE08-28DD-1043-85D6-6F389C61BA97}" srcOrd="0" destOrd="0" presId="urn:microsoft.com/office/officeart/2005/8/layout/hChevron3"/>
    <dgm:cxn modelId="{0A0FDD96-DBF8-DA4E-8F8A-F0220FA54057}" type="presParOf" srcId="{DC06D3F0-5939-3B40-BE38-69B6816FF1BC}" destId="{50EAD4B2-E716-D742-879F-CD20B48D44D7}" srcOrd="0" destOrd="0" presId="urn:microsoft.com/office/officeart/2005/8/layout/hChevron3"/>
    <dgm:cxn modelId="{4ACB4758-3BE7-104E-B1FC-4F65CC8BAFB5}" type="presParOf" srcId="{DC06D3F0-5939-3B40-BE38-69B6816FF1BC}" destId="{4606B817-F00B-414A-B82D-CF923619FEF1}" srcOrd="1" destOrd="0" presId="urn:microsoft.com/office/officeart/2005/8/layout/hChevron3"/>
    <dgm:cxn modelId="{4E1C7057-C10B-6C44-9364-39C8F41AF5D3}" type="presParOf" srcId="{DC06D3F0-5939-3B40-BE38-69B6816FF1BC}" destId="{5D4AE62E-D122-E549-9FDE-C5A6579226E6}" srcOrd="2" destOrd="0" presId="urn:microsoft.com/office/officeart/2005/8/layout/hChevron3"/>
    <dgm:cxn modelId="{C9EF5958-91D1-0C4E-BBCC-30C6B9E98A11}" type="presParOf" srcId="{DC06D3F0-5939-3B40-BE38-69B6816FF1BC}" destId="{1A42C200-678F-244F-8ED2-D5EB0B003BE6}" srcOrd="3" destOrd="0" presId="urn:microsoft.com/office/officeart/2005/8/layout/hChevron3"/>
    <dgm:cxn modelId="{22EF08E3-C507-794D-9AA4-5194ABC672D5}" type="presParOf" srcId="{DC06D3F0-5939-3B40-BE38-69B6816FF1BC}" destId="{37E9EE08-28DD-1043-85D6-6F389C61BA97}" srcOrd="4" destOrd="0" presId="urn:microsoft.com/office/officeart/2005/8/layout/hChevron3"/>
    <dgm:cxn modelId="{1F097187-981F-BC46-A33D-07610A96E8D6}" type="presParOf" srcId="{DC06D3F0-5939-3B40-BE38-69B6816FF1BC}" destId="{04965C53-6357-2A48-96C1-2BF8A7D297B5}" srcOrd="5" destOrd="0" presId="urn:microsoft.com/office/officeart/2005/8/layout/hChevron3"/>
    <dgm:cxn modelId="{848211E8-75B3-B54B-A3D9-AE2C4C7490FF}" type="presParOf" srcId="{DC06D3F0-5939-3B40-BE38-69B6816FF1BC}" destId="{A321AFAD-7A09-B44E-BB82-A6F453920C7D}" srcOrd="6" destOrd="0" presId="urn:microsoft.com/office/officeart/2005/8/layout/hChevron3"/>
    <dgm:cxn modelId="{0FE839CC-8251-C94A-B866-B3D5BC4FF374}" type="presParOf" srcId="{DC06D3F0-5939-3B40-BE38-69B6816FF1BC}" destId="{CC20E6BA-B6D8-B642-97CB-782BBC8EAFC8}" srcOrd="7" destOrd="0" presId="urn:microsoft.com/office/officeart/2005/8/layout/hChevron3"/>
    <dgm:cxn modelId="{050B84AD-E733-1E43-BA50-F4CC8A9B3DC0}" type="presParOf" srcId="{DC06D3F0-5939-3B40-BE38-69B6816FF1BC}" destId="{5F174EF4-47BF-034A-A5EF-AE2C38F44384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781F165F-88FD-0F49-BE5E-543C6AE3943A}" type="doc">
      <dgm:prSet loTypeId="urn:microsoft.com/office/officeart/2005/8/layout/hChevron3" loCatId="" qsTypeId="urn:microsoft.com/office/officeart/2005/8/quickstyle/simple1" qsCatId="simple" csTypeId="urn:microsoft.com/office/officeart/2005/8/colors/accent1_2" csCatId="accent1" phldr="1"/>
      <dgm:spPr/>
    </dgm:pt>
    <dgm:pt modelId="{F25FDE00-3150-7C40-802A-15F9D786E62A}">
      <dgm:prSet phldrT="[Text]"/>
      <dgm:spPr>
        <a:solidFill>
          <a:srgbClr val="036E3D"/>
        </a:solidFill>
        <a:ln>
          <a:noFill/>
        </a:ln>
      </dgm:spPr>
      <dgm:t>
        <a:bodyPr/>
        <a:lstStyle/>
        <a:p>
          <a:endParaRPr lang="en-US"/>
        </a:p>
      </dgm:t>
    </dgm:pt>
    <dgm:pt modelId="{720D6F4F-0792-DB4E-9628-D6C7D483B106}" type="parTrans" cxnId="{D146952A-992B-9E42-950C-4AC59B760E13}">
      <dgm:prSet/>
      <dgm:spPr/>
      <dgm:t>
        <a:bodyPr/>
        <a:lstStyle/>
        <a:p>
          <a:endParaRPr lang="en-US"/>
        </a:p>
      </dgm:t>
    </dgm:pt>
    <dgm:pt modelId="{D466D50F-E9A4-5942-AEBC-16FD4AB72BA9}" type="sibTrans" cxnId="{D146952A-992B-9E42-950C-4AC59B760E13}">
      <dgm:prSet/>
      <dgm:spPr/>
      <dgm:t>
        <a:bodyPr/>
        <a:lstStyle/>
        <a:p>
          <a:endParaRPr lang="en-US"/>
        </a:p>
      </dgm:t>
    </dgm:pt>
    <dgm:pt modelId="{C635E773-73F4-C345-876F-EC49C0411170}">
      <dgm:prSet phldrT="[Text]"/>
      <dgm:spPr>
        <a:solidFill>
          <a:srgbClr val="24A558"/>
        </a:solidFill>
        <a:ln>
          <a:solidFill>
            <a:srgbClr val="29A457"/>
          </a:solidFill>
        </a:ln>
      </dgm:spPr>
      <dgm:t>
        <a:bodyPr/>
        <a:lstStyle/>
        <a:p>
          <a:endParaRPr lang="en-US"/>
        </a:p>
      </dgm:t>
    </dgm:pt>
    <dgm:pt modelId="{EA1D7F34-9907-924C-A925-0273FC50CAFF}" type="sibTrans" cxnId="{FA0D96AF-8DB6-EE4F-AE6A-1957C94BF852}">
      <dgm:prSet/>
      <dgm:spPr/>
      <dgm:t>
        <a:bodyPr/>
        <a:lstStyle/>
        <a:p>
          <a:endParaRPr lang="en-US"/>
        </a:p>
      </dgm:t>
    </dgm:pt>
    <dgm:pt modelId="{B45208C6-8991-2B41-8692-AA509185E479}" type="parTrans" cxnId="{FA0D96AF-8DB6-EE4F-AE6A-1957C94BF852}">
      <dgm:prSet/>
      <dgm:spPr/>
      <dgm:t>
        <a:bodyPr/>
        <a:lstStyle/>
        <a:p>
          <a:endParaRPr lang="en-US"/>
        </a:p>
      </dgm:t>
    </dgm:pt>
    <dgm:pt modelId="{F1633484-F410-2049-89F6-2A52C17E2BA3}">
      <dgm:prSet phldrT="[Text]"/>
      <dgm:spPr>
        <a:solidFill>
          <a:srgbClr val="1D964B"/>
        </a:solidFill>
        <a:ln>
          <a:noFill/>
        </a:ln>
      </dgm:spPr>
      <dgm:t>
        <a:bodyPr/>
        <a:lstStyle/>
        <a:p>
          <a:endParaRPr lang="en-US"/>
        </a:p>
      </dgm:t>
    </dgm:pt>
    <dgm:pt modelId="{A67590F1-B987-3746-B308-B8D98A49756B}" type="sibTrans" cxnId="{3631B879-F5E6-3F41-A66D-AD3AA9702EE4}">
      <dgm:prSet/>
      <dgm:spPr/>
      <dgm:t>
        <a:bodyPr/>
        <a:lstStyle/>
        <a:p>
          <a:endParaRPr lang="en-US"/>
        </a:p>
      </dgm:t>
    </dgm:pt>
    <dgm:pt modelId="{CD23FA30-E65A-E44D-BC53-47352EB50C35}" type="parTrans" cxnId="{3631B879-F5E6-3F41-A66D-AD3AA9702EE4}">
      <dgm:prSet/>
      <dgm:spPr/>
      <dgm:t>
        <a:bodyPr/>
        <a:lstStyle/>
        <a:p>
          <a:endParaRPr lang="en-US"/>
        </a:p>
      </dgm:t>
    </dgm:pt>
    <dgm:pt modelId="{4AB4F7B6-F891-D148-ABF8-45A330A683E7}">
      <dgm:prSet phldrT="[Text]"/>
      <dgm:spPr>
        <a:solidFill>
          <a:srgbClr val="198C44"/>
        </a:solidFill>
        <a:ln>
          <a:noFill/>
        </a:ln>
      </dgm:spPr>
      <dgm:t>
        <a:bodyPr/>
        <a:lstStyle/>
        <a:p>
          <a:endParaRPr lang="en-US"/>
        </a:p>
      </dgm:t>
    </dgm:pt>
    <dgm:pt modelId="{4056527B-BE44-2543-B068-3708481FF1DB}" type="sibTrans" cxnId="{A5DED3B7-3973-A94E-9A89-2879DA442BED}">
      <dgm:prSet/>
      <dgm:spPr/>
      <dgm:t>
        <a:bodyPr/>
        <a:lstStyle/>
        <a:p>
          <a:endParaRPr lang="en-US"/>
        </a:p>
      </dgm:t>
    </dgm:pt>
    <dgm:pt modelId="{EE3424BD-59A7-CA41-85D8-E70F0B263D75}" type="parTrans" cxnId="{A5DED3B7-3973-A94E-9A89-2879DA442BED}">
      <dgm:prSet/>
      <dgm:spPr/>
      <dgm:t>
        <a:bodyPr/>
        <a:lstStyle/>
        <a:p>
          <a:endParaRPr lang="en-US"/>
        </a:p>
      </dgm:t>
    </dgm:pt>
    <dgm:pt modelId="{0237B2AD-8EFF-B34C-A3FB-1154414511F8}">
      <dgm:prSet phldrT="[Text]"/>
      <dgm:spPr>
        <a:solidFill>
          <a:srgbClr val="037A42"/>
        </a:solidFill>
        <a:ln>
          <a:noFill/>
        </a:ln>
      </dgm:spPr>
      <dgm:t>
        <a:bodyPr/>
        <a:lstStyle/>
        <a:p>
          <a:endParaRPr lang="en-US"/>
        </a:p>
      </dgm:t>
    </dgm:pt>
    <dgm:pt modelId="{0CC06259-4754-0C4E-8A8E-EAEF15EFDF71}" type="sibTrans" cxnId="{A418181B-195F-C540-A70E-33DD1BB18438}">
      <dgm:prSet/>
      <dgm:spPr/>
      <dgm:t>
        <a:bodyPr/>
        <a:lstStyle/>
        <a:p>
          <a:endParaRPr lang="en-US"/>
        </a:p>
      </dgm:t>
    </dgm:pt>
    <dgm:pt modelId="{D624C5D0-33DF-2C47-8B35-75619E60B953}" type="parTrans" cxnId="{A418181B-195F-C540-A70E-33DD1BB18438}">
      <dgm:prSet/>
      <dgm:spPr/>
      <dgm:t>
        <a:bodyPr/>
        <a:lstStyle/>
        <a:p>
          <a:endParaRPr lang="en-US"/>
        </a:p>
      </dgm:t>
    </dgm:pt>
    <dgm:pt modelId="{DC06D3F0-5939-3B40-BE38-69B6816FF1BC}" type="pres">
      <dgm:prSet presAssocID="{781F165F-88FD-0F49-BE5E-543C6AE3943A}" presName="Name0" presStyleCnt="0">
        <dgm:presLayoutVars>
          <dgm:dir/>
          <dgm:resizeHandles val="exact"/>
        </dgm:presLayoutVars>
      </dgm:prSet>
      <dgm:spPr/>
    </dgm:pt>
    <dgm:pt modelId="{50EAD4B2-E716-D742-879F-CD20B48D44D7}" type="pres">
      <dgm:prSet presAssocID="{C635E773-73F4-C345-876F-EC49C0411170}" presName="parTxOnly" presStyleLbl="node1" presStyleIdx="0" presStyleCnt="5" custScaleY="74745">
        <dgm:presLayoutVars>
          <dgm:bulletEnabled val="1"/>
        </dgm:presLayoutVars>
      </dgm:prSet>
      <dgm:spPr/>
    </dgm:pt>
    <dgm:pt modelId="{4606B817-F00B-414A-B82D-CF923619FEF1}" type="pres">
      <dgm:prSet presAssocID="{EA1D7F34-9907-924C-A925-0273FC50CAFF}" presName="parSpace" presStyleCnt="0"/>
      <dgm:spPr/>
    </dgm:pt>
    <dgm:pt modelId="{5D4AE62E-D122-E549-9FDE-C5A6579226E6}" type="pres">
      <dgm:prSet presAssocID="{F1633484-F410-2049-89F6-2A52C17E2BA3}" presName="parTxOnly" presStyleLbl="node1" presStyleIdx="1" presStyleCnt="5">
        <dgm:presLayoutVars>
          <dgm:bulletEnabled val="1"/>
        </dgm:presLayoutVars>
      </dgm:prSet>
      <dgm:spPr/>
    </dgm:pt>
    <dgm:pt modelId="{1A42C200-678F-244F-8ED2-D5EB0B003BE6}" type="pres">
      <dgm:prSet presAssocID="{A67590F1-B987-3746-B308-B8D98A49756B}" presName="parSpace" presStyleCnt="0"/>
      <dgm:spPr/>
    </dgm:pt>
    <dgm:pt modelId="{37E9EE08-28DD-1043-85D6-6F389C61BA97}" type="pres">
      <dgm:prSet presAssocID="{4AB4F7B6-F891-D148-ABF8-45A330A683E7}" presName="parTxOnly" presStyleLbl="node1" presStyleIdx="2" presStyleCnt="5">
        <dgm:presLayoutVars>
          <dgm:bulletEnabled val="1"/>
        </dgm:presLayoutVars>
      </dgm:prSet>
      <dgm:spPr/>
    </dgm:pt>
    <dgm:pt modelId="{04965C53-6357-2A48-96C1-2BF8A7D297B5}" type="pres">
      <dgm:prSet presAssocID="{4056527B-BE44-2543-B068-3708481FF1DB}" presName="parSpace" presStyleCnt="0"/>
      <dgm:spPr/>
    </dgm:pt>
    <dgm:pt modelId="{A321AFAD-7A09-B44E-BB82-A6F453920C7D}" type="pres">
      <dgm:prSet presAssocID="{0237B2AD-8EFF-B34C-A3FB-1154414511F8}" presName="parTxOnly" presStyleLbl="node1" presStyleIdx="3" presStyleCnt="5">
        <dgm:presLayoutVars>
          <dgm:bulletEnabled val="1"/>
        </dgm:presLayoutVars>
      </dgm:prSet>
      <dgm:spPr/>
    </dgm:pt>
    <dgm:pt modelId="{CC20E6BA-B6D8-B642-97CB-782BBC8EAFC8}" type="pres">
      <dgm:prSet presAssocID="{0CC06259-4754-0C4E-8A8E-EAEF15EFDF71}" presName="parSpace" presStyleCnt="0"/>
      <dgm:spPr/>
    </dgm:pt>
    <dgm:pt modelId="{5F174EF4-47BF-034A-A5EF-AE2C38F44384}" type="pres">
      <dgm:prSet presAssocID="{F25FDE00-3150-7C40-802A-15F9D786E62A}" presName="parTxOnly" presStyleLbl="node1" presStyleIdx="4" presStyleCnt="5">
        <dgm:presLayoutVars>
          <dgm:bulletEnabled val="1"/>
        </dgm:presLayoutVars>
      </dgm:prSet>
      <dgm:spPr/>
    </dgm:pt>
  </dgm:ptLst>
  <dgm:cxnLst>
    <dgm:cxn modelId="{F4CC0614-8BEF-8247-B3EC-3ED665669DEA}" type="presOf" srcId="{F25FDE00-3150-7C40-802A-15F9D786E62A}" destId="{5F174EF4-47BF-034A-A5EF-AE2C38F44384}" srcOrd="0" destOrd="0" presId="urn:microsoft.com/office/officeart/2005/8/layout/hChevron3"/>
    <dgm:cxn modelId="{A418181B-195F-C540-A70E-33DD1BB18438}" srcId="{781F165F-88FD-0F49-BE5E-543C6AE3943A}" destId="{0237B2AD-8EFF-B34C-A3FB-1154414511F8}" srcOrd="3" destOrd="0" parTransId="{D624C5D0-33DF-2C47-8B35-75619E60B953}" sibTransId="{0CC06259-4754-0C4E-8A8E-EAEF15EFDF71}"/>
    <dgm:cxn modelId="{D146952A-992B-9E42-950C-4AC59B760E13}" srcId="{781F165F-88FD-0F49-BE5E-543C6AE3943A}" destId="{F25FDE00-3150-7C40-802A-15F9D786E62A}" srcOrd="4" destOrd="0" parTransId="{720D6F4F-0792-DB4E-9628-D6C7D483B106}" sibTransId="{D466D50F-E9A4-5942-AEBC-16FD4AB72BA9}"/>
    <dgm:cxn modelId="{CC47F536-0801-0E4D-A6FE-019FC57311FF}" type="presOf" srcId="{C635E773-73F4-C345-876F-EC49C0411170}" destId="{50EAD4B2-E716-D742-879F-CD20B48D44D7}" srcOrd="0" destOrd="0" presId="urn:microsoft.com/office/officeart/2005/8/layout/hChevron3"/>
    <dgm:cxn modelId="{3631B879-F5E6-3F41-A66D-AD3AA9702EE4}" srcId="{781F165F-88FD-0F49-BE5E-543C6AE3943A}" destId="{F1633484-F410-2049-89F6-2A52C17E2BA3}" srcOrd="1" destOrd="0" parTransId="{CD23FA30-E65A-E44D-BC53-47352EB50C35}" sibTransId="{A67590F1-B987-3746-B308-B8D98A49756B}"/>
    <dgm:cxn modelId="{86DFB58F-278C-0649-8828-2FC3B5C950C6}" type="presOf" srcId="{781F165F-88FD-0F49-BE5E-543C6AE3943A}" destId="{DC06D3F0-5939-3B40-BE38-69B6816FF1BC}" srcOrd="0" destOrd="0" presId="urn:microsoft.com/office/officeart/2005/8/layout/hChevron3"/>
    <dgm:cxn modelId="{F06B00AF-F195-7648-897A-E95D8BD34700}" type="presOf" srcId="{0237B2AD-8EFF-B34C-A3FB-1154414511F8}" destId="{A321AFAD-7A09-B44E-BB82-A6F453920C7D}" srcOrd="0" destOrd="0" presId="urn:microsoft.com/office/officeart/2005/8/layout/hChevron3"/>
    <dgm:cxn modelId="{FA0D96AF-8DB6-EE4F-AE6A-1957C94BF852}" srcId="{781F165F-88FD-0F49-BE5E-543C6AE3943A}" destId="{C635E773-73F4-C345-876F-EC49C0411170}" srcOrd="0" destOrd="0" parTransId="{B45208C6-8991-2B41-8692-AA509185E479}" sibTransId="{EA1D7F34-9907-924C-A925-0273FC50CAFF}"/>
    <dgm:cxn modelId="{A5DED3B7-3973-A94E-9A89-2879DA442BED}" srcId="{781F165F-88FD-0F49-BE5E-543C6AE3943A}" destId="{4AB4F7B6-F891-D148-ABF8-45A330A683E7}" srcOrd="2" destOrd="0" parTransId="{EE3424BD-59A7-CA41-85D8-E70F0B263D75}" sibTransId="{4056527B-BE44-2543-B068-3708481FF1DB}"/>
    <dgm:cxn modelId="{3A9560D5-0262-A647-A9A2-22F33C719DBE}" type="presOf" srcId="{F1633484-F410-2049-89F6-2A52C17E2BA3}" destId="{5D4AE62E-D122-E549-9FDE-C5A6579226E6}" srcOrd="0" destOrd="0" presId="urn:microsoft.com/office/officeart/2005/8/layout/hChevron3"/>
    <dgm:cxn modelId="{27BF22F6-587D-B242-8E62-E28AA2BF70DF}" type="presOf" srcId="{4AB4F7B6-F891-D148-ABF8-45A330A683E7}" destId="{37E9EE08-28DD-1043-85D6-6F389C61BA97}" srcOrd="0" destOrd="0" presId="urn:microsoft.com/office/officeart/2005/8/layout/hChevron3"/>
    <dgm:cxn modelId="{0A0FDD96-DBF8-DA4E-8F8A-F0220FA54057}" type="presParOf" srcId="{DC06D3F0-5939-3B40-BE38-69B6816FF1BC}" destId="{50EAD4B2-E716-D742-879F-CD20B48D44D7}" srcOrd="0" destOrd="0" presId="urn:microsoft.com/office/officeart/2005/8/layout/hChevron3"/>
    <dgm:cxn modelId="{4ACB4758-3BE7-104E-B1FC-4F65CC8BAFB5}" type="presParOf" srcId="{DC06D3F0-5939-3B40-BE38-69B6816FF1BC}" destId="{4606B817-F00B-414A-B82D-CF923619FEF1}" srcOrd="1" destOrd="0" presId="urn:microsoft.com/office/officeart/2005/8/layout/hChevron3"/>
    <dgm:cxn modelId="{4E1C7057-C10B-6C44-9364-39C8F41AF5D3}" type="presParOf" srcId="{DC06D3F0-5939-3B40-BE38-69B6816FF1BC}" destId="{5D4AE62E-D122-E549-9FDE-C5A6579226E6}" srcOrd="2" destOrd="0" presId="urn:microsoft.com/office/officeart/2005/8/layout/hChevron3"/>
    <dgm:cxn modelId="{C9EF5958-91D1-0C4E-BBCC-30C6B9E98A11}" type="presParOf" srcId="{DC06D3F0-5939-3B40-BE38-69B6816FF1BC}" destId="{1A42C200-678F-244F-8ED2-D5EB0B003BE6}" srcOrd="3" destOrd="0" presId="urn:microsoft.com/office/officeart/2005/8/layout/hChevron3"/>
    <dgm:cxn modelId="{22EF08E3-C507-794D-9AA4-5194ABC672D5}" type="presParOf" srcId="{DC06D3F0-5939-3B40-BE38-69B6816FF1BC}" destId="{37E9EE08-28DD-1043-85D6-6F389C61BA97}" srcOrd="4" destOrd="0" presId="urn:microsoft.com/office/officeart/2005/8/layout/hChevron3"/>
    <dgm:cxn modelId="{1F097187-981F-BC46-A33D-07610A96E8D6}" type="presParOf" srcId="{DC06D3F0-5939-3B40-BE38-69B6816FF1BC}" destId="{04965C53-6357-2A48-96C1-2BF8A7D297B5}" srcOrd="5" destOrd="0" presId="urn:microsoft.com/office/officeart/2005/8/layout/hChevron3"/>
    <dgm:cxn modelId="{848211E8-75B3-B54B-A3D9-AE2C4C7490FF}" type="presParOf" srcId="{DC06D3F0-5939-3B40-BE38-69B6816FF1BC}" destId="{A321AFAD-7A09-B44E-BB82-A6F453920C7D}" srcOrd="6" destOrd="0" presId="urn:microsoft.com/office/officeart/2005/8/layout/hChevron3"/>
    <dgm:cxn modelId="{0FE839CC-8251-C94A-B866-B3D5BC4FF374}" type="presParOf" srcId="{DC06D3F0-5939-3B40-BE38-69B6816FF1BC}" destId="{CC20E6BA-B6D8-B642-97CB-782BBC8EAFC8}" srcOrd="7" destOrd="0" presId="urn:microsoft.com/office/officeart/2005/8/layout/hChevron3"/>
    <dgm:cxn modelId="{050B84AD-E733-1E43-BA50-F4CC8A9B3DC0}" type="presParOf" srcId="{DC06D3F0-5939-3B40-BE38-69B6816FF1BC}" destId="{5F174EF4-47BF-034A-A5EF-AE2C38F44384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781F165F-88FD-0F49-BE5E-543C6AE3943A}" type="doc">
      <dgm:prSet loTypeId="urn:microsoft.com/office/officeart/2005/8/layout/hChevron3" loCatId="" qsTypeId="urn:microsoft.com/office/officeart/2005/8/quickstyle/simple1" qsCatId="simple" csTypeId="urn:microsoft.com/office/officeart/2005/8/colors/accent1_2" csCatId="accent1" phldr="1"/>
      <dgm:spPr/>
    </dgm:pt>
    <dgm:pt modelId="{F25FDE00-3150-7C40-802A-15F9D786E62A}">
      <dgm:prSet phldrT="[Text]"/>
      <dgm:spPr>
        <a:solidFill>
          <a:srgbClr val="036E3D"/>
        </a:solidFill>
        <a:ln>
          <a:noFill/>
        </a:ln>
      </dgm:spPr>
      <dgm:t>
        <a:bodyPr/>
        <a:lstStyle/>
        <a:p>
          <a:endParaRPr lang="en-US"/>
        </a:p>
      </dgm:t>
    </dgm:pt>
    <dgm:pt modelId="{720D6F4F-0792-DB4E-9628-D6C7D483B106}" type="parTrans" cxnId="{D146952A-992B-9E42-950C-4AC59B760E13}">
      <dgm:prSet/>
      <dgm:spPr/>
      <dgm:t>
        <a:bodyPr/>
        <a:lstStyle/>
        <a:p>
          <a:endParaRPr lang="en-US"/>
        </a:p>
      </dgm:t>
    </dgm:pt>
    <dgm:pt modelId="{D466D50F-E9A4-5942-AEBC-16FD4AB72BA9}" type="sibTrans" cxnId="{D146952A-992B-9E42-950C-4AC59B760E13}">
      <dgm:prSet/>
      <dgm:spPr/>
      <dgm:t>
        <a:bodyPr/>
        <a:lstStyle/>
        <a:p>
          <a:endParaRPr lang="en-US"/>
        </a:p>
      </dgm:t>
    </dgm:pt>
    <dgm:pt modelId="{F1633484-F410-2049-89F6-2A52C17E2BA3}">
      <dgm:prSet phldrT="[Text]"/>
      <dgm:spPr>
        <a:solidFill>
          <a:srgbClr val="1D964B"/>
        </a:solidFill>
        <a:ln>
          <a:noFill/>
        </a:ln>
      </dgm:spPr>
      <dgm:t>
        <a:bodyPr/>
        <a:lstStyle/>
        <a:p>
          <a:endParaRPr lang="en-US"/>
        </a:p>
      </dgm:t>
    </dgm:pt>
    <dgm:pt modelId="{A67590F1-B987-3746-B308-B8D98A49756B}" type="sibTrans" cxnId="{3631B879-F5E6-3F41-A66D-AD3AA9702EE4}">
      <dgm:prSet/>
      <dgm:spPr/>
      <dgm:t>
        <a:bodyPr/>
        <a:lstStyle/>
        <a:p>
          <a:endParaRPr lang="en-US"/>
        </a:p>
      </dgm:t>
    </dgm:pt>
    <dgm:pt modelId="{CD23FA30-E65A-E44D-BC53-47352EB50C35}" type="parTrans" cxnId="{3631B879-F5E6-3F41-A66D-AD3AA9702EE4}">
      <dgm:prSet/>
      <dgm:spPr/>
      <dgm:t>
        <a:bodyPr/>
        <a:lstStyle/>
        <a:p>
          <a:endParaRPr lang="en-US"/>
        </a:p>
      </dgm:t>
    </dgm:pt>
    <dgm:pt modelId="{4AB4F7B6-F891-D148-ABF8-45A330A683E7}">
      <dgm:prSet phldrT="[Text]"/>
      <dgm:spPr>
        <a:solidFill>
          <a:srgbClr val="198C44"/>
        </a:solidFill>
        <a:ln>
          <a:noFill/>
        </a:ln>
      </dgm:spPr>
      <dgm:t>
        <a:bodyPr/>
        <a:lstStyle/>
        <a:p>
          <a:endParaRPr lang="en-US"/>
        </a:p>
      </dgm:t>
    </dgm:pt>
    <dgm:pt modelId="{4056527B-BE44-2543-B068-3708481FF1DB}" type="sibTrans" cxnId="{A5DED3B7-3973-A94E-9A89-2879DA442BED}">
      <dgm:prSet/>
      <dgm:spPr/>
      <dgm:t>
        <a:bodyPr/>
        <a:lstStyle/>
        <a:p>
          <a:endParaRPr lang="en-US"/>
        </a:p>
      </dgm:t>
    </dgm:pt>
    <dgm:pt modelId="{EE3424BD-59A7-CA41-85D8-E70F0B263D75}" type="parTrans" cxnId="{A5DED3B7-3973-A94E-9A89-2879DA442BED}">
      <dgm:prSet/>
      <dgm:spPr/>
      <dgm:t>
        <a:bodyPr/>
        <a:lstStyle/>
        <a:p>
          <a:endParaRPr lang="en-US"/>
        </a:p>
      </dgm:t>
    </dgm:pt>
    <dgm:pt modelId="{0237B2AD-8EFF-B34C-A3FB-1154414511F8}">
      <dgm:prSet phldrT="[Text]"/>
      <dgm:spPr>
        <a:solidFill>
          <a:srgbClr val="037A42"/>
        </a:solidFill>
        <a:ln>
          <a:noFill/>
        </a:ln>
      </dgm:spPr>
      <dgm:t>
        <a:bodyPr/>
        <a:lstStyle/>
        <a:p>
          <a:endParaRPr lang="en-US"/>
        </a:p>
      </dgm:t>
    </dgm:pt>
    <dgm:pt modelId="{0CC06259-4754-0C4E-8A8E-EAEF15EFDF71}" type="sibTrans" cxnId="{A418181B-195F-C540-A70E-33DD1BB18438}">
      <dgm:prSet/>
      <dgm:spPr/>
      <dgm:t>
        <a:bodyPr/>
        <a:lstStyle/>
        <a:p>
          <a:endParaRPr lang="en-US"/>
        </a:p>
      </dgm:t>
    </dgm:pt>
    <dgm:pt modelId="{D624C5D0-33DF-2C47-8B35-75619E60B953}" type="parTrans" cxnId="{A418181B-195F-C540-A70E-33DD1BB18438}">
      <dgm:prSet/>
      <dgm:spPr/>
      <dgm:t>
        <a:bodyPr/>
        <a:lstStyle/>
        <a:p>
          <a:endParaRPr lang="en-US"/>
        </a:p>
      </dgm:t>
    </dgm:pt>
    <dgm:pt modelId="{C635E773-73F4-C345-876F-EC49C0411170}">
      <dgm:prSet phldrT="[Text]"/>
      <dgm:spPr>
        <a:solidFill>
          <a:srgbClr val="24A558"/>
        </a:solidFill>
        <a:ln>
          <a:solidFill>
            <a:srgbClr val="29A457"/>
          </a:solidFill>
        </a:ln>
      </dgm:spPr>
      <dgm:t>
        <a:bodyPr/>
        <a:lstStyle/>
        <a:p>
          <a:endParaRPr lang="en-US"/>
        </a:p>
      </dgm:t>
    </dgm:pt>
    <dgm:pt modelId="{EA1D7F34-9907-924C-A925-0273FC50CAFF}" type="sibTrans" cxnId="{FA0D96AF-8DB6-EE4F-AE6A-1957C94BF852}">
      <dgm:prSet/>
      <dgm:spPr/>
      <dgm:t>
        <a:bodyPr/>
        <a:lstStyle/>
        <a:p>
          <a:endParaRPr lang="en-US"/>
        </a:p>
      </dgm:t>
    </dgm:pt>
    <dgm:pt modelId="{B45208C6-8991-2B41-8692-AA509185E479}" type="parTrans" cxnId="{FA0D96AF-8DB6-EE4F-AE6A-1957C94BF852}">
      <dgm:prSet/>
      <dgm:spPr/>
      <dgm:t>
        <a:bodyPr/>
        <a:lstStyle/>
        <a:p>
          <a:endParaRPr lang="en-US"/>
        </a:p>
      </dgm:t>
    </dgm:pt>
    <dgm:pt modelId="{DC06D3F0-5939-3B40-BE38-69B6816FF1BC}" type="pres">
      <dgm:prSet presAssocID="{781F165F-88FD-0F49-BE5E-543C6AE3943A}" presName="Name0" presStyleCnt="0">
        <dgm:presLayoutVars>
          <dgm:dir/>
          <dgm:resizeHandles val="exact"/>
        </dgm:presLayoutVars>
      </dgm:prSet>
      <dgm:spPr/>
    </dgm:pt>
    <dgm:pt modelId="{50EAD4B2-E716-D742-879F-CD20B48D44D7}" type="pres">
      <dgm:prSet presAssocID="{C635E773-73F4-C345-876F-EC49C0411170}" presName="parTxOnly" presStyleLbl="node1" presStyleIdx="0" presStyleCnt="5" custScaleY="74745">
        <dgm:presLayoutVars>
          <dgm:bulletEnabled val="1"/>
        </dgm:presLayoutVars>
      </dgm:prSet>
      <dgm:spPr/>
    </dgm:pt>
    <dgm:pt modelId="{4606B817-F00B-414A-B82D-CF923619FEF1}" type="pres">
      <dgm:prSet presAssocID="{EA1D7F34-9907-924C-A925-0273FC50CAFF}" presName="parSpace" presStyleCnt="0"/>
      <dgm:spPr/>
    </dgm:pt>
    <dgm:pt modelId="{5D4AE62E-D122-E549-9FDE-C5A6579226E6}" type="pres">
      <dgm:prSet presAssocID="{F1633484-F410-2049-89F6-2A52C17E2BA3}" presName="parTxOnly" presStyleLbl="node1" presStyleIdx="1" presStyleCnt="5">
        <dgm:presLayoutVars>
          <dgm:bulletEnabled val="1"/>
        </dgm:presLayoutVars>
      </dgm:prSet>
      <dgm:spPr/>
    </dgm:pt>
    <dgm:pt modelId="{1A42C200-678F-244F-8ED2-D5EB0B003BE6}" type="pres">
      <dgm:prSet presAssocID="{A67590F1-B987-3746-B308-B8D98A49756B}" presName="parSpace" presStyleCnt="0"/>
      <dgm:spPr/>
    </dgm:pt>
    <dgm:pt modelId="{37E9EE08-28DD-1043-85D6-6F389C61BA97}" type="pres">
      <dgm:prSet presAssocID="{4AB4F7B6-F891-D148-ABF8-45A330A683E7}" presName="parTxOnly" presStyleLbl="node1" presStyleIdx="2" presStyleCnt="5">
        <dgm:presLayoutVars>
          <dgm:bulletEnabled val="1"/>
        </dgm:presLayoutVars>
      </dgm:prSet>
      <dgm:spPr/>
    </dgm:pt>
    <dgm:pt modelId="{04965C53-6357-2A48-96C1-2BF8A7D297B5}" type="pres">
      <dgm:prSet presAssocID="{4056527B-BE44-2543-B068-3708481FF1DB}" presName="parSpace" presStyleCnt="0"/>
      <dgm:spPr/>
    </dgm:pt>
    <dgm:pt modelId="{A321AFAD-7A09-B44E-BB82-A6F453920C7D}" type="pres">
      <dgm:prSet presAssocID="{0237B2AD-8EFF-B34C-A3FB-1154414511F8}" presName="parTxOnly" presStyleLbl="node1" presStyleIdx="3" presStyleCnt="5">
        <dgm:presLayoutVars>
          <dgm:bulletEnabled val="1"/>
        </dgm:presLayoutVars>
      </dgm:prSet>
      <dgm:spPr/>
    </dgm:pt>
    <dgm:pt modelId="{CC20E6BA-B6D8-B642-97CB-782BBC8EAFC8}" type="pres">
      <dgm:prSet presAssocID="{0CC06259-4754-0C4E-8A8E-EAEF15EFDF71}" presName="parSpace" presStyleCnt="0"/>
      <dgm:spPr/>
    </dgm:pt>
    <dgm:pt modelId="{5F174EF4-47BF-034A-A5EF-AE2C38F44384}" type="pres">
      <dgm:prSet presAssocID="{F25FDE00-3150-7C40-802A-15F9D786E62A}" presName="parTxOnly" presStyleLbl="node1" presStyleIdx="4" presStyleCnt="5">
        <dgm:presLayoutVars>
          <dgm:bulletEnabled val="1"/>
        </dgm:presLayoutVars>
      </dgm:prSet>
      <dgm:spPr/>
    </dgm:pt>
  </dgm:ptLst>
  <dgm:cxnLst>
    <dgm:cxn modelId="{F4CC0614-8BEF-8247-B3EC-3ED665669DEA}" type="presOf" srcId="{F25FDE00-3150-7C40-802A-15F9D786E62A}" destId="{5F174EF4-47BF-034A-A5EF-AE2C38F44384}" srcOrd="0" destOrd="0" presId="urn:microsoft.com/office/officeart/2005/8/layout/hChevron3"/>
    <dgm:cxn modelId="{A418181B-195F-C540-A70E-33DD1BB18438}" srcId="{781F165F-88FD-0F49-BE5E-543C6AE3943A}" destId="{0237B2AD-8EFF-B34C-A3FB-1154414511F8}" srcOrd="3" destOrd="0" parTransId="{D624C5D0-33DF-2C47-8B35-75619E60B953}" sibTransId="{0CC06259-4754-0C4E-8A8E-EAEF15EFDF71}"/>
    <dgm:cxn modelId="{D146952A-992B-9E42-950C-4AC59B760E13}" srcId="{781F165F-88FD-0F49-BE5E-543C6AE3943A}" destId="{F25FDE00-3150-7C40-802A-15F9D786E62A}" srcOrd="4" destOrd="0" parTransId="{720D6F4F-0792-DB4E-9628-D6C7D483B106}" sibTransId="{D466D50F-E9A4-5942-AEBC-16FD4AB72BA9}"/>
    <dgm:cxn modelId="{CC47F536-0801-0E4D-A6FE-019FC57311FF}" type="presOf" srcId="{C635E773-73F4-C345-876F-EC49C0411170}" destId="{50EAD4B2-E716-D742-879F-CD20B48D44D7}" srcOrd="0" destOrd="0" presId="urn:microsoft.com/office/officeart/2005/8/layout/hChevron3"/>
    <dgm:cxn modelId="{3631B879-F5E6-3F41-A66D-AD3AA9702EE4}" srcId="{781F165F-88FD-0F49-BE5E-543C6AE3943A}" destId="{F1633484-F410-2049-89F6-2A52C17E2BA3}" srcOrd="1" destOrd="0" parTransId="{CD23FA30-E65A-E44D-BC53-47352EB50C35}" sibTransId="{A67590F1-B987-3746-B308-B8D98A49756B}"/>
    <dgm:cxn modelId="{86DFB58F-278C-0649-8828-2FC3B5C950C6}" type="presOf" srcId="{781F165F-88FD-0F49-BE5E-543C6AE3943A}" destId="{DC06D3F0-5939-3B40-BE38-69B6816FF1BC}" srcOrd="0" destOrd="0" presId="urn:microsoft.com/office/officeart/2005/8/layout/hChevron3"/>
    <dgm:cxn modelId="{F06B00AF-F195-7648-897A-E95D8BD34700}" type="presOf" srcId="{0237B2AD-8EFF-B34C-A3FB-1154414511F8}" destId="{A321AFAD-7A09-B44E-BB82-A6F453920C7D}" srcOrd="0" destOrd="0" presId="urn:microsoft.com/office/officeart/2005/8/layout/hChevron3"/>
    <dgm:cxn modelId="{FA0D96AF-8DB6-EE4F-AE6A-1957C94BF852}" srcId="{781F165F-88FD-0F49-BE5E-543C6AE3943A}" destId="{C635E773-73F4-C345-876F-EC49C0411170}" srcOrd="0" destOrd="0" parTransId="{B45208C6-8991-2B41-8692-AA509185E479}" sibTransId="{EA1D7F34-9907-924C-A925-0273FC50CAFF}"/>
    <dgm:cxn modelId="{A5DED3B7-3973-A94E-9A89-2879DA442BED}" srcId="{781F165F-88FD-0F49-BE5E-543C6AE3943A}" destId="{4AB4F7B6-F891-D148-ABF8-45A330A683E7}" srcOrd="2" destOrd="0" parTransId="{EE3424BD-59A7-CA41-85D8-E70F0B263D75}" sibTransId="{4056527B-BE44-2543-B068-3708481FF1DB}"/>
    <dgm:cxn modelId="{3A9560D5-0262-A647-A9A2-22F33C719DBE}" type="presOf" srcId="{F1633484-F410-2049-89F6-2A52C17E2BA3}" destId="{5D4AE62E-D122-E549-9FDE-C5A6579226E6}" srcOrd="0" destOrd="0" presId="urn:microsoft.com/office/officeart/2005/8/layout/hChevron3"/>
    <dgm:cxn modelId="{27BF22F6-587D-B242-8E62-E28AA2BF70DF}" type="presOf" srcId="{4AB4F7B6-F891-D148-ABF8-45A330A683E7}" destId="{37E9EE08-28DD-1043-85D6-6F389C61BA97}" srcOrd="0" destOrd="0" presId="urn:microsoft.com/office/officeart/2005/8/layout/hChevron3"/>
    <dgm:cxn modelId="{0A0FDD96-DBF8-DA4E-8F8A-F0220FA54057}" type="presParOf" srcId="{DC06D3F0-5939-3B40-BE38-69B6816FF1BC}" destId="{50EAD4B2-E716-D742-879F-CD20B48D44D7}" srcOrd="0" destOrd="0" presId="urn:microsoft.com/office/officeart/2005/8/layout/hChevron3"/>
    <dgm:cxn modelId="{4ACB4758-3BE7-104E-B1FC-4F65CC8BAFB5}" type="presParOf" srcId="{DC06D3F0-5939-3B40-BE38-69B6816FF1BC}" destId="{4606B817-F00B-414A-B82D-CF923619FEF1}" srcOrd="1" destOrd="0" presId="urn:microsoft.com/office/officeart/2005/8/layout/hChevron3"/>
    <dgm:cxn modelId="{4E1C7057-C10B-6C44-9364-39C8F41AF5D3}" type="presParOf" srcId="{DC06D3F0-5939-3B40-BE38-69B6816FF1BC}" destId="{5D4AE62E-D122-E549-9FDE-C5A6579226E6}" srcOrd="2" destOrd="0" presId="urn:microsoft.com/office/officeart/2005/8/layout/hChevron3"/>
    <dgm:cxn modelId="{C9EF5958-91D1-0C4E-BBCC-30C6B9E98A11}" type="presParOf" srcId="{DC06D3F0-5939-3B40-BE38-69B6816FF1BC}" destId="{1A42C200-678F-244F-8ED2-D5EB0B003BE6}" srcOrd="3" destOrd="0" presId="urn:microsoft.com/office/officeart/2005/8/layout/hChevron3"/>
    <dgm:cxn modelId="{22EF08E3-C507-794D-9AA4-5194ABC672D5}" type="presParOf" srcId="{DC06D3F0-5939-3B40-BE38-69B6816FF1BC}" destId="{37E9EE08-28DD-1043-85D6-6F389C61BA97}" srcOrd="4" destOrd="0" presId="urn:microsoft.com/office/officeart/2005/8/layout/hChevron3"/>
    <dgm:cxn modelId="{1F097187-981F-BC46-A33D-07610A96E8D6}" type="presParOf" srcId="{DC06D3F0-5939-3B40-BE38-69B6816FF1BC}" destId="{04965C53-6357-2A48-96C1-2BF8A7D297B5}" srcOrd="5" destOrd="0" presId="urn:microsoft.com/office/officeart/2005/8/layout/hChevron3"/>
    <dgm:cxn modelId="{848211E8-75B3-B54B-A3D9-AE2C4C7490FF}" type="presParOf" srcId="{DC06D3F0-5939-3B40-BE38-69B6816FF1BC}" destId="{A321AFAD-7A09-B44E-BB82-A6F453920C7D}" srcOrd="6" destOrd="0" presId="urn:microsoft.com/office/officeart/2005/8/layout/hChevron3"/>
    <dgm:cxn modelId="{0FE839CC-8251-C94A-B866-B3D5BC4FF374}" type="presParOf" srcId="{DC06D3F0-5939-3B40-BE38-69B6816FF1BC}" destId="{CC20E6BA-B6D8-B642-97CB-782BBC8EAFC8}" srcOrd="7" destOrd="0" presId="urn:microsoft.com/office/officeart/2005/8/layout/hChevron3"/>
    <dgm:cxn modelId="{050B84AD-E733-1E43-BA50-F4CC8A9B3DC0}" type="presParOf" srcId="{DC06D3F0-5939-3B40-BE38-69B6816FF1BC}" destId="{5F174EF4-47BF-034A-A5EF-AE2C38F44384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EAD4B2-E716-D742-879F-CD20B48D44D7}">
      <dsp:nvSpPr>
        <dsp:cNvPr id="0" name=""/>
        <dsp:cNvSpPr/>
      </dsp:nvSpPr>
      <dsp:spPr>
        <a:xfrm>
          <a:off x="1278" y="5445"/>
          <a:ext cx="2494034" cy="745666"/>
        </a:xfrm>
        <a:prstGeom prst="homePlate">
          <a:avLst/>
        </a:prstGeom>
        <a:solidFill>
          <a:srgbClr val="24A558"/>
        </a:solidFill>
        <a:ln w="12700" cap="flat" cmpd="sng" algn="ctr">
          <a:solidFill>
            <a:srgbClr val="29A45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690" tIns="93345" rIns="46673" bIns="93345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500" kern="1200"/>
        </a:p>
      </dsp:txBody>
      <dsp:txXfrm>
        <a:off x="1278" y="5445"/>
        <a:ext cx="2307618" cy="745666"/>
      </dsp:txXfrm>
    </dsp:sp>
    <dsp:sp modelId="{5D4AE62E-D122-E549-9FDE-C5A6579226E6}">
      <dsp:nvSpPr>
        <dsp:cNvPr id="0" name=""/>
        <dsp:cNvSpPr/>
      </dsp:nvSpPr>
      <dsp:spPr>
        <a:xfrm>
          <a:off x="1996506" y="0"/>
          <a:ext cx="2494034" cy="756558"/>
        </a:xfrm>
        <a:prstGeom prst="chevron">
          <a:avLst/>
        </a:prstGeom>
        <a:solidFill>
          <a:srgbClr val="1D964B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2374785" y="0"/>
        <a:ext cx="1737476" cy="756558"/>
      </dsp:txXfrm>
    </dsp:sp>
    <dsp:sp modelId="{37E9EE08-28DD-1043-85D6-6F389C61BA97}">
      <dsp:nvSpPr>
        <dsp:cNvPr id="0" name=""/>
        <dsp:cNvSpPr/>
      </dsp:nvSpPr>
      <dsp:spPr>
        <a:xfrm>
          <a:off x="3991733" y="0"/>
          <a:ext cx="2494034" cy="756558"/>
        </a:xfrm>
        <a:prstGeom prst="chevron">
          <a:avLst/>
        </a:prstGeom>
        <a:solidFill>
          <a:srgbClr val="198C44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4370012" y="0"/>
        <a:ext cx="1737476" cy="756558"/>
      </dsp:txXfrm>
    </dsp:sp>
    <dsp:sp modelId="{A321AFAD-7A09-B44E-BB82-A6F453920C7D}">
      <dsp:nvSpPr>
        <dsp:cNvPr id="0" name=""/>
        <dsp:cNvSpPr/>
      </dsp:nvSpPr>
      <dsp:spPr>
        <a:xfrm>
          <a:off x="5986960" y="0"/>
          <a:ext cx="2494034" cy="756558"/>
        </a:xfrm>
        <a:prstGeom prst="chevron">
          <a:avLst/>
        </a:prstGeom>
        <a:solidFill>
          <a:srgbClr val="037A4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6365239" y="0"/>
        <a:ext cx="1737476" cy="756558"/>
      </dsp:txXfrm>
    </dsp:sp>
    <dsp:sp modelId="{5F174EF4-47BF-034A-A5EF-AE2C38F44384}">
      <dsp:nvSpPr>
        <dsp:cNvPr id="0" name=""/>
        <dsp:cNvSpPr/>
      </dsp:nvSpPr>
      <dsp:spPr>
        <a:xfrm>
          <a:off x="7982187" y="0"/>
          <a:ext cx="2494034" cy="756558"/>
        </a:xfrm>
        <a:prstGeom prst="chevron">
          <a:avLst/>
        </a:prstGeom>
        <a:solidFill>
          <a:srgbClr val="036E3D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8360466" y="0"/>
        <a:ext cx="1737476" cy="756558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EAD4B2-E716-D742-879F-CD20B48D44D7}">
      <dsp:nvSpPr>
        <dsp:cNvPr id="0" name=""/>
        <dsp:cNvSpPr/>
      </dsp:nvSpPr>
      <dsp:spPr>
        <a:xfrm>
          <a:off x="1278" y="5445"/>
          <a:ext cx="2494034" cy="745666"/>
        </a:xfrm>
        <a:prstGeom prst="homePlate">
          <a:avLst/>
        </a:prstGeom>
        <a:solidFill>
          <a:srgbClr val="24A558"/>
        </a:solidFill>
        <a:ln w="12700" cap="flat" cmpd="sng" algn="ctr">
          <a:solidFill>
            <a:srgbClr val="29A45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2692" tIns="101346" rIns="50673" bIns="101346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800" kern="1200"/>
        </a:p>
      </dsp:txBody>
      <dsp:txXfrm>
        <a:off x="1278" y="5445"/>
        <a:ext cx="2307618" cy="745666"/>
      </dsp:txXfrm>
    </dsp:sp>
    <dsp:sp modelId="{5D4AE62E-D122-E549-9FDE-C5A6579226E6}">
      <dsp:nvSpPr>
        <dsp:cNvPr id="0" name=""/>
        <dsp:cNvSpPr/>
      </dsp:nvSpPr>
      <dsp:spPr>
        <a:xfrm>
          <a:off x="1996506" y="0"/>
          <a:ext cx="2494034" cy="756558"/>
        </a:xfrm>
        <a:prstGeom prst="chevron">
          <a:avLst/>
        </a:prstGeom>
        <a:solidFill>
          <a:srgbClr val="1D964B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104013" rIns="52007" bIns="104013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900" kern="1200"/>
        </a:p>
      </dsp:txBody>
      <dsp:txXfrm>
        <a:off x="2374785" y="0"/>
        <a:ext cx="1737476" cy="756558"/>
      </dsp:txXfrm>
    </dsp:sp>
    <dsp:sp modelId="{37E9EE08-28DD-1043-85D6-6F389C61BA97}">
      <dsp:nvSpPr>
        <dsp:cNvPr id="0" name=""/>
        <dsp:cNvSpPr/>
      </dsp:nvSpPr>
      <dsp:spPr>
        <a:xfrm>
          <a:off x="3991733" y="0"/>
          <a:ext cx="2494034" cy="756558"/>
        </a:xfrm>
        <a:prstGeom prst="chevron">
          <a:avLst/>
        </a:prstGeom>
        <a:solidFill>
          <a:srgbClr val="198C44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104013" rIns="52007" bIns="104013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900" kern="1200"/>
        </a:p>
      </dsp:txBody>
      <dsp:txXfrm>
        <a:off x="4370012" y="0"/>
        <a:ext cx="1737476" cy="756558"/>
      </dsp:txXfrm>
    </dsp:sp>
    <dsp:sp modelId="{A321AFAD-7A09-B44E-BB82-A6F453920C7D}">
      <dsp:nvSpPr>
        <dsp:cNvPr id="0" name=""/>
        <dsp:cNvSpPr/>
      </dsp:nvSpPr>
      <dsp:spPr>
        <a:xfrm>
          <a:off x="5986960" y="0"/>
          <a:ext cx="2494034" cy="756558"/>
        </a:xfrm>
        <a:prstGeom prst="chevron">
          <a:avLst/>
        </a:prstGeom>
        <a:solidFill>
          <a:srgbClr val="037A4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104013" rIns="52007" bIns="104013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900" kern="1200"/>
        </a:p>
      </dsp:txBody>
      <dsp:txXfrm>
        <a:off x="6365239" y="0"/>
        <a:ext cx="1737476" cy="756558"/>
      </dsp:txXfrm>
    </dsp:sp>
    <dsp:sp modelId="{5F174EF4-47BF-034A-A5EF-AE2C38F44384}">
      <dsp:nvSpPr>
        <dsp:cNvPr id="0" name=""/>
        <dsp:cNvSpPr/>
      </dsp:nvSpPr>
      <dsp:spPr>
        <a:xfrm>
          <a:off x="7982187" y="0"/>
          <a:ext cx="2494034" cy="756558"/>
        </a:xfrm>
        <a:prstGeom prst="chevron">
          <a:avLst/>
        </a:prstGeom>
        <a:solidFill>
          <a:srgbClr val="036E3D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104013" rIns="52007" bIns="104013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900" kern="1200"/>
        </a:p>
      </dsp:txBody>
      <dsp:txXfrm>
        <a:off x="8360466" y="0"/>
        <a:ext cx="1737476" cy="756558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EAD4B2-E716-D742-879F-CD20B48D44D7}">
      <dsp:nvSpPr>
        <dsp:cNvPr id="0" name=""/>
        <dsp:cNvSpPr/>
      </dsp:nvSpPr>
      <dsp:spPr>
        <a:xfrm>
          <a:off x="1278" y="5445"/>
          <a:ext cx="2494034" cy="745666"/>
        </a:xfrm>
        <a:prstGeom prst="homePlate">
          <a:avLst/>
        </a:prstGeom>
        <a:solidFill>
          <a:srgbClr val="24A558"/>
        </a:solidFill>
        <a:ln w="12700" cap="flat" cmpd="sng" algn="ctr">
          <a:solidFill>
            <a:srgbClr val="29A45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690" tIns="93345" rIns="46673" bIns="93345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500" kern="1200"/>
        </a:p>
      </dsp:txBody>
      <dsp:txXfrm>
        <a:off x="1278" y="5445"/>
        <a:ext cx="2307618" cy="745666"/>
      </dsp:txXfrm>
    </dsp:sp>
    <dsp:sp modelId="{5D4AE62E-D122-E549-9FDE-C5A6579226E6}">
      <dsp:nvSpPr>
        <dsp:cNvPr id="0" name=""/>
        <dsp:cNvSpPr/>
      </dsp:nvSpPr>
      <dsp:spPr>
        <a:xfrm>
          <a:off x="1996506" y="0"/>
          <a:ext cx="2494034" cy="756558"/>
        </a:xfrm>
        <a:prstGeom prst="chevron">
          <a:avLst/>
        </a:prstGeom>
        <a:solidFill>
          <a:srgbClr val="1D964B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2374785" y="0"/>
        <a:ext cx="1737476" cy="756558"/>
      </dsp:txXfrm>
    </dsp:sp>
    <dsp:sp modelId="{37E9EE08-28DD-1043-85D6-6F389C61BA97}">
      <dsp:nvSpPr>
        <dsp:cNvPr id="0" name=""/>
        <dsp:cNvSpPr/>
      </dsp:nvSpPr>
      <dsp:spPr>
        <a:xfrm>
          <a:off x="3991733" y="0"/>
          <a:ext cx="2494034" cy="756558"/>
        </a:xfrm>
        <a:prstGeom prst="chevron">
          <a:avLst/>
        </a:prstGeom>
        <a:solidFill>
          <a:srgbClr val="198C44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4370012" y="0"/>
        <a:ext cx="1737476" cy="756558"/>
      </dsp:txXfrm>
    </dsp:sp>
    <dsp:sp modelId="{A321AFAD-7A09-B44E-BB82-A6F453920C7D}">
      <dsp:nvSpPr>
        <dsp:cNvPr id="0" name=""/>
        <dsp:cNvSpPr/>
      </dsp:nvSpPr>
      <dsp:spPr>
        <a:xfrm>
          <a:off x="5986960" y="0"/>
          <a:ext cx="2494034" cy="756558"/>
        </a:xfrm>
        <a:prstGeom prst="chevron">
          <a:avLst/>
        </a:prstGeom>
        <a:solidFill>
          <a:srgbClr val="037A4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6365239" y="0"/>
        <a:ext cx="1737476" cy="756558"/>
      </dsp:txXfrm>
    </dsp:sp>
    <dsp:sp modelId="{5F174EF4-47BF-034A-A5EF-AE2C38F44384}">
      <dsp:nvSpPr>
        <dsp:cNvPr id="0" name=""/>
        <dsp:cNvSpPr/>
      </dsp:nvSpPr>
      <dsp:spPr>
        <a:xfrm>
          <a:off x="7982187" y="0"/>
          <a:ext cx="2494034" cy="756558"/>
        </a:xfrm>
        <a:prstGeom prst="chevron">
          <a:avLst/>
        </a:prstGeom>
        <a:solidFill>
          <a:srgbClr val="036E3D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8360466" y="0"/>
        <a:ext cx="1737476" cy="756558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EAD4B2-E716-D742-879F-CD20B48D44D7}">
      <dsp:nvSpPr>
        <dsp:cNvPr id="0" name=""/>
        <dsp:cNvSpPr/>
      </dsp:nvSpPr>
      <dsp:spPr>
        <a:xfrm>
          <a:off x="1278" y="5445"/>
          <a:ext cx="2494034" cy="745666"/>
        </a:xfrm>
        <a:prstGeom prst="homePlate">
          <a:avLst/>
        </a:prstGeom>
        <a:solidFill>
          <a:srgbClr val="24A558"/>
        </a:solidFill>
        <a:ln w="12700" cap="flat" cmpd="sng" algn="ctr">
          <a:solidFill>
            <a:srgbClr val="29A45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690" tIns="93345" rIns="46673" bIns="93345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500" kern="1200"/>
        </a:p>
      </dsp:txBody>
      <dsp:txXfrm>
        <a:off x="1278" y="5445"/>
        <a:ext cx="2307618" cy="745666"/>
      </dsp:txXfrm>
    </dsp:sp>
    <dsp:sp modelId="{5D4AE62E-D122-E549-9FDE-C5A6579226E6}">
      <dsp:nvSpPr>
        <dsp:cNvPr id="0" name=""/>
        <dsp:cNvSpPr/>
      </dsp:nvSpPr>
      <dsp:spPr>
        <a:xfrm>
          <a:off x="1996506" y="0"/>
          <a:ext cx="2494034" cy="756558"/>
        </a:xfrm>
        <a:prstGeom prst="chevron">
          <a:avLst/>
        </a:prstGeom>
        <a:solidFill>
          <a:srgbClr val="1D964B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2374785" y="0"/>
        <a:ext cx="1737476" cy="756558"/>
      </dsp:txXfrm>
    </dsp:sp>
    <dsp:sp modelId="{37E9EE08-28DD-1043-85D6-6F389C61BA97}">
      <dsp:nvSpPr>
        <dsp:cNvPr id="0" name=""/>
        <dsp:cNvSpPr/>
      </dsp:nvSpPr>
      <dsp:spPr>
        <a:xfrm>
          <a:off x="3991733" y="0"/>
          <a:ext cx="2494034" cy="756558"/>
        </a:xfrm>
        <a:prstGeom prst="chevron">
          <a:avLst/>
        </a:prstGeom>
        <a:solidFill>
          <a:srgbClr val="198C44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4370012" y="0"/>
        <a:ext cx="1737476" cy="756558"/>
      </dsp:txXfrm>
    </dsp:sp>
    <dsp:sp modelId="{A321AFAD-7A09-B44E-BB82-A6F453920C7D}">
      <dsp:nvSpPr>
        <dsp:cNvPr id="0" name=""/>
        <dsp:cNvSpPr/>
      </dsp:nvSpPr>
      <dsp:spPr>
        <a:xfrm>
          <a:off x="5986960" y="0"/>
          <a:ext cx="2494034" cy="756558"/>
        </a:xfrm>
        <a:prstGeom prst="chevron">
          <a:avLst/>
        </a:prstGeom>
        <a:solidFill>
          <a:srgbClr val="037A4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6365239" y="0"/>
        <a:ext cx="1737476" cy="756558"/>
      </dsp:txXfrm>
    </dsp:sp>
    <dsp:sp modelId="{5F174EF4-47BF-034A-A5EF-AE2C38F44384}">
      <dsp:nvSpPr>
        <dsp:cNvPr id="0" name=""/>
        <dsp:cNvSpPr/>
      </dsp:nvSpPr>
      <dsp:spPr>
        <a:xfrm>
          <a:off x="7982187" y="0"/>
          <a:ext cx="2494034" cy="756558"/>
        </a:xfrm>
        <a:prstGeom prst="chevron">
          <a:avLst/>
        </a:prstGeom>
        <a:solidFill>
          <a:srgbClr val="036E3D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8360466" y="0"/>
        <a:ext cx="1737476" cy="756558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EAD4B2-E716-D742-879F-CD20B48D44D7}">
      <dsp:nvSpPr>
        <dsp:cNvPr id="0" name=""/>
        <dsp:cNvSpPr/>
      </dsp:nvSpPr>
      <dsp:spPr>
        <a:xfrm>
          <a:off x="1278" y="5445"/>
          <a:ext cx="2494034" cy="745666"/>
        </a:xfrm>
        <a:prstGeom prst="homePlate">
          <a:avLst/>
        </a:prstGeom>
        <a:solidFill>
          <a:srgbClr val="24A558"/>
        </a:solidFill>
        <a:ln w="12700" cap="flat" cmpd="sng" algn="ctr">
          <a:solidFill>
            <a:srgbClr val="29A45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690" tIns="93345" rIns="46673" bIns="93345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500" kern="1200"/>
        </a:p>
      </dsp:txBody>
      <dsp:txXfrm>
        <a:off x="1278" y="5445"/>
        <a:ext cx="2307618" cy="745666"/>
      </dsp:txXfrm>
    </dsp:sp>
    <dsp:sp modelId="{5D4AE62E-D122-E549-9FDE-C5A6579226E6}">
      <dsp:nvSpPr>
        <dsp:cNvPr id="0" name=""/>
        <dsp:cNvSpPr/>
      </dsp:nvSpPr>
      <dsp:spPr>
        <a:xfrm>
          <a:off x="1996506" y="0"/>
          <a:ext cx="2494034" cy="756558"/>
        </a:xfrm>
        <a:prstGeom prst="chevron">
          <a:avLst/>
        </a:prstGeom>
        <a:solidFill>
          <a:srgbClr val="1D964B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2374785" y="0"/>
        <a:ext cx="1737476" cy="756558"/>
      </dsp:txXfrm>
    </dsp:sp>
    <dsp:sp modelId="{37E9EE08-28DD-1043-85D6-6F389C61BA97}">
      <dsp:nvSpPr>
        <dsp:cNvPr id="0" name=""/>
        <dsp:cNvSpPr/>
      </dsp:nvSpPr>
      <dsp:spPr>
        <a:xfrm>
          <a:off x="3991733" y="0"/>
          <a:ext cx="2494034" cy="756558"/>
        </a:xfrm>
        <a:prstGeom prst="chevron">
          <a:avLst/>
        </a:prstGeom>
        <a:solidFill>
          <a:srgbClr val="198C44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4370012" y="0"/>
        <a:ext cx="1737476" cy="756558"/>
      </dsp:txXfrm>
    </dsp:sp>
    <dsp:sp modelId="{A321AFAD-7A09-B44E-BB82-A6F453920C7D}">
      <dsp:nvSpPr>
        <dsp:cNvPr id="0" name=""/>
        <dsp:cNvSpPr/>
      </dsp:nvSpPr>
      <dsp:spPr>
        <a:xfrm>
          <a:off x="5986960" y="0"/>
          <a:ext cx="2494034" cy="756558"/>
        </a:xfrm>
        <a:prstGeom prst="chevron">
          <a:avLst/>
        </a:prstGeom>
        <a:solidFill>
          <a:srgbClr val="037A4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6365239" y="0"/>
        <a:ext cx="1737476" cy="756558"/>
      </dsp:txXfrm>
    </dsp:sp>
    <dsp:sp modelId="{5F174EF4-47BF-034A-A5EF-AE2C38F44384}">
      <dsp:nvSpPr>
        <dsp:cNvPr id="0" name=""/>
        <dsp:cNvSpPr/>
      </dsp:nvSpPr>
      <dsp:spPr>
        <a:xfrm>
          <a:off x="7982187" y="0"/>
          <a:ext cx="2494034" cy="756558"/>
        </a:xfrm>
        <a:prstGeom prst="chevron">
          <a:avLst/>
        </a:prstGeom>
        <a:solidFill>
          <a:srgbClr val="036E3D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8360466" y="0"/>
        <a:ext cx="1737476" cy="756558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EAD4B2-E716-D742-879F-CD20B48D44D7}">
      <dsp:nvSpPr>
        <dsp:cNvPr id="0" name=""/>
        <dsp:cNvSpPr/>
      </dsp:nvSpPr>
      <dsp:spPr>
        <a:xfrm>
          <a:off x="1278" y="5445"/>
          <a:ext cx="2494034" cy="745666"/>
        </a:xfrm>
        <a:prstGeom prst="homePlate">
          <a:avLst/>
        </a:prstGeom>
        <a:solidFill>
          <a:srgbClr val="24A558"/>
        </a:solidFill>
        <a:ln w="12700" cap="flat" cmpd="sng" algn="ctr">
          <a:solidFill>
            <a:srgbClr val="29A45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690" tIns="93345" rIns="46673" bIns="93345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500" kern="1200"/>
        </a:p>
      </dsp:txBody>
      <dsp:txXfrm>
        <a:off x="1278" y="5445"/>
        <a:ext cx="2307618" cy="745666"/>
      </dsp:txXfrm>
    </dsp:sp>
    <dsp:sp modelId="{5D4AE62E-D122-E549-9FDE-C5A6579226E6}">
      <dsp:nvSpPr>
        <dsp:cNvPr id="0" name=""/>
        <dsp:cNvSpPr/>
      </dsp:nvSpPr>
      <dsp:spPr>
        <a:xfrm>
          <a:off x="1996506" y="0"/>
          <a:ext cx="2494034" cy="756558"/>
        </a:xfrm>
        <a:prstGeom prst="chevron">
          <a:avLst/>
        </a:prstGeom>
        <a:solidFill>
          <a:srgbClr val="1D964B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2374785" y="0"/>
        <a:ext cx="1737476" cy="756558"/>
      </dsp:txXfrm>
    </dsp:sp>
    <dsp:sp modelId="{37E9EE08-28DD-1043-85D6-6F389C61BA97}">
      <dsp:nvSpPr>
        <dsp:cNvPr id="0" name=""/>
        <dsp:cNvSpPr/>
      </dsp:nvSpPr>
      <dsp:spPr>
        <a:xfrm>
          <a:off x="3991733" y="0"/>
          <a:ext cx="2494034" cy="756558"/>
        </a:xfrm>
        <a:prstGeom prst="chevron">
          <a:avLst/>
        </a:prstGeom>
        <a:solidFill>
          <a:srgbClr val="198C44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4370012" y="0"/>
        <a:ext cx="1737476" cy="756558"/>
      </dsp:txXfrm>
    </dsp:sp>
    <dsp:sp modelId="{A321AFAD-7A09-B44E-BB82-A6F453920C7D}">
      <dsp:nvSpPr>
        <dsp:cNvPr id="0" name=""/>
        <dsp:cNvSpPr/>
      </dsp:nvSpPr>
      <dsp:spPr>
        <a:xfrm>
          <a:off x="5986960" y="0"/>
          <a:ext cx="2494034" cy="756558"/>
        </a:xfrm>
        <a:prstGeom prst="chevron">
          <a:avLst/>
        </a:prstGeom>
        <a:solidFill>
          <a:srgbClr val="037A4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6365239" y="0"/>
        <a:ext cx="1737476" cy="756558"/>
      </dsp:txXfrm>
    </dsp:sp>
    <dsp:sp modelId="{5F174EF4-47BF-034A-A5EF-AE2C38F44384}">
      <dsp:nvSpPr>
        <dsp:cNvPr id="0" name=""/>
        <dsp:cNvSpPr/>
      </dsp:nvSpPr>
      <dsp:spPr>
        <a:xfrm>
          <a:off x="7982187" y="0"/>
          <a:ext cx="2494034" cy="756558"/>
        </a:xfrm>
        <a:prstGeom prst="chevron">
          <a:avLst/>
        </a:prstGeom>
        <a:solidFill>
          <a:srgbClr val="036E3D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8360466" y="0"/>
        <a:ext cx="1737476" cy="756558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EAD4B2-E716-D742-879F-CD20B48D44D7}">
      <dsp:nvSpPr>
        <dsp:cNvPr id="0" name=""/>
        <dsp:cNvSpPr/>
      </dsp:nvSpPr>
      <dsp:spPr>
        <a:xfrm>
          <a:off x="1278" y="5445"/>
          <a:ext cx="2494034" cy="745666"/>
        </a:xfrm>
        <a:prstGeom prst="homePlate">
          <a:avLst/>
        </a:prstGeom>
        <a:solidFill>
          <a:srgbClr val="24A558"/>
        </a:solidFill>
        <a:ln w="12700" cap="flat" cmpd="sng" algn="ctr">
          <a:solidFill>
            <a:srgbClr val="29A45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690" tIns="93345" rIns="46673" bIns="93345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500" kern="1200"/>
        </a:p>
      </dsp:txBody>
      <dsp:txXfrm>
        <a:off x="1278" y="5445"/>
        <a:ext cx="2307618" cy="745666"/>
      </dsp:txXfrm>
    </dsp:sp>
    <dsp:sp modelId="{5D4AE62E-D122-E549-9FDE-C5A6579226E6}">
      <dsp:nvSpPr>
        <dsp:cNvPr id="0" name=""/>
        <dsp:cNvSpPr/>
      </dsp:nvSpPr>
      <dsp:spPr>
        <a:xfrm>
          <a:off x="1996506" y="0"/>
          <a:ext cx="2494034" cy="756558"/>
        </a:xfrm>
        <a:prstGeom prst="chevron">
          <a:avLst/>
        </a:prstGeom>
        <a:solidFill>
          <a:srgbClr val="1D964B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2374785" y="0"/>
        <a:ext cx="1737476" cy="756558"/>
      </dsp:txXfrm>
    </dsp:sp>
    <dsp:sp modelId="{37E9EE08-28DD-1043-85D6-6F389C61BA97}">
      <dsp:nvSpPr>
        <dsp:cNvPr id="0" name=""/>
        <dsp:cNvSpPr/>
      </dsp:nvSpPr>
      <dsp:spPr>
        <a:xfrm>
          <a:off x="3991733" y="0"/>
          <a:ext cx="2494034" cy="756558"/>
        </a:xfrm>
        <a:prstGeom prst="chevron">
          <a:avLst/>
        </a:prstGeom>
        <a:solidFill>
          <a:srgbClr val="198C44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4370012" y="0"/>
        <a:ext cx="1737476" cy="756558"/>
      </dsp:txXfrm>
    </dsp:sp>
    <dsp:sp modelId="{A321AFAD-7A09-B44E-BB82-A6F453920C7D}">
      <dsp:nvSpPr>
        <dsp:cNvPr id="0" name=""/>
        <dsp:cNvSpPr/>
      </dsp:nvSpPr>
      <dsp:spPr>
        <a:xfrm>
          <a:off x="5986960" y="0"/>
          <a:ext cx="2494034" cy="756558"/>
        </a:xfrm>
        <a:prstGeom prst="chevron">
          <a:avLst/>
        </a:prstGeom>
        <a:solidFill>
          <a:srgbClr val="037A4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6365239" y="0"/>
        <a:ext cx="1737476" cy="756558"/>
      </dsp:txXfrm>
    </dsp:sp>
    <dsp:sp modelId="{5F174EF4-47BF-034A-A5EF-AE2C38F44384}">
      <dsp:nvSpPr>
        <dsp:cNvPr id="0" name=""/>
        <dsp:cNvSpPr/>
      </dsp:nvSpPr>
      <dsp:spPr>
        <a:xfrm>
          <a:off x="7982187" y="0"/>
          <a:ext cx="2494034" cy="756558"/>
        </a:xfrm>
        <a:prstGeom prst="chevron">
          <a:avLst/>
        </a:prstGeom>
        <a:solidFill>
          <a:srgbClr val="036E3D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8360466" y="0"/>
        <a:ext cx="1737476" cy="756558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EAD4B2-E716-D742-879F-CD20B48D44D7}">
      <dsp:nvSpPr>
        <dsp:cNvPr id="0" name=""/>
        <dsp:cNvSpPr/>
      </dsp:nvSpPr>
      <dsp:spPr>
        <a:xfrm>
          <a:off x="1278" y="5445"/>
          <a:ext cx="2494034" cy="745666"/>
        </a:xfrm>
        <a:prstGeom prst="homePlate">
          <a:avLst/>
        </a:prstGeom>
        <a:solidFill>
          <a:srgbClr val="24A558"/>
        </a:solidFill>
        <a:ln w="12700" cap="flat" cmpd="sng" algn="ctr">
          <a:solidFill>
            <a:srgbClr val="29A45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690" tIns="93345" rIns="46673" bIns="93345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500" kern="1200"/>
        </a:p>
      </dsp:txBody>
      <dsp:txXfrm>
        <a:off x="1278" y="5445"/>
        <a:ext cx="2307618" cy="745666"/>
      </dsp:txXfrm>
    </dsp:sp>
    <dsp:sp modelId="{5D4AE62E-D122-E549-9FDE-C5A6579226E6}">
      <dsp:nvSpPr>
        <dsp:cNvPr id="0" name=""/>
        <dsp:cNvSpPr/>
      </dsp:nvSpPr>
      <dsp:spPr>
        <a:xfrm>
          <a:off x="1996506" y="0"/>
          <a:ext cx="2494034" cy="756558"/>
        </a:xfrm>
        <a:prstGeom prst="chevron">
          <a:avLst/>
        </a:prstGeom>
        <a:solidFill>
          <a:srgbClr val="1D964B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2374785" y="0"/>
        <a:ext cx="1737476" cy="756558"/>
      </dsp:txXfrm>
    </dsp:sp>
    <dsp:sp modelId="{37E9EE08-28DD-1043-85D6-6F389C61BA97}">
      <dsp:nvSpPr>
        <dsp:cNvPr id="0" name=""/>
        <dsp:cNvSpPr/>
      </dsp:nvSpPr>
      <dsp:spPr>
        <a:xfrm>
          <a:off x="3991733" y="0"/>
          <a:ext cx="2494034" cy="756558"/>
        </a:xfrm>
        <a:prstGeom prst="chevron">
          <a:avLst/>
        </a:prstGeom>
        <a:solidFill>
          <a:srgbClr val="198C44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4370012" y="0"/>
        <a:ext cx="1737476" cy="756558"/>
      </dsp:txXfrm>
    </dsp:sp>
    <dsp:sp modelId="{A321AFAD-7A09-B44E-BB82-A6F453920C7D}">
      <dsp:nvSpPr>
        <dsp:cNvPr id="0" name=""/>
        <dsp:cNvSpPr/>
      </dsp:nvSpPr>
      <dsp:spPr>
        <a:xfrm>
          <a:off x="5986960" y="0"/>
          <a:ext cx="2494034" cy="756558"/>
        </a:xfrm>
        <a:prstGeom prst="chevron">
          <a:avLst/>
        </a:prstGeom>
        <a:solidFill>
          <a:srgbClr val="037A4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6365239" y="0"/>
        <a:ext cx="1737476" cy="756558"/>
      </dsp:txXfrm>
    </dsp:sp>
    <dsp:sp modelId="{5F174EF4-47BF-034A-A5EF-AE2C38F44384}">
      <dsp:nvSpPr>
        <dsp:cNvPr id="0" name=""/>
        <dsp:cNvSpPr/>
      </dsp:nvSpPr>
      <dsp:spPr>
        <a:xfrm>
          <a:off x="7982187" y="0"/>
          <a:ext cx="2494034" cy="756558"/>
        </a:xfrm>
        <a:prstGeom prst="chevron">
          <a:avLst/>
        </a:prstGeom>
        <a:solidFill>
          <a:srgbClr val="036E3D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8360466" y="0"/>
        <a:ext cx="1737476" cy="756558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EAD4B2-E716-D742-879F-CD20B48D44D7}">
      <dsp:nvSpPr>
        <dsp:cNvPr id="0" name=""/>
        <dsp:cNvSpPr/>
      </dsp:nvSpPr>
      <dsp:spPr>
        <a:xfrm>
          <a:off x="1278" y="5445"/>
          <a:ext cx="2494034" cy="745666"/>
        </a:xfrm>
        <a:prstGeom prst="homePlate">
          <a:avLst/>
        </a:prstGeom>
        <a:solidFill>
          <a:srgbClr val="24A558"/>
        </a:solidFill>
        <a:ln w="12700" cap="flat" cmpd="sng" algn="ctr">
          <a:solidFill>
            <a:srgbClr val="29A45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690" tIns="93345" rIns="46673" bIns="93345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500" kern="1200"/>
        </a:p>
      </dsp:txBody>
      <dsp:txXfrm>
        <a:off x="1278" y="5445"/>
        <a:ext cx="2307618" cy="745666"/>
      </dsp:txXfrm>
    </dsp:sp>
    <dsp:sp modelId="{5D4AE62E-D122-E549-9FDE-C5A6579226E6}">
      <dsp:nvSpPr>
        <dsp:cNvPr id="0" name=""/>
        <dsp:cNvSpPr/>
      </dsp:nvSpPr>
      <dsp:spPr>
        <a:xfrm>
          <a:off x="1996506" y="0"/>
          <a:ext cx="2494034" cy="756558"/>
        </a:xfrm>
        <a:prstGeom prst="chevron">
          <a:avLst/>
        </a:prstGeom>
        <a:solidFill>
          <a:srgbClr val="1D964B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2374785" y="0"/>
        <a:ext cx="1737476" cy="756558"/>
      </dsp:txXfrm>
    </dsp:sp>
    <dsp:sp modelId="{37E9EE08-28DD-1043-85D6-6F389C61BA97}">
      <dsp:nvSpPr>
        <dsp:cNvPr id="0" name=""/>
        <dsp:cNvSpPr/>
      </dsp:nvSpPr>
      <dsp:spPr>
        <a:xfrm>
          <a:off x="3991733" y="0"/>
          <a:ext cx="2494034" cy="756558"/>
        </a:xfrm>
        <a:prstGeom prst="chevron">
          <a:avLst/>
        </a:prstGeom>
        <a:solidFill>
          <a:srgbClr val="198C44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4370012" y="0"/>
        <a:ext cx="1737476" cy="756558"/>
      </dsp:txXfrm>
    </dsp:sp>
    <dsp:sp modelId="{A321AFAD-7A09-B44E-BB82-A6F453920C7D}">
      <dsp:nvSpPr>
        <dsp:cNvPr id="0" name=""/>
        <dsp:cNvSpPr/>
      </dsp:nvSpPr>
      <dsp:spPr>
        <a:xfrm>
          <a:off x="5986960" y="0"/>
          <a:ext cx="2494034" cy="756558"/>
        </a:xfrm>
        <a:prstGeom prst="chevron">
          <a:avLst/>
        </a:prstGeom>
        <a:solidFill>
          <a:srgbClr val="037A4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6365239" y="0"/>
        <a:ext cx="1737476" cy="756558"/>
      </dsp:txXfrm>
    </dsp:sp>
    <dsp:sp modelId="{5F174EF4-47BF-034A-A5EF-AE2C38F44384}">
      <dsp:nvSpPr>
        <dsp:cNvPr id="0" name=""/>
        <dsp:cNvSpPr/>
      </dsp:nvSpPr>
      <dsp:spPr>
        <a:xfrm>
          <a:off x="7982187" y="0"/>
          <a:ext cx="2494034" cy="756558"/>
        </a:xfrm>
        <a:prstGeom prst="chevron">
          <a:avLst/>
        </a:prstGeom>
        <a:solidFill>
          <a:srgbClr val="036E3D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8360466" y="0"/>
        <a:ext cx="1737476" cy="756558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EAD4B2-E716-D742-879F-CD20B48D44D7}">
      <dsp:nvSpPr>
        <dsp:cNvPr id="0" name=""/>
        <dsp:cNvSpPr/>
      </dsp:nvSpPr>
      <dsp:spPr>
        <a:xfrm>
          <a:off x="1278" y="5445"/>
          <a:ext cx="2494034" cy="745666"/>
        </a:xfrm>
        <a:prstGeom prst="homePlate">
          <a:avLst/>
        </a:prstGeom>
        <a:solidFill>
          <a:srgbClr val="24A558"/>
        </a:solidFill>
        <a:ln w="12700" cap="flat" cmpd="sng" algn="ctr">
          <a:solidFill>
            <a:srgbClr val="29A45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690" tIns="93345" rIns="46673" bIns="93345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500" kern="1200"/>
        </a:p>
      </dsp:txBody>
      <dsp:txXfrm>
        <a:off x="1278" y="5445"/>
        <a:ext cx="2307618" cy="745666"/>
      </dsp:txXfrm>
    </dsp:sp>
    <dsp:sp modelId="{5D4AE62E-D122-E549-9FDE-C5A6579226E6}">
      <dsp:nvSpPr>
        <dsp:cNvPr id="0" name=""/>
        <dsp:cNvSpPr/>
      </dsp:nvSpPr>
      <dsp:spPr>
        <a:xfrm>
          <a:off x="1996506" y="0"/>
          <a:ext cx="2494034" cy="756558"/>
        </a:xfrm>
        <a:prstGeom prst="chevron">
          <a:avLst/>
        </a:prstGeom>
        <a:solidFill>
          <a:srgbClr val="1D964B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2374785" y="0"/>
        <a:ext cx="1737476" cy="756558"/>
      </dsp:txXfrm>
    </dsp:sp>
    <dsp:sp modelId="{37E9EE08-28DD-1043-85D6-6F389C61BA97}">
      <dsp:nvSpPr>
        <dsp:cNvPr id="0" name=""/>
        <dsp:cNvSpPr/>
      </dsp:nvSpPr>
      <dsp:spPr>
        <a:xfrm>
          <a:off x="3991733" y="0"/>
          <a:ext cx="2494034" cy="756558"/>
        </a:xfrm>
        <a:prstGeom prst="chevron">
          <a:avLst/>
        </a:prstGeom>
        <a:solidFill>
          <a:srgbClr val="198C44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4370012" y="0"/>
        <a:ext cx="1737476" cy="756558"/>
      </dsp:txXfrm>
    </dsp:sp>
    <dsp:sp modelId="{A321AFAD-7A09-B44E-BB82-A6F453920C7D}">
      <dsp:nvSpPr>
        <dsp:cNvPr id="0" name=""/>
        <dsp:cNvSpPr/>
      </dsp:nvSpPr>
      <dsp:spPr>
        <a:xfrm>
          <a:off x="5986960" y="0"/>
          <a:ext cx="2494034" cy="756558"/>
        </a:xfrm>
        <a:prstGeom prst="chevron">
          <a:avLst/>
        </a:prstGeom>
        <a:solidFill>
          <a:srgbClr val="037A4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6365239" y="0"/>
        <a:ext cx="1737476" cy="756558"/>
      </dsp:txXfrm>
    </dsp:sp>
    <dsp:sp modelId="{5F174EF4-47BF-034A-A5EF-AE2C38F44384}">
      <dsp:nvSpPr>
        <dsp:cNvPr id="0" name=""/>
        <dsp:cNvSpPr/>
      </dsp:nvSpPr>
      <dsp:spPr>
        <a:xfrm>
          <a:off x="7982187" y="0"/>
          <a:ext cx="2494034" cy="756558"/>
        </a:xfrm>
        <a:prstGeom prst="chevron">
          <a:avLst/>
        </a:prstGeom>
        <a:solidFill>
          <a:srgbClr val="036E3D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8360466" y="0"/>
        <a:ext cx="1737476" cy="75655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EAD4B2-E716-D742-879F-CD20B48D44D7}">
      <dsp:nvSpPr>
        <dsp:cNvPr id="0" name=""/>
        <dsp:cNvSpPr/>
      </dsp:nvSpPr>
      <dsp:spPr>
        <a:xfrm>
          <a:off x="1278" y="5445"/>
          <a:ext cx="2494034" cy="745666"/>
        </a:xfrm>
        <a:prstGeom prst="homePlate">
          <a:avLst/>
        </a:prstGeom>
        <a:solidFill>
          <a:srgbClr val="24A558"/>
        </a:solidFill>
        <a:ln w="12700" cap="flat" cmpd="sng" algn="ctr">
          <a:solidFill>
            <a:srgbClr val="29A45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690" tIns="93345" rIns="46673" bIns="93345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500" kern="1200"/>
        </a:p>
      </dsp:txBody>
      <dsp:txXfrm>
        <a:off x="1278" y="5445"/>
        <a:ext cx="2307618" cy="745666"/>
      </dsp:txXfrm>
    </dsp:sp>
    <dsp:sp modelId="{5D4AE62E-D122-E549-9FDE-C5A6579226E6}">
      <dsp:nvSpPr>
        <dsp:cNvPr id="0" name=""/>
        <dsp:cNvSpPr/>
      </dsp:nvSpPr>
      <dsp:spPr>
        <a:xfrm>
          <a:off x="1996506" y="0"/>
          <a:ext cx="2494034" cy="756558"/>
        </a:xfrm>
        <a:prstGeom prst="chevron">
          <a:avLst/>
        </a:prstGeom>
        <a:solidFill>
          <a:srgbClr val="1D964B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2374785" y="0"/>
        <a:ext cx="1737476" cy="756558"/>
      </dsp:txXfrm>
    </dsp:sp>
    <dsp:sp modelId="{37E9EE08-28DD-1043-85D6-6F389C61BA97}">
      <dsp:nvSpPr>
        <dsp:cNvPr id="0" name=""/>
        <dsp:cNvSpPr/>
      </dsp:nvSpPr>
      <dsp:spPr>
        <a:xfrm>
          <a:off x="3991733" y="0"/>
          <a:ext cx="2494034" cy="756558"/>
        </a:xfrm>
        <a:prstGeom prst="chevron">
          <a:avLst/>
        </a:prstGeom>
        <a:solidFill>
          <a:srgbClr val="198C44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4370012" y="0"/>
        <a:ext cx="1737476" cy="756558"/>
      </dsp:txXfrm>
    </dsp:sp>
    <dsp:sp modelId="{A321AFAD-7A09-B44E-BB82-A6F453920C7D}">
      <dsp:nvSpPr>
        <dsp:cNvPr id="0" name=""/>
        <dsp:cNvSpPr/>
      </dsp:nvSpPr>
      <dsp:spPr>
        <a:xfrm>
          <a:off x="5986960" y="0"/>
          <a:ext cx="2494034" cy="756558"/>
        </a:xfrm>
        <a:prstGeom prst="chevron">
          <a:avLst/>
        </a:prstGeom>
        <a:solidFill>
          <a:srgbClr val="037A4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6365239" y="0"/>
        <a:ext cx="1737476" cy="756558"/>
      </dsp:txXfrm>
    </dsp:sp>
    <dsp:sp modelId="{5F174EF4-47BF-034A-A5EF-AE2C38F44384}">
      <dsp:nvSpPr>
        <dsp:cNvPr id="0" name=""/>
        <dsp:cNvSpPr/>
      </dsp:nvSpPr>
      <dsp:spPr>
        <a:xfrm>
          <a:off x="7982187" y="0"/>
          <a:ext cx="2494034" cy="756558"/>
        </a:xfrm>
        <a:prstGeom prst="chevron">
          <a:avLst/>
        </a:prstGeom>
        <a:solidFill>
          <a:srgbClr val="036E3D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8360466" y="0"/>
        <a:ext cx="1737476" cy="75655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EAD4B2-E716-D742-879F-CD20B48D44D7}">
      <dsp:nvSpPr>
        <dsp:cNvPr id="0" name=""/>
        <dsp:cNvSpPr/>
      </dsp:nvSpPr>
      <dsp:spPr>
        <a:xfrm>
          <a:off x="1278" y="5445"/>
          <a:ext cx="2494034" cy="745666"/>
        </a:xfrm>
        <a:prstGeom prst="homePlate">
          <a:avLst/>
        </a:prstGeom>
        <a:solidFill>
          <a:srgbClr val="24A558"/>
        </a:solidFill>
        <a:ln w="12700" cap="flat" cmpd="sng" algn="ctr">
          <a:solidFill>
            <a:srgbClr val="29A45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690" tIns="93345" rIns="46673" bIns="93345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500" kern="1200"/>
        </a:p>
      </dsp:txBody>
      <dsp:txXfrm>
        <a:off x="1278" y="5445"/>
        <a:ext cx="2307618" cy="745666"/>
      </dsp:txXfrm>
    </dsp:sp>
    <dsp:sp modelId="{5D4AE62E-D122-E549-9FDE-C5A6579226E6}">
      <dsp:nvSpPr>
        <dsp:cNvPr id="0" name=""/>
        <dsp:cNvSpPr/>
      </dsp:nvSpPr>
      <dsp:spPr>
        <a:xfrm>
          <a:off x="1996506" y="0"/>
          <a:ext cx="2494034" cy="756558"/>
        </a:xfrm>
        <a:prstGeom prst="chevron">
          <a:avLst/>
        </a:prstGeom>
        <a:solidFill>
          <a:srgbClr val="1D964B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2374785" y="0"/>
        <a:ext cx="1737476" cy="756558"/>
      </dsp:txXfrm>
    </dsp:sp>
    <dsp:sp modelId="{37E9EE08-28DD-1043-85D6-6F389C61BA97}">
      <dsp:nvSpPr>
        <dsp:cNvPr id="0" name=""/>
        <dsp:cNvSpPr/>
      </dsp:nvSpPr>
      <dsp:spPr>
        <a:xfrm>
          <a:off x="3991733" y="0"/>
          <a:ext cx="2494034" cy="756558"/>
        </a:xfrm>
        <a:prstGeom prst="chevron">
          <a:avLst/>
        </a:prstGeom>
        <a:solidFill>
          <a:srgbClr val="198C44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4370012" y="0"/>
        <a:ext cx="1737476" cy="756558"/>
      </dsp:txXfrm>
    </dsp:sp>
    <dsp:sp modelId="{A321AFAD-7A09-B44E-BB82-A6F453920C7D}">
      <dsp:nvSpPr>
        <dsp:cNvPr id="0" name=""/>
        <dsp:cNvSpPr/>
      </dsp:nvSpPr>
      <dsp:spPr>
        <a:xfrm>
          <a:off x="5986960" y="0"/>
          <a:ext cx="2494034" cy="756558"/>
        </a:xfrm>
        <a:prstGeom prst="chevron">
          <a:avLst/>
        </a:prstGeom>
        <a:solidFill>
          <a:srgbClr val="037A4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6365239" y="0"/>
        <a:ext cx="1737476" cy="756558"/>
      </dsp:txXfrm>
    </dsp:sp>
    <dsp:sp modelId="{5F174EF4-47BF-034A-A5EF-AE2C38F44384}">
      <dsp:nvSpPr>
        <dsp:cNvPr id="0" name=""/>
        <dsp:cNvSpPr/>
      </dsp:nvSpPr>
      <dsp:spPr>
        <a:xfrm>
          <a:off x="7982187" y="0"/>
          <a:ext cx="2494034" cy="756558"/>
        </a:xfrm>
        <a:prstGeom prst="chevron">
          <a:avLst/>
        </a:prstGeom>
        <a:solidFill>
          <a:srgbClr val="036E3D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8360466" y="0"/>
        <a:ext cx="1737476" cy="75655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EAD4B2-E716-D742-879F-CD20B48D44D7}">
      <dsp:nvSpPr>
        <dsp:cNvPr id="0" name=""/>
        <dsp:cNvSpPr/>
      </dsp:nvSpPr>
      <dsp:spPr>
        <a:xfrm>
          <a:off x="1278" y="5445"/>
          <a:ext cx="2494034" cy="745666"/>
        </a:xfrm>
        <a:prstGeom prst="homePlate">
          <a:avLst/>
        </a:prstGeom>
        <a:solidFill>
          <a:srgbClr val="24A558"/>
        </a:solidFill>
        <a:ln w="12700" cap="flat" cmpd="sng" algn="ctr">
          <a:solidFill>
            <a:srgbClr val="29A45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690" tIns="93345" rIns="46673" bIns="93345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500" kern="1200"/>
        </a:p>
      </dsp:txBody>
      <dsp:txXfrm>
        <a:off x="1278" y="5445"/>
        <a:ext cx="2307618" cy="745666"/>
      </dsp:txXfrm>
    </dsp:sp>
    <dsp:sp modelId="{5D4AE62E-D122-E549-9FDE-C5A6579226E6}">
      <dsp:nvSpPr>
        <dsp:cNvPr id="0" name=""/>
        <dsp:cNvSpPr/>
      </dsp:nvSpPr>
      <dsp:spPr>
        <a:xfrm>
          <a:off x="1996506" y="0"/>
          <a:ext cx="2494034" cy="756558"/>
        </a:xfrm>
        <a:prstGeom prst="chevron">
          <a:avLst/>
        </a:prstGeom>
        <a:solidFill>
          <a:srgbClr val="1D964B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2374785" y="0"/>
        <a:ext cx="1737476" cy="756558"/>
      </dsp:txXfrm>
    </dsp:sp>
    <dsp:sp modelId="{37E9EE08-28DD-1043-85D6-6F389C61BA97}">
      <dsp:nvSpPr>
        <dsp:cNvPr id="0" name=""/>
        <dsp:cNvSpPr/>
      </dsp:nvSpPr>
      <dsp:spPr>
        <a:xfrm>
          <a:off x="3991733" y="0"/>
          <a:ext cx="2494034" cy="756558"/>
        </a:xfrm>
        <a:prstGeom prst="chevron">
          <a:avLst/>
        </a:prstGeom>
        <a:solidFill>
          <a:srgbClr val="198C44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4370012" y="0"/>
        <a:ext cx="1737476" cy="756558"/>
      </dsp:txXfrm>
    </dsp:sp>
    <dsp:sp modelId="{A321AFAD-7A09-B44E-BB82-A6F453920C7D}">
      <dsp:nvSpPr>
        <dsp:cNvPr id="0" name=""/>
        <dsp:cNvSpPr/>
      </dsp:nvSpPr>
      <dsp:spPr>
        <a:xfrm>
          <a:off x="5986960" y="0"/>
          <a:ext cx="2494034" cy="756558"/>
        </a:xfrm>
        <a:prstGeom prst="chevron">
          <a:avLst/>
        </a:prstGeom>
        <a:solidFill>
          <a:srgbClr val="037A4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6365239" y="0"/>
        <a:ext cx="1737476" cy="756558"/>
      </dsp:txXfrm>
    </dsp:sp>
    <dsp:sp modelId="{5F174EF4-47BF-034A-A5EF-AE2C38F44384}">
      <dsp:nvSpPr>
        <dsp:cNvPr id="0" name=""/>
        <dsp:cNvSpPr/>
      </dsp:nvSpPr>
      <dsp:spPr>
        <a:xfrm>
          <a:off x="7982187" y="0"/>
          <a:ext cx="2494034" cy="756558"/>
        </a:xfrm>
        <a:prstGeom prst="chevron">
          <a:avLst/>
        </a:prstGeom>
        <a:solidFill>
          <a:srgbClr val="036E3D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8360466" y="0"/>
        <a:ext cx="1737476" cy="75655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EAD4B2-E716-D742-879F-CD20B48D44D7}">
      <dsp:nvSpPr>
        <dsp:cNvPr id="0" name=""/>
        <dsp:cNvSpPr/>
      </dsp:nvSpPr>
      <dsp:spPr>
        <a:xfrm>
          <a:off x="1278" y="5445"/>
          <a:ext cx="2494034" cy="745666"/>
        </a:xfrm>
        <a:prstGeom prst="homePlate">
          <a:avLst/>
        </a:prstGeom>
        <a:solidFill>
          <a:srgbClr val="24A558"/>
        </a:solidFill>
        <a:ln w="12700" cap="flat" cmpd="sng" algn="ctr">
          <a:solidFill>
            <a:srgbClr val="29A45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690" tIns="93345" rIns="46673" bIns="93345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500" kern="1200"/>
        </a:p>
      </dsp:txBody>
      <dsp:txXfrm>
        <a:off x="1278" y="5445"/>
        <a:ext cx="2307618" cy="745666"/>
      </dsp:txXfrm>
    </dsp:sp>
    <dsp:sp modelId="{5D4AE62E-D122-E549-9FDE-C5A6579226E6}">
      <dsp:nvSpPr>
        <dsp:cNvPr id="0" name=""/>
        <dsp:cNvSpPr/>
      </dsp:nvSpPr>
      <dsp:spPr>
        <a:xfrm>
          <a:off x="1996506" y="0"/>
          <a:ext cx="2494034" cy="756558"/>
        </a:xfrm>
        <a:prstGeom prst="chevron">
          <a:avLst/>
        </a:prstGeom>
        <a:solidFill>
          <a:srgbClr val="1D964B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2374785" y="0"/>
        <a:ext cx="1737476" cy="756558"/>
      </dsp:txXfrm>
    </dsp:sp>
    <dsp:sp modelId="{37E9EE08-28DD-1043-85D6-6F389C61BA97}">
      <dsp:nvSpPr>
        <dsp:cNvPr id="0" name=""/>
        <dsp:cNvSpPr/>
      </dsp:nvSpPr>
      <dsp:spPr>
        <a:xfrm>
          <a:off x="3991733" y="0"/>
          <a:ext cx="2494034" cy="756558"/>
        </a:xfrm>
        <a:prstGeom prst="chevron">
          <a:avLst/>
        </a:prstGeom>
        <a:solidFill>
          <a:srgbClr val="198C44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4370012" y="0"/>
        <a:ext cx="1737476" cy="756558"/>
      </dsp:txXfrm>
    </dsp:sp>
    <dsp:sp modelId="{A321AFAD-7A09-B44E-BB82-A6F453920C7D}">
      <dsp:nvSpPr>
        <dsp:cNvPr id="0" name=""/>
        <dsp:cNvSpPr/>
      </dsp:nvSpPr>
      <dsp:spPr>
        <a:xfrm>
          <a:off x="5986960" y="0"/>
          <a:ext cx="2494034" cy="756558"/>
        </a:xfrm>
        <a:prstGeom prst="chevron">
          <a:avLst/>
        </a:prstGeom>
        <a:solidFill>
          <a:srgbClr val="037A4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6365239" y="0"/>
        <a:ext cx="1737476" cy="756558"/>
      </dsp:txXfrm>
    </dsp:sp>
    <dsp:sp modelId="{5F174EF4-47BF-034A-A5EF-AE2C38F44384}">
      <dsp:nvSpPr>
        <dsp:cNvPr id="0" name=""/>
        <dsp:cNvSpPr/>
      </dsp:nvSpPr>
      <dsp:spPr>
        <a:xfrm>
          <a:off x="7982187" y="0"/>
          <a:ext cx="2494034" cy="756558"/>
        </a:xfrm>
        <a:prstGeom prst="chevron">
          <a:avLst/>
        </a:prstGeom>
        <a:solidFill>
          <a:srgbClr val="036E3D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8360466" y="0"/>
        <a:ext cx="1737476" cy="75655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EAD4B2-E716-D742-879F-CD20B48D44D7}">
      <dsp:nvSpPr>
        <dsp:cNvPr id="0" name=""/>
        <dsp:cNvSpPr/>
      </dsp:nvSpPr>
      <dsp:spPr>
        <a:xfrm>
          <a:off x="1278" y="5445"/>
          <a:ext cx="2494034" cy="745666"/>
        </a:xfrm>
        <a:prstGeom prst="homePlate">
          <a:avLst/>
        </a:prstGeom>
        <a:solidFill>
          <a:srgbClr val="24A558"/>
        </a:solidFill>
        <a:ln w="12700" cap="flat" cmpd="sng" algn="ctr">
          <a:solidFill>
            <a:srgbClr val="29A45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690" tIns="93345" rIns="46673" bIns="93345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500" kern="1200"/>
        </a:p>
      </dsp:txBody>
      <dsp:txXfrm>
        <a:off x="1278" y="5445"/>
        <a:ext cx="2307618" cy="745666"/>
      </dsp:txXfrm>
    </dsp:sp>
    <dsp:sp modelId="{5D4AE62E-D122-E549-9FDE-C5A6579226E6}">
      <dsp:nvSpPr>
        <dsp:cNvPr id="0" name=""/>
        <dsp:cNvSpPr/>
      </dsp:nvSpPr>
      <dsp:spPr>
        <a:xfrm>
          <a:off x="1996506" y="0"/>
          <a:ext cx="2494034" cy="756558"/>
        </a:xfrm>
        <a:prstGeom prst="chevron">
          <a:avLst/>
        </a:prstGeom>
        <a:solidFill>
          <a:srgbClr val="1D964B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2374785" y="0"/>
        <a:ext cx="1737476" cy="756558"/>
      </dsp:txXfrm>
    </dsp:sp>
    <dsp:sp modelId="{37E9EE08-28DD-1043-85D6-6F389C61BA97}">
      <dsp:nvSpPr>
        <dsp:cNvPr id="0" name=""/>
        <dsp:cNvSpPr/>
      </dsp:nvSpPr>
      <dsp:spPr>
        <a:xfrm>
          <a:off x="3991733" y="0"/>
          <a:ext cx="2494034" cy="756558"/>
        </a:xfrm>
        <a:prstGeom prst="chevron">
          <a:avLst/>
        </a:prstGeom>
        <a:solidFill>
          <a:srgbClr val="198C44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4370012" y="0"/>
        <a:ext cx="1737476" cy="756558"/>
      </dsp:txXfrm>
    </dsp:sp>
    <dsp:sp modelId="{A321AFAD-7A09-B44E-BB82-A6F453920C7D}">
      <dsp:nvSpPr>
        <dsp:cNvPr id="0" name=""/>
        <dsp:cNvSpPr/>
      </dsp:nvSpPr>
      <dsp:spPr>
        <a:xfrm>
          <a:off x="5986960" y="0"/>
          <a:ext cx="2494034" cy="756558"/>
        </a:xfrm>
        <a:prstGeom prst="chevron">
          <a:avLst/>
        </a:prstGeom>
        <a:solidFill>
          <a:srgbClr val="037A4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6365239" y="0"/>
        <a:ext cx="1737476" cy="756558"/>
      </dsp:txXfrm>
    </dsp:sp>
    <dsp:sp modelId="{5F174EF4-47BF-034A-A5EF-AE2C38F44384}">
      <dsp:nvSpPr>
        <dsp:cNvPr id="0" name=""/>
        <dsp:cNvSpPr/>
      </dsp:nvSpPr>
      <dsp:spPr>
        <a:xfrm>
          <a:off x="7982187" y="0"/>
          <a:ext cx="2494034" cy="756558"/>
        </a:xfrm>
        <a:prstGeom prst="chevron">
          <a:avLst/>
        </a:prstGeom>
        <a:solidFill>
          <a:srgbClr val="036E3D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8360466" y="0"/>
        <a:ext cx="1737476" cy="75655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EAD4B2-E716-D742-879F-CD20B48D44D7}">
      <dsp:nvSpPr>
        <dsp:cNvPr id="0" name=""/>
        <dsp:cNvSpPr/>
      </dsp:nvSpPr>
      <dsp:spPr>
        <a:xfrm>
          <a:off x="1278" y="5445"/>
          <a:ext cx="2494034" cy="745666"/>
        </a:xfrm>
        <a:prstGeom prst="homePlate">
          <a:avLst/>
        </a:prstGeom>
        <a:solidFill>
          <a:srgbClr val="24A558"/>
        </a:solidFill>
        <a:ln w="12700" cap="flat" cmpd="sng" algn="ctr">
          <a:solidFill>
            <a:srgbClr val="29A45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690" tIns="93345" rIns="46673" bIns="93345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500" kern="1200"/>
        </a:p>
      </dsp:txBody>
      <dsp:txXfrm>
        <a:off x="1278" y="5445"/>
        <a:ext cx="2307618" cy="745666"/>
      </dsp:txXfrm>
    </dsp:sp>
    <dsp:sp modelId="{5D4AE62E-D122-E549-9FDE-C5A6579226E6}">
      <dsp:nvSpPr>
        <dsp:cNvPr id="0" name=""/>
        <dsp:cNvSpPr/>
      </dsp:nvSpPr>
      <dsp:spPr>
        <a:xfrm>
          <a:off x="1996506" y="0"/>
          <a:ext cx="2494034" cy="756558"/>
        </a:xfrm>
        <a:prstGeom prst="chevron">
          <a:avLst/>
        </a:prstGeom>
        <a:solidFill>
          <a:srgbClr val="1D964B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2374785" y="0"/>
        <a:ext cx="1737476" cy="756558"/>
      </dsp:txXfrm>
    </dsp:sp>
    <dsp:sp modelId="{37E9EE08-28DD-1043-85D6-6F389C61BA97}">
      <dsp:nvSpPr>
        <dsp:cNvPr id="0" name=""/>
        <dsp:cNvSpPr/>
      </dsp:nvSpPr>
      <dsp:spPr>
        <a:xfrm>
          <a:off x="3991733" y="0"/>
          <a:ext cx="2494034" cy="756558"/>
        </a:xfrm>
        <a:prstGeom prst="chevron">
          <a:avLst/>
        </a:prstGeom>
        <a:solidFill>
          <a:srgbClr val="198C44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4370012" y="0"/>
        <a:ext cx="1737476" cy="756558"/>
      </dsp:txXfrm>
    </dsp:sp>
    <dsp:sp modelId="{A321AFAD-7A09-B44E-BB82-A6F453920C7D}">
      <dsp:nvSpPr>
        <dsp:cNvPr id="0" name=""/>
        <dsp:cNvSpPr/>
      </dsp:nvSpPr>
      <dsp:spPr>
        <a:xfrm>
          <a:off x="5986960" y="0"/>
          <a:ext cx="2494034" cy="756558"/>
        </a:xfrm>
        <a:prstGeom prst="chevron">
          <a:avLst/>
        </a:prstGeom>
        <a:solidFill>
          <a:srgbClr val="037A4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6365239" y="0"/>
        <a:ext cx="1737476" cy="756558"/>
      </dsp:txXfrm>
    </dsp:sp>
    <dsp:sp modelId="{5F174EF4-47BF-034A-A5EF-AE2C38F44384}">
      <dsp:nvSpPr>
        <dsp:cNvPr id="0" name=""/>
        <dsp:cNvSpPr/>
      </dsp:nvSpPr>
      <dsp:spPr>
        <a:xfrm>
          <a:off x="7982187" y="0"/>
          <a:ext cx="2494034" cy="756558"/>
        </a:xfrm>
        <a:prstGeom prst="chevron">
          <a:avLst/>
        </a:prstGeom>
        <a:solidFill>
          <a:srgbClr val="036E3D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8360466" y="0"/>
        <a:ext cx="1737476" cy="756558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EAD4B2-E716-D742-879F-CD20B48D44D7}">
      <dsp:nvSpPr>
        <dsp:cNvPr id="0" name=""/>
        <dsp:cNvSpPr/>
      </dsp:nvSpPr>
      <dsp:spPr>
        <a:xfrm>
          <a:off x="1278" y="5445"/>
          <a:ext cx="2494034" cy="745666"/>
        </a:xfrm>
        <a:prstGeom prst="homePlate">
          <a:avLst/>
        </a:prstGeom>
        <a:solidFill>
          <a:srgbClr val="24A558"/>
        </a:solidFill>
        <a:ln w="12700" cap="flat" cmpd="sng" algn="ctr">
          <a:solidFill>
            <a:srgbClr val="29A45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690" tIns="93345" rIns="46673" bIns="93345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500" kern="1200"/>
        </a:p>
      </dsp:txBody>
      <dsp:txXfrm>
        <a:off x="1278" y="5445"/>
        <a:ext cx="2307618" cy="745666"/>
      </dsp:txXfrm>
    </dsp:sp>
    <dsp:sp modelId="{5D4AE62E-D122-E549-9FDE-C5A6579226E6}">
      <dsp:nvSpPr>
        <dsp:cNvPr id="0" name=""/>
        <dsp:cNvSpPr/>
      </dsp:nvSpPr>
      <dsp:spPr>
        <a:xfrm>
          <a:off x="1996506" y="0"/>
          <a:ext cx="2494034" cy="756558"/>
        </a:xfrm>
        <a:prstGeom prst="chevron">
          <a:avLst/>
        </a:prstGeom>
        <a:solidFill>
          <a:srgbClr val="1D964B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2374785" y="0"/>
        <a:ext cx="1737476" cy="756558"/>
      </dsp:txXfrm>
    </dsp:sp>
    <dsp:sp modelId="{37E9EE08-28DD-1043-85D6-6F389C61BA97}">
      <dsp:nvSpPr>
        <dsp:cNvPr id="0" name=""/>
        <dsp:cNvSpPr/>
      </dsp:nvSpPr>
      <dsp:spPr>
        <a:xfrm>
          <a:off x="3991733" y="0"/>
          <a:ext cx="2494034" cy="756558"/>
        </a:xfrm>
        <a:prstGeom prst="chevron">
          <a:avLst/>
        </a:prstGeom>
        <a:solidFill>
          <a:srgbClr val="198C44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4370012" y="0"/>
        <a:ext cx="1737476" cy="756558"/>
      </dsp:txXfrm>
    </dsp:sp>
    <dsp:sp modelId="{A321AFAD-7A09-B44E-BB82-A6F453920C7D}">
      <dsp:nvSpPr>
        <dsp:cNvPr id="0" name=""/>
        <dsp:cNvSpPr/>
      </dsp:nvSpPr>
      <dsp:spPr>
        <a:xfrm>
          <a:off x="5986960" y="0"/>
          <a:ext cx="2494034" cy="756558"/>
        </a:xfrm>
        <a:prstGeom prst="chevron">
          <a:avLst/>
        </a:prstGeom>
        <a:solidFill>
          <a:srgbClr val="037A4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6365239" y="0"/>
        <a:ext cx="1737476" cy="756558"/>
      </dsp:txXfrm>
    </dsp:sp>
    <dsp:sp modelId="{5F174EF4-47BF-034A-A5EF-AE2C38F44384}">
      <dsp:nvSpPr>
        <dsp:cNvPr id="0" name=""/>
        <dsp:cNvSpPr/>
      </dsp:nvSpPr>
      <dsp:spPr>
        <a:xfrm>
          <a:off x="7982187" y="0"/>
          <a:ext cx="2494034" cy="756558"/>
        </a:xfrm>
        <a:prstGeom prst="chevron">
          <a:avLst/>
        </a:prstGeom>
        <a:solidFill>
          <a:srgbClr val="036E3D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96012" rIns="48006" bIns="96012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8360466" y="0"/>
        <a:ext cx="1737476" cy="756558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EAD4B2-E716-D742-879F-CD20B48D44D7}">
      <dsp:nvSpPr>
        <dsp:cNvPr id="0" name=""/>
        <dsp:cNvSpPr/>
      </dsp:nvSpPr>
      <dsp:spPr>
        <a:xfrm>
          <a:off x="1278" y="5445"/>
          <a:ext cx="2494034" cy="745666"/>
        </a:xfrm>
        <a:prstGeom prst="homePlate">
          <a:avLst/>
        </a:prstGeom>
        <a:solidFill>
          <a:srgbClr val="24A558"/>
        </a:solidFill>
        <a:ln w="12700" cap="flat" cmpd="sng" algn="ctr">
          <a:solidFill>
            <a:srgbClr val="29A457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2692" tIns="101346" rIns="50673" bIns="101346" numCol="1" spcCol="1270" anchor="ctr" anchorCtr="0">
          <a:noAutofit/>
        </a:bodyPr>
        <a:lstStyle/>
        <a:p>
          <a:pPr marL="0" lvl="0" indent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800" kern="1200"/>
        </a:p>
      </dsp:txBody>
      <dsp:txXfrm>
        <a:off x="1278" y="5445"/>
        <a:ext cx="2307618" cy="745666"/>
      </dsp:txXfrm>
    </dsp:sp>
    <dsp:sp modelId="{5D4AE62E-D122-E549-9FDE-C5A6579226E6}">
      <dsp:nvSpPr>
        <dsp:cNvPr id="0" name=""/>
        <dsp:cNvSpPr/>
      </dsp:nvSpPr>
      <dsp:spPr>
        <a:xfrm>
          <a:off x="1996506" y="0"/>
          <a:ext cx="2494034" cy="756558"/>
        </a:xfrm>
        <a:prstGeom prst="chevron">
          <a:avLst/>
        </a:prstGeom>
        <a:solidFill>
          <a:srgbClr val="1D964B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104013" rIns="52007" bIns="104013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900" kern="1200"/>
        </a:p>
      </dsp:txBody>
      <dsp:txXfrm>
        <a:off x="2374785" y="0"/>
        <a:ext cx="1737476" cy="756558"/>
      </dsp:txXfrm>
    </dsp:sp>
    <dsp:sp modelId="{37E9EE08-28DD-1043-85D6-6F389C61BA97}">
      <dsp:nvSpPr>
        <dsp:cNvPr id="0" name=""/>
        <dsp:cNvSpPr/>
      </dsp:nvSpPr>
      <dsp:spPr>
        <a:xfrm>
          <a:off x="3991733" y="0"/>
          <a:ext cx="2494034" cy="756558"/>
        </a:xfrm>
        <a:prstGeom prst="chevron">
          <a:avLst/>
        </a:prstGeom>
        <a:solidFill>
          <a:srgbClr val="198C44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104013" rIns="52007" bIns="104013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900" kern="1200"/>
        </a:p>
      </dsp:txBody>
      <dsp:txXfrm>
        <a:off x="4370012" y="0"/>
        <a:ext cx="1737476" cy="756558"/>
      </dsp:txXfrm>
    </dsp:sp>
    <dsp:sp modelId="{A321AFAD-7A09-B44E-BB82-A6F453920C7D}">
      <dsp:nvSpPr>
        <dsp:cNvPr id="0" name=""/>
        <dsp:cNvSpPr/>
      </dsp:nvSpPr>
      <dsp:spPr>
        <a:xfrm>
          <a:off x="5986960" y="0"/>
          <a:ext cx="2494034" cy="756558"/>
        </a:xfrm>
        <a:prstGeom prst="chevron">
          <a:avLst/>
        </a:prstGeom>
        <a:solidFill>
          <a:srgbClr val="037A42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104013" rIns="52007" bIns="104013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900" kern="1200"/>
        </a:p>
      </dsp:txBody>
      <dsp:txXfrm>
        <a:off x="6365239" y="0"/>
        <a:ext cx="1737476" cy="756558"/>
      </dsp:txXfrm>
    </dsp:sp>
    <dsp:sp modelId="{5F174EF4-47BF-034A-A5EF-AE2C38F44384}">
      <dsp:nvSpPr>
        <dsp:cNvPr id="0" name=""/>
        <dsp:cNvSpPr/>
      </dsp:nvSpPr>
      <dsp:spPr>
        <a:xfrm>
          <a:off x="7982187" y="0"/>
          <a:ext cx="2494034" cy="756558"/>
        </a:xfrm>
        <a:prstGeom prst="chevron">
          <a:avLst/>
        </a:prstGeom>
        <a:solidFill>
          <a:srgbClr val="036E3D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020" tIns="104013" rIns="52007" bIns="104013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900" kern="1200"/>
        </a:p>
      </dsp:txBody>
      <dsp:txXfrm>
        <a:off x="8360466" y="0"/>
        <a:ext cx="1737476" cy="7565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1542" cy="341065"/>
          </a:xfrm>
          <a:prstGeom prst="rect">
            <a:avLst/>
          </a:prstGeom>
        </p:spPr>
        <p:txBody>
          <a:bodyPr vert="horz" lIns="91439" tIns="45719" rIns="91439" bIns="45719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799" y="0"/>
            <a:ext cx="4301542" cy="341065"/>
          </a:xfrm>
          <a:prstGeom prst="rect">
            <a:avLst/>
          </a:prstGeom>
        </p:spPr>
        <p:txBody>
          <a:bodyPr vert="horz" lIns="91439" tIns="45719" rIns="91439" bIns="45719" rtlCol="0"/>
          <a:lstStyle>
            <a:lvl1pPr algn="r">
              <a:defRPr sz="1200"/>
            </a:lvl1pPr>
          </a:lstStyle>
          <a:p>
            <a:fld id="{838F4DAC-67E7-4913-96CF-EE7F1A3A810B}" type="datetimeFigureOut">
              <a:rPr lang="en-GB" smtClean="0"/>
              <a:t>29/10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08063" y="568325"/>
            <a:ext cx="7897812" cy="4441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9" tIns="45719" rIns="91439" bIns="45719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4" y="5424699"/>
            <a:ext cx="7941310" cy="523267"/>
          </a:xfrm>
          <a:prstGeom prst="rect">
            <a:avLst/>
          </a:prstGeom>
        </p:spPr>
        <p:txBody>
          <a:bodyPr vert="horz" lIns="91439" tIns="45719" rIns="91439" bIns="4571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6456613"/>
            <a:ext cx="4301542" cy="341064"/>
          </a:xfrm>
          <a:prstGeom prst="rect">
            <a:avLst/>
          </a:prstGeom>
        </p:spPr>
        <p:txBody>
          <a:bodyPr vert="horz" lIns="91439" tIns="45719" rIns="91439" bIns="45719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799" y="6456613"/>
            <a:ext cx="4301542" cy="341064"/>
          </a:xfrm>
          <a:prstGeom prst="rect">
            <a:avLst/>
          </a:prstGeom>
        </p:spPr>
        <p:txBody>
          <a:bodyPr vert="horz" lIns="91439" tIns="45719" rIns="91439" bIns="45719" rtlCol="0" anchor="b"/>
          <a:lstStyle>
            <a:lvl1pPr algn="r">
              <a:defRPr sz="1200"/>
            </a:lvl1pPr>
          </a:lstStyle>
          <a:p>
            <a:fld id="{E013737F-F23D-42ED-8AF3-6D8A62BF4E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01707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09650" y="568325"/>
            <a:ext cx="7896225" cy="4441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VN"/>
              <a:t>Kick off time: 09h3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84">
              <a:defRPr/>
            </a:pPr>
            <a:fld id="{97CC4280-D71F-4932-A9FC-5866A0EA8213}" type="slidenum">
              <a:rPr lang="pl-PL">
                <a:solidFill>
                  <a:prstClr val="black"/>
                </a:solidFill>
                <a:latin typeface="Open Sans" panose="020B0606030504020204" pitchFamily="34" charset="0"/>
              </a:rPr>
              <a:pPr defTabSz="914384">
                <a:defRPr/>
              </a:pPr>
              <a:t>1</a:t>
            </a:fld>
            <a:endParaRPr lang="pl-PL">
              <a:solidFill>
                <a:prstClr val="black"/>
              </a:solidFill>
              <a:latin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89352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r>
              <a:rPr lang="en-US" u="sng"/>
              <a:t>Top-5 benefiting clubs </a:t>
            </a:r>
            <a:endParaRPr lang="en-US"/>
          </a:p>
          <a:p>
            <a:pPr marL="342900" indent="-342900">
              <a:buAutoNum type="arabicPeriod"/>
            </a:pPr>
            <a:r>
              <a:rPr lang="en-US"/>
              <a:t>Man Utd $4,089m</a:t>
            </a:r>
          </a:p>
          <a:p>
            <a:pPr marL="342900" indent="-342900">
              <a:buAutoNum type="arabicPeriod"/>
            </a:pPr>
            <a:r>
              <a:rPr lang="en-US"/>
              <a:t>Man City $4,015m</a:t>
            </a:r>
          </a:p>
          <a:p>
            <a:pPr marL="342900" indent="-342900">
              <a:buAutoNum type="arabicPeriod"/>
            </a:pPr>
            <a:r>
              <a:rPr lang="en-US"/>
              <a:t>Paris St-Germain $3,649m</a:t>
            </a:r>
          </a:p>
          <a:p>
            <a:pPr marL="342900" indent="-342900">
              <a:buAutoNum type="arabicPeriod"/>
            </a:pPr>
            <a:r>
              <a:rPr lang="en-US"/>
              <a:t>Real Madrid $3,529m</a:t>
            </a:r>
          </a:p>
          <a:p>
            <a:pPr marL="342900" indent="-342900">
              <a:buAutoNum type="arabicPeriod"/>
            </a:pPr>
            <a:r>
              <a:rPr lang="en-US"/>
              <a:t>Arsenal $3,382m</a:t>
            </a:r>
          </a:p>
          <a:p>
            <a:pPr algn="ctr"/>
            <a:r>
              <a:rPr lang="en-US"/>
              <a:t>(simulation – final tourn. only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13737F-F23D-42ED-8AF3-6D8A62BF4E3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61825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H"/>
              <a:t>ECA sole body </a:t>
            </a:r>
            <a:r>
              <a:rPr lang="fr-CH" err="1"/>
              <a:t>representing</a:t>
            </a:r>
            <a:r>
              <a:rPr lang="fr-CH"/>
              <a:t> clubs</a:t>
            </a:r>
          </a:p>
          <a:p>
            <a:r>
              <a:rPr lang="fr-CH"/>
              <a:t>European Sport Model </a:t>
            </a:r>
            <a:r>
              <a:rPr lang="fr-CH" err="1"/>
              <a:t>opposed</a:t>
            </a:r>
            <a:r>
              <a:rPr lang="fr-CH"/>
              <a:t> to American system (</a:t>
            </a:r>
            <a:r>
              <a:rPr lang="fr-CH" err="1"/>
              <a:t>closed</a:t>
            </a:r>
            <a:r>
              <a:rPr lang="fr-CH"/>
              <a:t> </a:t>
            </a:r>
            <a:r>
              <a:rPr lang="fr-CH" err="1"/>
              <a:t>league</a:t>
            </a:r>
            <a:r>
              <a:rPr lang="fr-CH"/>
              <a:t>)</a:t>
            </a:r>
          </a:p>
          <a:p>
            <a:r>
              <a:rPr lang="fr-CH"/>
              <a:t>2 places de l’ECA à l’Exco UEFA, 16 rep de clubs à UCC </a:t>
            </a:r>
            <a:r>
              <a:rPr lang="fr-CH" err="1"/>
              <a:t>committee</a:t>
            </a:r>
            <a:endParaRPr lang="fr-CH"/>
          </a:p>
          <a:p>
            <a:r>
              <a:rPr lang="fr-CH"/>
              <a:t>ECA </a:t>
            </a:r>
            <a:r>
              <a:rPr lang="fr-CH" err="1"/>
              <a:t>involved</a:t>
            </a:r>
            <a:r>
              <a:rPr lang="fr-CH"/>
              <a:t> </a:t>
            </a:r>
            <a:r>
              <a:rPr lang="fr-CH" err="1"/>
              <a:t>from</a:t>
            </a:r>
            <a:r>
              <a:rPr lang="fr-CH"/>
              <a:t> start to finish in new FSR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79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B61677-E501-9B44-AA96-C8BF48DA2C1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479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39454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09650" y="568325"/>
            <a:ext cx="7896225" cy="4441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13737F-F23D-42ED-8AF3-6D8A62BF4E35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64178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many memb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6BE02D-20C0-F840-AFAC-BEA99C74FDC2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 panose="020B0306030504020204" pitchFamily="34" charset="0"/>
                <a:ea typeface="+mn-ea"/>
                <a:cs typeface="+mn-cs"/>
              </a:rPr>
              <a:pPr marL="0" marR="0" lvl="0" indent="0" algn="r" defTabSz="18284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Light" panose="020B03060305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92353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7958">
              <a:defRPr/>
            </a:pPr>
            <a:r>
              <a:rPr lang="fr-CH" dirty="0">
                <a:solidFill>
                  <a:srgbClr val="FFFFFF"/>
                </a:solidFill>
                <a:latin typeface="Open Sans"/>
              </a:rPr>
              <a:t>550</a:t>
            </a:r>
            <a:r>
              <a:rPr lang="en-CH" dirty="0">
                <a:solidFill>
                  <a:srgbClr val="FFFFFF"/>
                </a:solidFill>
                <a:latin typeface="Open Sans"/>
              </a:rPr>
              <a:t>+ </a:t>
            </a:r>
            <a:r>
              <a:rPr lang="en-GB" dirty="0">
                <a:solidFill>
                  <a:srgbClr val="FFFFFF"/>
                </a:solidFill>
                <a:latin typeface="Open Sans"/>
              </a:rPr>
              <a:t>ECA Clubs from </a:t>
            </a:r>
            <a:r>
              <a:rPr lang="en-GB" b="1" dirty="0">
                <a:solidFill>
                  <a:srgbClr val="FFFFFF"/>
                </a:solidFill>
                <a:latin typeface="Open Sans"/>
              </a:rPr>
              <a:t>55 </a:t>
            </a:r>
            <a:r>
              <a:rPr lang="en-GB" dirty="0">
                <a:solidFill>
                  <a:srgbClr val="FFFFFF"/>
                </a:solidFill>
                <a:latin typeface="Open Sans"/>
              </a:rPr>
              <a:t>National Associations across Europe</a:t>
            </a:r>
            <a:r>
              <a:rPr lang="en-CH" dirty="0">
                <a:solidFill>
                  <a:srgbClr val="FFFFFF"/>
                </a:solidFill>
                <a:latin typeface="Open Sans"/>
              </a:rPr>
              <a:t>, started in 200</a:t>
            </a:r>
            <a:r>
              <a:rPr lang="fr-CH" dirty="0">
                <a:solidFill>
                  <a:srgbClr val="FFFFFF"/>
                </a:solidFill>
                <a:latin typeface="Open Sans"/>
              </a:rPr>
              <a:t>8/2009 </a:t>
            </a:r>
            <a:r>
              <a:rPr lang="en-CH" dirty="0">
                <a:solidFill>
                  <a:srgbClr val="FFFFFF"/>
                </a:solidFill>
                <a:latin typeface="Open Sans"/>
              </a:rPr>
              <a:t>with 1</a:t>
            </a:r>
            <a:r>
              <a:rPr lang="fr-CH" dirty="0">
                <a:solidFill>
                  <a:srgbClr val="FFFFFF"/>
                </a:solidFill>
                <a:latin typeface="Open Sans"/>
              </a:rPr>
              <a:t>37</a:t>
            </a:r>
            <a:r>
              <a:rPr lang="en-CH" dirty="0">
                <a:solidFill>
                  <a:srgbClr val="FFFFFF"/>
                </a:solidFill>
                <a:latin typeface="Open Sans"/>
              </a:rPr>
              <a:t> members</a:t>
            </a:r>
            <a:endParaRPr lang="en-GB" dirty="0">
              <a:solidFill>
                <a:srgbClr val="FFFFFF"/>
              </a:solidFill>
              <a:latin typeface="Open Sans"/>
            </a:endParaRPr>
          </a:p>
          <a:p>
            <a:pPr defTabSz="947958">
              <a:defRPr/>
            </a:pPr>
            <a:r>
              <a:rPr lang="en-GB" dirty="0">
                <a:solidFill>
                  <a:srgbClr val="FFFFFF"/>
                </a:solidFill>
                <a:latin typeface="Open Sans"/>
              </a:rPr>
              <a:t>ECA is the sole independent body directly representing football clubs at European level and recognised by UEFA and FIFA </a:t>
            </a:r>
          </a:p>
          <a:p>
            <a:pPr defTabSz="947958">
              <a:defRPr/>
            </a:pPr>
            <a:r>
              <a:rPr lang="en-GB" dirty="0">
                <a:solidFill>
                  <a:srgbClr val="FFFFFF"/>
                </a:solidFill>
                <a:latin typeface="Open Sans"/>
              </a:rPr>
              <a:t>ECA exists to place </a:t>
            </a:r>
            <a:r>
              <a:rPr lang="en-CH" dirty="0">
                <a:solidFill>
                  <a:srgbClr val="FFFFFF"/>
                </a:solidFill>
                <a:latin typeface="Open Sans"/>
              </a:rPr>
              <a:t>the voice of </a:t>
            </a:r>
            <a:r>
              <a:rPr lang="en-GB" dirty="0">
                <a:solidFill>
                  <a:srgbClr val="FFFFFF"/>
                </a:solidFill>
                <a:latin typeface="Open Sans"/>
              </a:rPr>
              <a:t>Clubs at the </a:t>
            </a:r>
            <a:r>
              <a:rPr lang="en-GB" b="1" dirty="0">
                <a:solidFill>
                  <a:srgbClr val="FFFFFF"/>
                </a:solidFill>
                <a:latin typeface="Open Sans"/>
              </a:rPr>
              <a:t>Heart of Football</a:t>
            </a:r>
          </a:p>
          <a:p>
            <a:endParaRPr lang="en-CH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B61677-E501-9B44-AA96-C8BF48DA2C1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026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8DFEFF-34E0-51FB-2285-C994EF4F8A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152D8D6-5EC1-7ED9-19FF-95E5A4FA8E0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003300" y="576263"/>
            <a:ext cx="8001000" cy="4500562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1AC31D9-CD13-C60A-120F-F673A4EC53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4367">
              <a:defRPr/>
            </a:pPr>
            <a:r>
              <a:rPr lang="en-CH" sz="1200" b="0" i="0" u="none" strike="noStrike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10:26:00</a:t>
            </a:r>
            <a:r>
              <a:rPr lang="en-CH"/>
              <a:t>  - </a:t>
            </a:r>
            <a:r>
              <a:rPr lang="en-CH" sz="1200" b="0" i="0" u="none" strike="noStrike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10:39:00</a:t>
            </a:r>
            <a:r>
              <a:rPr lang="en-CH"/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DF9E0C-774F-0CF1-3308-1D96014BEA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2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99277A-A39E-4A8B-AD14-83E822FD8F0D}" type="slidenum"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73664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H" dirty="0"/>
              <a:t>Ordinary: Ararat-Armenia</a:t>
            </a:r>
          </a:p>
          <a:p>
            <a:r>
              <a:rPr lang="en-CH" dirty="0"/>
              <a:t>Associated: </a:t>
            </a:r>
            <a:r>
              <a:rPr lang="en-CH" sz="1200" dirty="0" err="1">
                <a:solidFill>
                  <a:schemeClr val="tx2"/>
                </a:solidFill>
              </a:rPr>
              <a:t>Alashkert</a:t>
            </a:r>
            <a:r>
              <a:rPr lang="en-CH" sz="1200" dirty="0">
                <a:solidFill>
                  <a:schemeClr val="tx2"/>
                </a:solidFill>
              </a:rPr>
              <a:t>, Urartu, FC Ararat, </a:t>
            </a:r>
            <a:r>
              <a:rPr lang="en-CH" sz="1200" dirty="0" err="1">
                <a:solidFill>
                  <a:schemeClr val="tx2"/>
                </a:solidFill>
              </a:rPr>
              <a:t>Pyunik</a:t>
            </a:r>
            <a:r>
              <a:rPr lang="en-CH" sz="1200">
                <a:solidFill>
                  <a:schemeClr val="tx2"/>
                </a:solidFill>
              </a:rPr>
              <a:t>, Noah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B61677-E501-9B44-AA96-C8BF48DA2C1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42659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09650" y="568325"/>
            <a:ext cx="7897813" cy="4441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04524">
              <a:defRPr/>
            </a:pPr>
            <a:r>
              <a:rPr lang="en-CH">
                <a:solidFill>
                  <a:srgbClr val="000000"/>
                </a:solidFill>
                <a:latin typeface="Aptos Narrow" panose="020B0004020202020204" pitchFamily="34" charset="0"/>
              </a:rPr>
              <a:t>17:05:00</a:t>
            </a:r>
            <a:r>
              <a:rPr lang="en-CH"/>
              <a:t> - </a:t>
            </a:r>
            <a:r>
              <a:rPr lang="en-CH">
                <a:solidFill>
                  <a:srgbClr val="000000"/>
                </a:solidFill>
                <a:latin typeface="Aptos Narrow" panose="020B0004020202020204" pitchFamily="34" charset="0"/>
              </a:rPr>
              <a:t>17:15:00</a:t>
            </a:r>
            <a:r>
              <a:rPr lang="en-CH"/>
              <a:t> </a:t>
            </a:r>
          </a:p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45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8070F6-78B5-CC4A-BFF5-CC8CE9C03B8B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045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12154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H"/>
              <a:t>29 ECA representatives were appointed at UEFA – 10 of them participated to the first UEFA Committees from the new cycle and key </a:t>
            </a:r>
            <a:r>
              <a:rPr lang="en-CH" err="1"/>
              <a:t>takeways</a:t>
            </a:r>
            <a:r>
              <a:rPr lang="en-CH"/>
              <a:t> were made available as part of the ECA binder.</a:t>
            </a:r>
          </a:p>
          <a:p>
            <a:endParaRPr lang="en-CH"/>
          </a:p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13737F-F23D-42ED-8AF3-6D8A62BF4E3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96627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D4C813-3D5B-F1E1-86D3-E71EED08C1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E7D5ACE-7BDA-DA8E-1BB1-60F8327AFF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3F05E1-D34E-98C1-D394-5116CD2668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9C9AA0-F760-C77F-2D02-68819612FF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A6D8FE-5F0A-E34D-B4B5-3CE58FEA60A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11073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H"/>
              <a:t>209 m (Qatar)</a:t>
            </a:r>
          </a:p>
          <a:p>
            <a:r>
              <a:rPr lang="fr-CH"/>
              <a:t>40m (Afrique Sud)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79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B61677-E501-9B44-AA96-C8BF48DA2C1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479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74175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1.pn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1.pn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21.jpeg"/><Relationship Id="rId7" Type="http://schemas.openxmlformats.org/officeDocument/2006/relationships/image" Target="../media/image63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2.png"/><Relationship Id="rId5" Type="http://schemas.openxmlformats.org/officeDocument/2006/relationships/image" Target="../media/image23.jpeg"/><Relationship Id="rId4" Type="http://schemas.openxmlformats.org/officeDocument/2006/relationships/image" Target="../media/image22.jpeg"/><Relationship Id="rId9" Type="http://schemas.openxmlformats.org/officeDocument/2006/relationships/image" Target="../media/image61.pn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0.pn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0.png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7" Type="http://schemas.openxmlformats.org/officeDocument/2006/relationships/image" Target="../media/image61.png"/><Relationship Id="rId2" Type="http://schemas.openxmlformats.org/officeDocument/2006/relationships/diagramData" Target="../diagrams/data7.xml"/><Relationship Id="rId1" Type="http://schemas.openxmlformats.org/officeDocument/2006/relationships/slideMaster" Target="../slideMasters/slideMaster1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7" Type="http://schemas.openxmlformats.org/officeDocument/2006/relationships/image" Target="../media/image61.png"/><Relationship Id="rId2" Type="http://schemas.openxmlformats.org/officeDocument/2006/relationships/diagramData" Target="../diagrams/data8.xml"/><Relationship Id="rId1" Type="http://schemas.openxmlformats.org/officeDocument/2006/relationships/slideMaster" Target="../slideMasters/slideMaster1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1.pn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1.png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4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6.png"/><Relationship Id="rId4" Type="http://schemas.openxmlformats.org/officeDocument/2006/relationships/image" Target="../media/image68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9.png"/></Relationships>
</file>

<file path=ppt/slideLayouts/_rels/slideLayout13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4.png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eg"/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eg"/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jpeg"/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eg"/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eg"/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eg"/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jpeg"/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eg"/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eg"/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jpeg"/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jpeg"/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eg"/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eg"/><Relationship Id="rId1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eg"/><Relationship Id="rId1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jpeg"/><Relationship Id="rId1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eg"/><Relationship Id="rId1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eg"/><Relationship Id="rId1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eg"/><Relationship Id="rId1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jpeg"/><Relationship Id="rId1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eg"/><Relationship Id="rId1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Master" Target="../slideMasters/slideMaster3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eg"/><Relationship Id="rId1" Type="http://schemas.openxmlformats.org/officeDocument/2006/relationships/slideMaster" Target="../slideMasters/slideMaster3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jpeg"/><Relationship Id="rId1" Type="http://schemas.openxmlformats.org/officeDocument/2006/relationships/slideMaster" Target="../slideMasters/slideMaster3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jpeg"/><Relationship Id="rId1" Type="http://schemas.openxmlformats.org/officeDocument/2006/relationships/slideMaster" Target="../slideMasters/slideMaster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9.png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jpeg"/><Relationship Id="rId7" Type="http://schemas.openxmlformats.org/officeDocument/2006/relationships/image" Target="../media/image25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png"/><Relationship Id="rId5" Type="http://schemas.openxmlformats.org/officeDocument/2006/relationships/image" Target="../media/image23.jpeg"/><Relationship Id="rId4" Type="http://schemas.openxmlformats.org/officeDocument/2006/relationships/image" Target="../media/image22.jpeg"/><Relationship Id="rId9" Type="http://schemas.openxmlformats.org/officeDocument/2006/relationships/image" Target="../media/image6.png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7.pn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7.png"/><Relationship Id="rId5" Type="http://schemas.openxmlformats.org/officeDocument/2006/relationships/image" Target="../media/image19.jpeg"/><Relationship Id="rId4" Type="http://schemas.openxmlformats.org/officeDocument/2006/relationships/image" Target="../media/image16.jpeg"/></Relationships>
</file>

<file path=ppt/slideLayouts/_rels/slideLayout2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image" Target="../media/image20.jpeg"/><Relationship Id="rId7" Type="http://schemas.openxmlformats.org/officeDocument/2006/relationships/image" Target="../media/image89.pn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91.png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7.png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4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96.png"/><Relationship Id="rId5" Type="http://schemas.openxmlformats.org/officeDocument/2006/relationships/image" Target="../media/image35.jpeg"/><Relationship Id="rId4" Type="http://schemas.openxmlformats.org/officeDocument/2006/relationships/image" Target="../media/image33.jpeg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96.png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7" Type="http://schemas.openxmlformats.org/officeDocument/2006/relationships/image" Target="../media/image67.png"/><Relationship Id="rId2" Type="http://schemas.openxmlformats.org/officeDocument/2006/relationships/diagramData" Target="../diagrams/data9.xml"/><Relationship Id="rId1" Type="http://schemas.openxmlformats.org/officeDocument/2006/relationships/slideMaster" Target="../slideMasters/slideMaster4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7" Type="http://schemas.openxmlformats.org/officeDocument/2006/relationships/image" Target="../media/image67.png"/><Relationship Id="rId2" Type="http://schemas.openxmlformats.org/officeDocument/2006/relationships/diagramData" Target="../diagrams/data10.xml"/><Relationship Id="rId1" Type="http://schemas.openxmlformats.org/officeDocument/2006/relationships/slideMaster" Target="../slideMasters/slideMaster4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0.png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98.jpeg"/><Relationship Id="rId1" Type="http://schemas.openxmlformats.org/officeDocument/2006/relationships/slideMaster" Target="../slideMasters/slideMaster4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jpeg"/><Relationship Id="rId1" Type="http://schemas.openxmlformats.org/officeDocument/2006/relationships/slideMaster" Target="../slideMasters/slideMaster4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4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4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4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4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4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2.pn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0.png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10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2.svg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4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4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10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2.svg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4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4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2.png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4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4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Master" Target="../slideMasters/slideMaster4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4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4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jpe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05.png"/><Relationship Id="rId4" Type="http://schemas.openxmlformats.org/officeDocument/2006/relationships/image" Target="../media/image55.png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jpeg"/><Relationship Id="rId1" Type="http://schemas.openxmlformats.org/officeDocument/2006/relationships/slideMaster" Target="../slideMasters/slideMaster5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08.svg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jpeg"/><Relationship Id="rId1" Type="http://schemas.openxmlformats.org/officeDocument/2006/relationships/slideMaster" Target="../slideMasters/slideMaster5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jpeg"/><Relationship Id="rId1" Type="http://schemas.openxmlformats.org/officeDocument/2006/relationships/slideMaster" Target="../slideMasters/slideMaster5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image" Target="../media/image111.jpeg"/><Relationship Id="rId1" Type="http://schemas.openxmlformats.org/officeDocument/2006/relationships/slideMaster" Target="../slideMasters/slideMaster5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jpeg"/><Relationship Id="rId1" Type="http://schemas.openxmlformats.org/officeDocument/2006/relationships/slideMaster" Target="../slideMasters/slideMaster5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jpeg"/><Relationship Id="rId1" Type="http://schemas.openxmlformats.org/officeDocument/2006/relationships/slideMaster" Target="../slideMasters/slideMaster5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jpe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jpeg"/><Relationship Id="rId1" Type="http://schemas.openxmlformats.org/officeDocument/2006/relationships/slideMaster" Target="../slideMasters/slideMaster5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2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6.png"/><Relationship Id="rId1" Type="http://schemas.openxmlformats.org/officeDocument/2006/relationships/slideMaster" Target="../slideMasters/slideMaster5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jpeg"/><Relationship Id="rId1" Type="http://schemas.openxmlformats.org/officeDocument/2006/relationships/slideMaster" Target="../slideMasters/slideMaster5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jpeg"/><Relationship Id="rId1" Type="http://schemas.openxmlformats.org/officeDocument/2006/relationships/slideMaster" Target="../slideMasters/slideMaster5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jpeg"/><Relationship Id="rId1" Type="http://schemas.openxmlformats.org/officeDocument/2006/relationships/slideMaster" Target="../slideMasters/slideMaster5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jpeg"/><Relationship Id="rId1" Type="http://schemas.openxmlformats.org/officeDocument/2006/relationships/slideMaster" Target="../slideMasters/slideMaster5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jpeg"/><Relationship Id="rId1" Type="http://schemas.openxmlformats.org/officeDocument/2006/relationships/slideMaster" Target="../slideMasters/slideMaster5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jpeg"/><Relationship Id="rId1" Type="http://schemas.openxmlformats.org/officeDocument/2006/relationships/slideMaster" Target="../slideMasters/slideMaster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jpeg"/><Relationship Id="rId1" Type="http://schemas.openxmlformats.org/officeDocument/2006/relationships/slideMaster" Target="../slideMasters/slideMaster5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jpeg"/><Relationship Id="rId1" Type="http://schemas.openxmlformats.org/officeDocument/2006/relationships/slideMaster" Target="../slideMasters/slideMaster5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6.png"/><Relationship Id="rId2" Type="http://schemas.openxmlformats.org/officeDocument/2006/relationships/diagramData" Target="../diagrams/data1.xml"/><Relationship Id="rId1" Type="http://schemas.openxmlformats.org/officeDocument/2006/relationships/slideMaster" Target="../slideMasters/slideMaster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png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6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6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6.png"/><Relationship Id="rId2" Type="http://schemas.openxmlformats.org/officeDocument/2006/relationships/diagramData" Target="../diagrams/data2.xml"/><Relationship Id="rId1" Type="http://schemas.openxmlformats.org/officeDocument/2006/relationships/slideMaster" Target="../slideMasters/slideMaster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6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7" Type="http://schemas.openxmlformats.org/officeDocument/2006/relationships/image" Target="../media/image6.png"/><Relationship Id="rId2" Type="http://schemas.openxmlformats.org/officeDocument/2006/relationships/diagramData" Target="../diagrams/data11.xml"/><Relationship Id="rId1" Type="http://schemas.openxmlformats.org/officeDocument/2006/relationships/slideMaster" Target="../slideMasters/slideMaster6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7" Type="http://schemas.openxmlformats.org/officeDocument/2006/relationships/image" Target="../media/image6.png"/><Relationship Id="rId2" Type="http://schemas.openxmlformats.org/officeDocument/2006/relationships/diagramData" Target="../diagrams/data12.xml"/><Relationship Id="rId1" Type="http://schemas.openxmlformats.org/officeDocument/2006/relationships/slideMaster" Target="../slideMasters/slideMaster6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5.png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6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5.png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5.png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6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5.png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6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6.xml"/></Relationships>
</file>

<file path=ppt/slideLayouts/_rels/slideLayout34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18.sv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6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6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6.png"/><Relationship Id="rId2" Type="http://schemas.openxmlformats.org/officeDocument/2006/relationships/diagramData" Target="../diagrams/data3.xml"/><Relationship Id="rId1" Type="http://schemas.openxmlformats.org/officeDocument/2006/relationships/slideMaster" Target="../slideMasters/slideMaster1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2.jpeg"/><Relationship Id="rId7" Type="http://schemas.openxmlformats.org/officeDocument/2006/relationships/image" Target="../media/image26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png"/><Relationship Id="rId4" Type="http://schemas.openxmlformats.org/officeDocument/2006/relationships/image" Target="../media/image30.png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6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6.png"/><Relationship Id="rId2" Type="http://schemas.openxmlformats.org/officeDocument/2006/relationships/diagramData" Target="../diagrams/data4.xml"/><Relationship Id="rId1" Type="http://schemas.openxmlformats.org/officeDocument/2006/relationships/slideMaster" Target="../slideMasters/slideMaster1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32.png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7" Type="http://schemas.openxmlformats.org/officeDocument/2006/relationships/image" Target="../media/image6.png"/><Relationship Id="rId2" Type="http://schemas.openxmlformats.org/officeDocument/2006/relationships/diagramData" Target="../diagrams/data13.xml"/><Relationship Id="rId1" Type="http://schemas.openxmlformats.org/officeDocument/2006/relationships/slideMaster" Target="../slideMasters/slideMaster6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7" Type="http://schemas.openxmlformats.org/officeDocument/2006/relationships/image" Target="../media/image6.png"/><Relationship Id="rId2" Type="http://schemas.openxmlformats.org/officeDocument/2006/relationships/diagramData" Target="../diagrams/data14.xml"/><Relationship Id="rId1" Type="http://schemas.openxmlformats.org/officeDocument/2006/relationships/slideMaster" Target="../slideMasters/slideMaster6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png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png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6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119.png"/><Relationship Id="rId1" Type="http://schemas.openxmlformats.org/officeDocument/2006/relationships/slideMaster" Target="../slideMasters/slideMaster6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6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image" Target="../media/image121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23.png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image" Target="../media/image124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23.png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5.png"/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png"/><Relationship Id="rId1" Type="http://schemas.openxmlformats.org/officeDocument/2006/relationships/slideMaster" Target="../slideMasters/slideMaster7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image" Target="../media/image127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23.png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image" Target="../media/image128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25.png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7.xml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129.jpeg"/><Relationship Id="rId1" Type="http://schemas.openxmlformats.org/officeDocument/2006/relationships/slideMaster" Target="../slideMasters/slideMaster7.xml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7.xml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.png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4.png"/><Relationship Id="rId4" Type="http://schemas.microsoft.com/office/2007/relationships/hdphoto" Target="../media/hdphoto1.wdp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8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8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7" Type="http://schemas.openxmlformats.org/officeDocument/2006/relationships/image" Target="../media/image6.png"/><Relationship Id="rId2" Type="http://schemas.openxmlformats.org/officeDocument/2006/relationships/diagramData" Target="../diagrams/data15.xml"/><Relationship Id="rId1" Type="http://schemas.openxmlformats.org/officeDocument/2006/relationships/slideMaster" Target="../slideMasters/slideMaster8.xml"/><Relationship Id="rId6" Type="http://schemas.microsoft.com/office/2007/relationships/diagramDrawing" Target="../diagrams/drawing15.xml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/><Relationship Id="rId7" Type="http://schemas.openxmlformats.org/officeDocument/2006/relationships/image" Target="../media/image6.png"/><Relationship Id="rId2" Type="http://schemas.openxmlformats.org/officeDocument/2006/relationships/diagramData" Target="../diagrams/data16.xml"/><Relationship Id="rId1" Type="http://schemas.openxmlformats.org/officeDocument/2006/relationships/slideMaster" Target="../slideMasters/slideMaster8.xml"/><Relationship Id="rId6" Type="http://schemas.microsoft.com/office/2007/relationships/diagramDrawing" Target="../diagrams/drawing16.xml"/><Relationship Id="rId5" Type="http://schemas.openxmlformats.org/officeDocument/2006/relationships/diagramColors" Target="../diagrams/colors16.xml"/><Relationship Id="rId4" Type="http://schemas.openxmlformats.org/officeDocument/2006/relationships/diagramQuickStyle" Target="../diagrams/quickStyle16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5.png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5.png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5.png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8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5.png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8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8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8.xml"/></Relationships>
</file>

<file path=ppt/slideLayouts/_rels/slideLayout43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18.sv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8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2.jpeg"/><Relationship Id="rId7" Type="http://schemas.openxmlformats.org/officeDocument/2006/relationships/image" Target="../media/image26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png"/><Relationship Id="rId4" Type="http://schemas.openxmlformats.org/officeDocument/2006/relationships/image" Target="../media/image30.png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8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8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2.png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7.xml"/><Relationship Id="rId7" Type="http://schemas.openxmlformats.org/officeDocument/2006/relationships/image" Target="../media/image6.png"/><Relationship Id="rId2" Type="http://schemas.openxmlformats.org/officeDocument/2006/relationships/diagramData" Target="../diagrams/data17.xml"/><Relationship Id="rId1" Type="http://schemas.openxmlformats.org/officeDocument/2006/relationships/slideMaster" Target="../slideMasters/slideMaster8.xml"/><Relationship Id="rId6" Type="http://schemas.microsoft.com/office/2007/relationships/diagramDrawing" Target="../diagrams/drawing17.xml"/><Relationship Id="rId5" Type="http://schemas.openxmlformats.org/officeDocument/2006/relationships/diagramColors" Target="../diagrams/colors17.xml"/><Relationship Id="rId4" Type="http://schemas.openxmlformats.org/officeDocument/2006/relationships/diagramQuickStyle" Target="../diagrams/quickStyle17.xml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8.xml"/><Relationship Id="rId7" Type="http://schemas.openxmlformats.org/officeDocument/2006/relationships/image" Target="../media/image6.png"/><Relationship Id="rId2" Type="http://schemas.openxmlformats.org/officeDocument/2006/relationships/diagramData" Target="../diagrams/data18.xml"/><Relationship Id="rId1" Type="http://schemas.openxmlformats.org/officeDocument/2006/relationships/slideMaster" Target="../slideMasters/slideMaster8.xml"/><Relationship Id="rId6" Type="http://schemas.microsoft.com/office/2007/relationships/diagramDrawing" Target="../diagrams/drawing18.xml"/><Relationship Id="rId5" Type="http://schemas.openxmlformats.org/officeDocument/2006/relationships/diagramColors" Target="../diagrams/colors18.xml"/><Relationship Id="rId4" Type="http://schemas.openxmlformats.org/officeDocument/2006/relationships/diagramQuickStyle" Target="../diagrams/quickStyle18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png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png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8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98.jpeg"/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2.jpeg"/><Relationship Id="rId7" Type="http://schemas.openxmlformats.org/officeDocument/2006/relationships/image" Target="../media/image26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30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6.png"/><Relationship Id="rId2" Type="http://schemas.openxmlformats.org/officeDocument/2006/relationships/diagramData" Target="../diagrams/data5.xml"/><Relationship Id="rId1" Type="http://schemas.openxmlformats.org/officeDocument/2006/relationships/slideMaster" Target="../slideMasters/slideMaster1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6.png"/><Relationship Id="rId2" Type="http://schemas.openxmlformats.org/officeDocument/2006/relationships/diagramData" Target="../diagrams/data6.xml"/><Relationship Id="rId1" Type="http://schemas.openxmlformats.org/officeDocument/2006/relationships/slideMaster" Target="../slideMasters/slideMaster1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9.sv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2.svg"/><Relationship Id="rId4" Type="http://schemas.openxmlformats.org/officeDocument/2006/relationships/image" Target="../media/image51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2.svg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9.svg"/><Relationship Id="rId4" Type="http://schemas.openxmlformats.org/officeDocument/2006/relationships/image" Target="../media/image48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9.svg"/><Relationship Id="rId4" Type="http://schemas.openxmlformats.org/officeDocument/2006/relationships/image" Target="../media/image48.png"/></Relationships>
</file>

<file path=ppt/slideLayouts/_rels/slideLayout7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2.sv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5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5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0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C0B482C-0237-2740-B4BE-16951D83A5D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4126" y="0"/>
            <a:ext cx="12196126" cy="6858000"/>
          </a:xfrm>
          <a:prstGeom prst="rect">
            <a:avLst/>
          </a:prstGeom>
          <a:blipFill dpi="0" rotWithShape="1">
            <a:blip r:embed="rId3">
              <a:alphaModFix amt="20000"/>
            </a:blip>
            <a:srcRect/>
            <a:stretch>
              <a:fillRect/>
            </a:stretch>
          </a:blipFill>
          <a:effectLst>
            <a:outerShdw sx="1000" sy="1000" algn="ctr" rotWithShape="0">
              <a:srgbClr val="000000"/>
            </a:outerShdw>
          </a:effectLst>
        </p:spPr>
        <p:txBody>
          <a:bodyPr>
            <a:noAutofit/>
          </a:bodyPr>
          <a:lstStyle/>
          <a:p>
            <a:endParaRPr lang="en-VN"/>
          </a:p>
        </p:txBody>
      </p:sp>
      <p:sp>
        <p:nvSpPr>
          <p:cNvPr id="12" name="Tytuł 1">
            <a:extLst>
              <a:ext uri="{FF2B5EF4-FFF2-40B4-BE49-F238E27FC236}">
                <a16:creationId xmlns:a16="http://schemas.microsoft.com/office/drawing/2014/main" id="{F4EAC152-F372-4816-A602-00DBD66C95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8048" y="1332689"/>
            <a:ext cx="10447652" cy="2177274"/>
          </a:xfrm>
        </p:spPr>
        <p:txBody>
          <a:bodyPr anchor="b">
            <a:normAutofit/>
          </a:bodyPr>
          <a:lstStyle>
            <a:lvl1pPr algn="l">
              <a:defRPr sz="5500" b="1" spc="-150">
                <a:solidFill>
                  <a:schemeClr val="bg1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the Presentation</a:t>
            </a:r>
          </a:p>
        </p:txBody>
      </p:sp>
      <p:sp>
        <p:nvSpPr>
          <p:cNvPr id="13" name="Podtytuł 2">
            <a:extLst>
              <a:ext uri="{FF2B5EF4-FFF2-40B4-BE49-F238E27FC236}">
                <a16:creationId xmlns:a16="http://schemas.microsoft.com/office/drawing/2014/main" id="{EDB4A035-E21E-4EC5-9789-42558FE880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8048" y="3602038"/>
            <a:ext cx="10107562" cy="1655762"/>
          </a:xfrm>
        </p:spPr>
        <p:txBody>
          <a:bodyPr/>
          <a:lstStyle>
            <a:lvl1pPr marL="0" indent="0" algn="l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err="1"/>
              <a:t>Subtitle</a:t>
            </a:r>
            <a:r>
              <a:rPr lang="pl-PL"/>
              <a:t> and a </a:t>
            </a:r>
            <a:r>
              <a:rPr lang="pl-PL" err="1"/>
              <a:t>short</a:t>
            </a:r>
            <a:r>
              <a:rPr lang="pl-PL"/>
              <a:t> </a:t>
            </a:r>
            <a:r>
              <a:rPr lang="pl-PL" err="1"/>
              <a:t>description</a:t>
            </a:r>
            <a:r>
              <a:rPr lang="pl-PL"/>
              <a:t> </a:t>
            </a:r>
            <a:r>
              <a:rPr lang="pl-PL" err="1"/>
              <a:t>if</a:t>
            </a:r>
            <a:r>
              <a:rPr lang="pl-PL"/>
              <a:t> </a:t>
            </a:r>
            <a:r>
              <a:rPr lang="pl-PL" err="1"/>
              <a:t>needed</a:t>
            </a:r>
            <a:endParaRPr lang="pl-PL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63D02DFB-AAE1-FA46-B2A4-ECE431BBD610}"/>
              </a:ext>
            </a:extLst>
          </p:cNvPr>
          <p:cNvSpPr txBox="1">
            <a:spLocks/>
          </p:cNvSpPr>
          <p:nvPr userDrawn="1"/>
        </p:nvSpPr>
        <p:spPr>
          <a:xfrm>
            <a:off x="4038600" y="560594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l-PL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20E0931-98D8-5D4C-9576-F225FB07B7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8047" y="5788505"/>
            <a:ext cx="5396457" cy="4875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eneva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day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6 </a:t>
            </a: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une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020</a:t>
            </a:r>
          </a:p>
        </p:txBody>
      </p:sp>
      <p:pic>
        <p:nvPicPr>
          <p:cNvPr id="4" name="Obraz 3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2953E1F1-44AD-4567-9B59-548AD9BBE1A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347" y="335280"/>
            <a:ext cx="1820897" cy="997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126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1D9E27F-F165-3E44-B3F0-AF418E227E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249" y="1280598"/>
            <a:ext cx="4952420" cy="47392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07F197B-A2B7-804E-A6FD-92D4CE51C21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66331" y="1280598"/>
            <a:ext cx="4952420" cy="47392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08EF6039-6B91-4C3A-B107-D5E3139663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97922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_half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418F9703-983A-8140-84AD-55F2F0D1F67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20907" y="1467165"/>
            <a:ext cx="4682421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D60D0D63-ADB3-3F43-8B3E-49BA3BEA921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-1"/>
            <a:ext cx="6096000" cy="685800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45EE0EF7-BB07-FF46-8BBB-4ACBB7124A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20907" y="4557650"/>
            <a:ext cx="4682421" cy="121515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EBA941A-E641-B444-9EDE-DF471733142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620907" y="3386917"/>
            <a:ext cx="4682421" cy="1015246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27" name="Tytuł 1">
            <a:extLst>
              <a:ext uri="{FF2B5EF4-FFF2-40B4-BE49-F238E27FC236}">
                <a16:creationId xmlns:a16="http://schemas.microsoft.com/office/drawing/2014/main" id="{BEB4EBF9-CC08-6F40-A449-CA3F226A9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0905" y="2401227"/>
            <a:ext cx="4682423" cy="440875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99E1AD6D-2107-4059-A5A3-2E6FC89D16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15895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mall_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AF1ECEEA-374D-9043-BB00-26A386F2DC8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5864" y="0"/>
            <a:ext cx="3962778" cy="4434114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3E29B53B-339F-4180-8021-D6DDFB296C8C}"/>
              </a:ext>
            </a:extLst>
          </p:cNvPr>
          <p:cNvSpPr/>
          <p:nvPr userDrawn="1"/>
        </p:nvSpPr>
        <p:spPr>
          <a:xfrm>
            <a:off x="-1" y="4434114"/>
            <a:ext cx="3946915" cy="24238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8" name="Tytuł 1">
            <a:extLst>
              <a:ext uri="{FF2B5EF4-FFF2-40B4-BE49-F238E27FC236}">
                <a16:creationId xmlns:a16="http://schemas.microsoft.com/office/drawing/2014/main" id="{F6BC0242-D8EE-2C4F-9F92-63D6E60774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4120" y="2408014"/>
            <a:ext cx="6839413" cy="440875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7778E96-5404-AD47-83A5-021270E9AE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74121" y="1460598"/>
            <a:ext cx="6839413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780203A-BFFA-3048-AA87-4D52350831E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74120" y="3382851"/>
            <a:ext cx="6839413" cy="263694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imperdiet</a:t>
            </a:r>
            <a:r>
              <a:rPr lang="pl-PL"/>
              <a:t> </a:t>
            </a:r>
            <a:r>
              <a:rPr lang="pl-PL" err="1"/>
              <a:t>aliquet</a:t>
            </a:r>
            <a:r>
              <a:rPr lang="pl-PL"/>
              <a:t>. In </a:t>
            </a:r>
            <a:r>
              <a:rPr lang="pl-PL" err="1"/>
              <a:t>sodales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ultricies</a:t>
            </a:r>
            <a:r>
              <a:rPr lang="pl-PL"/>
              <a:t>.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CAC3FFF-CE94-C344-9FCB-4F85D73E047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5801" y="4820501"/>
            <a:ext cx="3223583" cy="119929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628E5E2F-2132-475A-B102-3EF9E365F2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36416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mall_photo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D88B323C-7A6C-2345-A36D-1D32B8852AF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45084" y="0"/>
            <a:ext cx="3946915" cy="4434114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6" name="Prostokąt 3">
            <a:extLst>
              <a:ext uri="{FF2B5EF4-FFF2-40B4-BE49-F238E27FC236}">
                <a16:creationId xmlns:a16="http://schemas.microsoft.com/office/drawing/2014/main" id="{05B19B1F-1315-8540-80FF-321E6348E1FA}"/>
              </a:ext>
            </a:extLst>
          </p:cNvPr>
          <p:cNvSpPr/>
          <p:nvPr userDrawn="1"/>
        </p:nvSpPr>
        <p:spPr>
          <a:xfrm>
            <a:off x="8245085" y="4434114"/>
            <a:ext cx="3946915" cy="24238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pl-PL"/>
          </a:p>
        </p:txBody>
      </p:sp>
      <p:sp>
        <p:nvSpPr>
          <p:cNvPr id="18" name="Tytuł 1">
            <a:extLst>
              <a:ext uri="{FF2B5EF4-FFF2-40B4-BE49-F238E27FC236}">
                <a16:creationId xmlns:a16="http://schemas.microsoft.com/office/drawing/2014/main" id="{032000E8-4B0E-B340-97E3-182CE36946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576" y="2412279"/>
            <a:ext cx="6812196" cy="440875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24" name="Symbol zastępczy numeru slajdu 5">
            <a:extLst>
              <a:ext uri="{FF2B5EF4-FFF2-40B4-BE49-F238E27FC236}">
                <a16:creationId xmlns:a16="http://schemas.microsoft.com/office/drawing/2014/main" id="{C77FE608-EFD4-7B4E-AE82-97D11A4B8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CE74BD8B-E300-7247-9BC0-626BF672A5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576" y="1466065"/>
            <a:ext cx="6812196" cy="1008876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2E26EB-9790-974E-BBFC-F58084C7590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576" y="3290080"/>
            <a:ext cx="6812196" cy="272971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imperdiet</a:t>
            </a:r>
            <a:r>
              <a:rPr lang="pl-PL"/>
              <a:t> </a:t>
            </a:r>
            <a:r>
              <a:rPr lang="pl-PL" err="1"/>
              <a:t>aliquet</a:t>
            </a:r>
            <a:r>
              <a:rPr lang="pl-PL"/>
              <a:t>. In </a:t>
            </a:r>
            <a:r>
              <a:rPr lang="pl-PL" err="1"/>
              <a:t>sodales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ultricies</a:t>
            </a:r>
            <a:r>
              <a:rPr lang="pl-PL"/>
              <a:t>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4416197-AE21-ED44-A548-A147D4165F2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06750" y="4820501"/>
            <a:ext cx="3223583" cy="119929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A3684818-52BE-4442-95DD-E42CA92F18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070926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quo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57426A-A550-2749-8370-54EBC27BB7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105650" y="0"/>
            <a:ext cx="5086350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36E9D73-088F-8D41-85B9-FA37DA5341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576" y="3290080"/>
            <a:ext cx="5692071" cy="245971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imperdiet</a:t>
            </a:r>
            <a:r>
              <a:rPr lang="pl-PL"/>
              <a:t> </a:t>
            </a:r>
            <a:r>
              <a:rPr lang="pl-PL" err="1"/>
              <a:t>aliquet</a:t>
            </a:r>
            <a:r>
              <a:rPr lang="pl-PL"/>
              <a:t>.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2A582AC1-4FEA-934C-A10A-133F5DFA0FB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72849" y="1455708"/>
            <a:ext cx="3023471" cy="245939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i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None/>
            </a:pPr>
            <a:r>
              <a:rPr lang="it-IT" err="1"/>
              <a:t>Suspendisse</a:t>
            </a:r>
            <a:r>
              <a:rPr lang="it-IT"/>
              <a:t> </a:t>
            </a:r>
            <a:r>
              <a:rPr lang="it-IT" err="1"/>
              <a:t>nec</a:t>
            </a:r>
            <a:r>
              <a:rPr lang="it-IT"/>
              <a:t> </a:t>
            </a:r>
            <a:r>
              <a:rPr lang="it-IT" err="1"/>
              <a:t>risus</a:t>
            </a:r>
            <a:r>
              <a:rPr lang="it-IT"/>
              <a:t> et </a:t>
            </a:r>
            <a:r>
              <a:rPr lang="it-IT" err="1"/>
              <a:t>risus</a:t>
            </a:r>
            <a:r>
              <a:rPr lang="it-IT"/>
              <a:t> gravida </a:t>
            </a:r>
            <a:r>
              <a:rPr lang="it-IT" err="1"/>
              <a:t>condimentum</a:t>
            </a:r>
            <a:r>
              <a:rPr lang="it-IT"/>
              <a:t> non </a:t>
            </a:r>
            <a:r>
              <a:rPr lang="it-IT" err="1"/>
              <a:t>at</a:t>
            </a:r>
            <a:r>
              <a:rPr lang="it-IT"/>
              <a:t> </a:t>
            </a:r>
            <a:r>
              <a:rPr lang="it-IT" err="1"/>
              <a:t>nunc</a:t>
            </a:r>
            <a:r>
              <a:rPr lang="it-IT"/>
              <a:t>. Nulla in libero odio.</a:t>
            </a:r>
            <a:r>
              <a:rPr lang="pl-PL"/>
              <a:t>”</a:t>
            </a:r>
            <a:r>
              <a:rPr lang="it-IT"/>
              <a:t> </a:t>
            </a:r>
            <a:endParaRPr lang="pl-PL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2F11A20-630A-B444-AF39-9D1727C37A2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632846" y="1403017"/>
            <a:ext cx="831145" cy="2459397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5000" b="1" i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None/>
            </a:pPr>
            <a:r>
              <a:rPr lang="en-US"/>
              <a:t>“</a:t>
            </a:r>
            <a:endParaRPr lang="pl-PL"/>
          </a:p>
        </p:txBody>
      </p:sp>
      <p:sp>
        <p:nvSpPr>
          <p:cNvPr id="15" name="Tytuł 1">
            <a:extLst>
              <a:ext uri="{FF2B5EF4-FFF2-40B4-BE49-F238E27FC236}">
                <a16:creationId xmlns:a16="http://schemas.microsoft.com/office/drawing/2014/main" id="{3C0D1142-5CFF-164F-99C0-4141EDE3D7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576" y="2412279"/>
            <a:ext cx="5692071" cy="440875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729BE3BF-51A0-6E43-BD3F-0BED08EF0F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576" y="1466065"/>
            <a:ext cx="5692071" cy="1008876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AFF5C035-7AFC-445F-BC6A-C2D82E3A31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37949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ig_photo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7A597A3-760B-034F-96F1-6DDA1B383B5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51299" y="0"/>
            <a:ext cx="8140701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1314902-A424-CA4F-82B7-7D319E75ECF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3574" y="3028075"/>
            <a:ext cx="2628150" cy="2973032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8D154230-6519-5B49-9643-AEF3BFBC60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250" y="1467165"/>
            <a:ext cx="2628150" cy="1389628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Title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90D9A7AD-6FC5-436B-A9D3-108F954F41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14977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ig_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976C4BDE-3F0A-0C44-A6FF-8078CF0DC01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8140701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5" name="Symbol zastępczy numeru slajdu 5">
            <a:extLst>
              <a:ext uri="{FF2B5EF4-FFF2-40B4-BE49-F238E27FC236}">
                <a16:creationId xmlns:a16="http://schemas.microsoft.com/office/drawing/2014/main" id="{4F9AFD66-8230-EA46-9578-E8517B113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504A461-4EF5-034A-AFB8-E45B8CCB018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90272" y="3036791"/>
            <a:ext cx="2628150" cy="296431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66FD4FB-DDB4-F541-A9F6-FBD6DC3F476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90273" y="1467165"/>
            <a:ext cx="2628149" cy="1389628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Title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0EC5F6BF-32CB-4C0E-A3F3-58F653F0F1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55657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2474C331-BB04-064A-9065-43BA5093DCE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44001" y="0"/>
            <a:ext cx="3048000" cy="3429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CAD2ED91-D3C7-804A-AC4D-3822367407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00787" y="0"/>
            <a:ext cx="3048000" cy="3429000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76ACFEEA-5155-F745-AA53-E53D7A2C458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144001" y="3429000"/>
            <a:ext cx="3048000" cy="3429000"/>
          </a:xfr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B8EEC9A6-A00A-304E-9E1B-6457B4B763E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00787" y="3429000"/>
            <a:ext cx="3048000" cy="3429000"/>
          </a:xfrm>
          <a:blipFill>
            <a:blip r:embed="rId5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0" name="Tytuł 1">
            <a:extLst>
              <a:ext uri="{FF2B5EF4-FFF2-40B4-BE49-F238E27FC236}">
                <a16:creationId xmlns:a16="http://schemas.microsoft.com/office/drawing/2014/main" id="{BEA94BF6-C721-49E5-8669-A9C293F51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428" y="1470931"/>
            <a:ext cx="4684939" cy="829418"/>
          </a:xfrm>
        </p:spPr>
        <p:txBody>
          <a:bodyPr anchor="b">
            <a:normAutofit/>
          </a:bodyPr>
          <a:lstStyle>
            <a:lvl1pPr>
              <a:defRPr sz="3000" b="1" spc="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</a:t>
            </a:r>
            <a:r>
              <a:rPr lang="pl-PL" err="1"/>
              <a:t>paragraph</a:t>
            </a:r>
            <a:endParaRPr lang="pl-PL"/>
          </a:p>
        </p:txBody>
      </p:sp>
      <p:sp>
        <p:nvSpPr>
          <p:cNvPr id="18" name="Text Placeholder 60">
            <a:extLst>
              <a:ext uri="{FF2B5EF4-FFF2-40B4-BE49-F238E27FC236}">
                <a16:creationId xmlns:a16="http://schemas.microsoft.com/office/drawing/2014/main" id="{55EC8E82-A0B8-1346-B16A-C4D81298EB7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67428" y="4283359"/>
            <a:ext cx="4688572" cy="1697376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21" name="Text Placeholder 60">
            <a:extLst>
              <a:ext uri="{FF2B5EF4-FFF2-40B4-BE49-F238E27FC236}">
                <a16:creationId xmlns:a16="http://schemas.microsoft.com/office/drawing/2014/main" id="{43D40684-6F32-2E41-B8D2-F548AF210F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67428" y="2545890"/>
            <a:ext cx="4684940" cy="1547139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F524CA45-116A-4FC8-BCC8-61EEEE16469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54213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09CDA287-2F51-C44F-906F-40C0F2EAB51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3214" y="0"/>
            <a:ext cx="3048000" cy="3429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55D721E8-2AC1-BE47-B1DC-36E50A54AC1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3048000" cy="3429000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84A8273B-924D-C547-8599-F6BCE006CC6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043214" y="3429000"/>
            <a:ext cx="3048000" cy="3429000"/>
          </a:xfr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3AA8EB3C-ECAF-C04A-A642-3B64FF3A2B5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3429000"/>
            <a:ext cx="3048000" cy="3429000"/>
          </a:xfrm>
          <a:blipFill>
            <a:blip r:embed="rId5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29" name="Symbol zastępczy numeru slajdu 5">
            <a:extLst>
              <a:ext uri="{FF2B5EF4-FFF2-40B4-BE49-F238E27FC236}">
                <a16:creationId xmlns:a16="http://schemas.microsoft.com/office/drawing/2014/main" id="{B159822D-D2DA-F443-A6FF-501D1E387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32" name="Tytuł 1">
            <a:extLst>
              <a:ext uri="{FF2B5EF4-FFF2-40B4-BE49-F238E27FC236}">
                <a16:creationId xmlns:a16="http://schemas.microsoft.com/office/drawing/2014/main" id="{6766530A-D4D5-C947-85CC-5E3A5C954B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6178" y="1470931"/>
            <a:ext cx="4692204" cy="829418"/>
          </a:xfrm>
        </p:spPr>
        <p:txBody>
          <a:bodyPr anchor="b">
            <a:normAutofit/>
          </a:bodyPr>
          <a:lstStyle>
            <a:lvl1pPr>
              <a:defRPr sz="3000" b="1" spc="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</a:t>
            </a:r>
            <a:r>
              <a:rPr lang="pl-PL" err="1"/>
              <a:t>paragraph</a:t>
            </a:r>
            <a:endParaRPr lang="pl-PL"/>
          </a:p>
        </p:txBody>
      </p:sp>
      <p:sp>
        <p:nvSpPr>
          <p:cNvPr id="12" name="Text Placeholder 60">
            <a:extLst>
              <a:ext uri="{FF2B5EF4-FFF2-40B4-BE49-F238E27FC236}">
                <a16:creationId xmlns:a16="http://schemas.microsoft.com/office/drawing/2014/main" id="{BEACCA14-3DF5-8246-84FC-44E498EF399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633442" y="4283358"/>
            <a:ext cx="4684940" cy="1697375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5" name="Text Placeholder 60">
            <a:extLst>
              <a:ext uri="{FF2B5EF4-FFF2-40B4-BE49-F238E27FC236}">
                <a16:creationId xmlns:a16="http://schemas.microsoft.com/office/drawing/2014/main" id="{A85EFFF3-C3D2-A744-976F-EF9324FD8C4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629810" y="2545889"/>
            <a:ext cx="4684940" cy="1547139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9" name="Tytuł 1">
            <a:extLst>
              <a:ext uri="{FF2B5EF4-FFF2-40B4-BE49-F238E27FC236}">
                <a16:creationId xmlns:a16="http://schemas.microsoft.com/office/drawing/2014/main" id="{2165ED40-2432-654A-B40F-E50040420E25}"/>
              </a:ext>
            </a:extLst>
          </p:cNvPr>
          <p:cNvSpPr txBox="1">
            <a:spLocks/>
          </p:cNvSpPr>
          <p:nvPr userDrawn="1"/>
        </p:nvSpPr>
        <p:spPr>
          <a:xfrm>
            <a:off x="867428" y="1470931"/>
            <a:ext cx="4684939" cy="82941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 spc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/>
              <a:t>Title of paragraph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49776CBF-0E36-4DA0-BF40-3309DB47D18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34173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tripes_green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312A978-7A74-4A48-9A0E-3CF19ADCC2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577D3F5B-30C0-8347-BB91-74311F200E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-4" y="4807504"/>
            <a:ext cx="6994355" cy="100266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VN"/>
              <a:t> 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E3FB6C64-106C-CF47-AE35-AF5DFCFEF35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-4" y="3575519"/>
            <a:ext cx="6994355" cy="100266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VN"/>
              <a:t>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600E447-2B35-F143-A598-31157DA1326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0" y="2347984"/>
            <a:ext cx="6994355" cy="1002664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VN"/>
              <a:t> </a:t>
            </a:r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7" name="Tytuł 1">
            <a:extLst>
              <a:ext uri="{FF2B5EF4-FFF2-40B4-BE49-F238E27FC236}">
                <a16:creationId xmlns:a16="http://schemas.microsoft.com/office/drawing/2014/main" id="{F28C8F42-AD4C-C54F-8161-D0D6DEB164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0" y="1342966"/>
            <a:ext cx="4716942" cy="712900"/>
          </a:xfrm>
        </p:spPr>
        <p:txBody>
          <a:bodyPr anchor="b">
            <a:normAutofit/>
          </a:bodyPr>
          <a:lstStyle>
            <a:lvl1pPr>
              <a:defRPr sz="3000" b="1" spc="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</a:t>
            </a:r>
            <a:r>
              <a:rPr lang="pl-PL" err="1"/>
              <a:t>paragraph</a:t>
            </a:r>
            <a:endParaRPr lang="pl-PL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F6560EC-AA04-BE4D-A40F-A1DB489AC4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95345" y="2508417"/>
            <a:ext cx="579892" cy="567285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9" name="Picture Placeholder 5">
            <a:extLst>
              <a:ext uri="{FF2B5EF4-FFF2-40B4-BE49-F238E27FC236}">
                <a16:creationId xmlns:a16="http://schemas.microsoft.com/office/drawing/2014/main" id="{8BE5CB42-C968-8C42-AE01-15CBF9806CF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95345" y="3796949"/>
            <a:ext cx="579892" cy="567285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D6C14DA-307E-D64B-9347-9D7DB1D07AE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70819" y="3684381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7738FA18-177C-A54E-8923-24A61CCF5F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670819" y="4921446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DF4272C-ECE7-1845-AAB1-9CD4240F15A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70819" y="2456846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2C3F7D50-94BC-F74E-B66E-C737B24F24D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7100" y="5024094"/>
            <a:ext cx="756379" cy="567285"/>
          </a:xfrm>
          <a:blipFill>
            <a:blip r:embed="rId8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C317104C-3940-47E9-B463-BCBC13CD473B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52154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Stripes_green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312A978-7A74-4A48-9A0E-3CF19ADCC2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3886" y="0"/>
            <a:ext cx="6096000" cy="685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b="0"/>
            </a:lvl1pPr>
          </a:lstStyle>
          <a:p>
            <a:endParaRPr lang="en-VN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A4E6CDD7-E2B3-0D40-AA32-D9366218B37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97644" y="2347338"/>
            <a:ext cx="6994358" cy="1011710"/>
          </a:xfrm>
          <a:solidFill>
            <a:schemeClr val="bg1"/>
          </a:solidFill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1000"/>
              </a:spcBef>
              <a:buFont typeface="System Font Regular"/>
              <a:buNone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indent="0">
              <a:buNone/>
            </a:pPr>
            <a:r>
              <a:rPr lang="en-VN"/>
              <a:t>  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0EB6AF7A-5344-4049-B287-59B87E011FC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97642" y="3581260"/>
            <a:ext cx="6994359" cy="1011710"/>
          </a:xfrm>
          <a:solidFill>
            <a:schemeClr val="bg1"/>
          </a:solidFill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1000"/>
              </a:spcBef>
              <a:buFont typeface="System Font Regular"/>
              <a:buNone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VN"/>
              <a:t>  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9DF55C36-FE57-3648-B310-BD3559A715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97642" y="4802135"/>
            <a:ext cx="6994358" cy="1011710"/>
          </a:xfrm>
          <a:solidFill>
            <a:schemeClr val="bg1"/>
          </a:solidFill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1000"/>
              </a:spcBef>
              <a:buFont typeface="System Font Regular"/>
              <a:buNone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VN"/>
              <a:t>  </a:t>
            </a:r>
          </a:p>
        </p:txBody>
      </p:sp>
      <p:sp>
        <p:nvSpPr>
          <p:cNvPr id="51" name="Picture Placeholder 5">
            <a:extLst>
              <a:ext uri="{FF2B5EF4-FFF2-40B4-BE49-F238E27FC236}">
                <a16:creationId xmlns:a16="http://schemas.microsoft.com/office/drawing/2014/main" id="{1B6D52F7-F4D8-8540-A2A7-468C40471A5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463990" y="5024347"/>
            <a:ext cx="756380" cy="567285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67" name="Picture Placeholder 5">
            <a:extLst>
              <a:ext uri="{FF2B5EF4-FFF2-40B4-BE49-F238E27FC236}">
                <a16:creationId xmlns:a16="http://schemas.microsoft.com/office/drawing/2014/main" id="{2ACC7F8B-0883-F84A-8471-9CC95C57EB4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552234" y="2576338"/>
            <a:ext cx="579892" cy="567285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AEF35F9-0DC5-BE4B-96F3-67A5BE706D8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572299" y="2462244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>
                <a:solidFill>
                  <a:schemeClr val="tx2"/>
                </a:solidFill>
              </a:rPr>
              <a:t>risus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gravida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condimentum</a:t>
            </a:r>
            <a:r>
              <a:rPr lang="pl-PL">
                <a:solidFill>
                  <a:schemeClr val="tx2"/>
                </a:solidFill>
              </a:rPr>
              <a:t> non </a:t>
            </a:r>
            <a:r>
              <a:rPr lang="pl-PL" err="1">
                <a:solidFill>
                  <a:schemeClr val="tx2"/>
                </a:solidFill>
              </a:rPr>
              <a:t>at</a:t>
            </a:r>
            <a:r>
              <a:rPr lang="pl-PL">
                <a:solidFill>
                  <a:schemeClr val="tx2"/>
                </a:solidFill>
              </a:rPr>
              <a:t> nunc.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BC4AC382-608D-C146-ADFD-F4CDB1BB678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552234" y="3803471"/>
            <a:ext cx="579892" cy="567285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10261F7-52F2-A140-8A58-8E840D865C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72299" y="3694643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>
                <a:solidFill>
                  <a:schemeClr val="tx2"/>
                </a:solidFill>
              </a:rPr>
              <a:t>risus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gravida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condimentum</a:t>
            </a:r>
            <a:r>
              <a:rPr lang="pl-PL">
                <a:solidFill>
                  <a:schemeClr val="tx2"/>
                </a:solidFill>
              </a:rPr>
              <a:t> non </a:t>
            </a:r>
            <a:r>
              <a:rPr lang="pl-PL" err="1">
                <a:solidFill>
                  <a:schemeClr val="tx2"/>
                </a:solidFill>
              </a:rPr>
              <a:t>at</a:t>
            </a:r>
            <a:r>
              <a:rPr lang="pl-PL">
                <a:solidFill>
                  <a:schemeClr val="tx2"/>
                </a:solidFill>
              </a:rPr>
              <a:t> nunc.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14F417C-24E8-3246-8919-7383A6EBCCD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72299" y="4914132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>
                <a:solidFill>
                  <a:schemeClr val="tx2"/>
                </a:solidFill>
              </a:rPr>
              <a:t>risus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gravida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condimentum</a:t>
            </a:r>
            <a:r>
              <a:rPr lang="pl-PL">
                <a:solidFill>
                  <a:schemeClr val="tx2"/>
                </a:solidFill>
              </a:rPr>
              <a:t> non </a:t>
            </a:r>
            <a:r>
              <a:rPr lang="pl-PL" err="1">
                <a:solidFill>
                  <a:schemeClr val="tx2"/>
                </a:solidFill>
              </a:rPr>
              <a:t>at</a:t>
            </a:r>
            <a:r>
              <a:rPr lang="pl-PL">
                <a:solidFill>
                  <a:schemeClr val="tx2"/>
                </a:solidFill>
              </a:rPr>
              <a:t> nunc.</a:t>
            </a:r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31374420-E582-4C80-AE43-4E5EB4C06DF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5491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m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ytuł 1">
            <a:extLst>
              <a:ext uri="{FF2B5EF4-FFF2-40B4-BE49-F238E27FC236}">
                <a16:creationId xmlns:a16="http://schemas.microsoft.com/office/drawing/2014/main" id="{C7C5C807-78F5-3041-998A-E4F74E4A8D44}"/>
              </a:ext>
            </a:extLst>
          </p:cNvPr>
          <p:cNvSpPr txBox="1">
            <a:spLocks/>
          </p:cNvSpPr>
          <p:nvPr userDrawn="1"/>
        </p:nvSpPr>
        <p:spPr>
          <a:xfrm>
            <a:off x="846359" y="1474091"/>
            <a:ext cx="8806338" cy="43780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F51A461-E266-DE44-9255-5BB69680163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73060" y="0"/>
            <a:ext cx="2171700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0" name="Tytuł 1">
            <a:extLst>
              <a:ext uri="{FF2B5EF4-FFF2-40B4-BE49-F238E27FC236}">
                <a16:creationId xmlns:a16="http://schemas.microsoft.com/office/drawing/2014/main" id="{2643A83C-AAA4-4441-87C4-1A950A2C9E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7" y="1474091"/>
            <a:ext cx="2886699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D1E7FBC-F14A-2948-AEA4-48D7FA9FD82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46361" y="528300"/>
            <a:ext cx="2886699" cy="10143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lim</a:t>
            </a:r>
            <a:endParaRPr lang="pl-PL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1517ED6-FE85-7A49-89E7-07C46460F18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84760" y="1280598"/>
            <a:ext cx="4333662" cy="4739200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imperdiet</a:t>
            </a:r>
            <a:r>
              <a:rPr lang="pl-PL"/>
              <a:t> </a:t>
            </a:r>
            <a:r>
              <a:rPr lang="pl-PL" err="1"/>
              <a:t>aliquet</a:t>
            </a:r>
            <a:r>
              <a:rPr lang="pl-PL"/>
              <a:t>. In </a:t>
            </a:r>
            <a:r>
              <a:rPr lang="pl-PL" err="1"/>
              <a:t>sodales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ultricies</a:t>
            </a:r>
            <a:r>
              <a:rPr lang="pl-PL"/>
              <a:t>.</a:t>
            </a:r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C0BBD46A-EAEB-4280-9F6D-049BBD8A95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33440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meline_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ymbol zastępczy numeru slajdu 5">
            <a:extLst>
              <a:ext uri="{FF2B5EF4-FFF2-40B4-BE49-F238E27FC236}">
                <a16:creationId xmlns:a16="http://schemas.microsoft.com/office/drawing/2014/main" id="{D526C90E-13B5-4D95-8BE9-03ED11780FC9}"/>
              </a:ext>
            </a:extLst>
          </p:cNvPr>
          <p:cNvSpPr>
            <a:spLocks noGrp="1"/>
          </p:cNvSpPr>
          <p:nvPr userDrawn="1">
            <p:ph type="sldNum" sz="quarter" idx="19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31" name="Text Placeholder 78">
            <a:extLst>
              <a:ext uri="{FF2B5EF4-FFF2-40B4-BE49-F238E27FC236}">
                <a16:creationId xmlns:a16="http://schemas.microsoft.com/office/drawing/2014/main" id="{53991EA8-1DE2-B04F-947B-B0DC9489981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222719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16</a:t>
            </a:r>
          </a:p>
        </p:txBody>
      </p:sp>
      <p:sp>
        <p:nvSpPr>
          <p:cNvPr id="39" name="Text Placeholder 78">
            <a:extLst>
              <a:ext uri="{FF2B5EF4-FFF2-40B4-BE49-F238E27FC236}">
                <a16:creationId xmlns:a16="http://schemas.microsoft.com/office/drawing/2014/main" id="{153D7BBB-71C9-CA45-88F7-0AE8F2F3713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028837" y="4733750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40" name="Text Placeholder 78">
            <a:extLst>
              <a:ext uri="{FF2B5EF4-FFF2-40B4-BE49-F238E27FC236}">
                <a16:creationId xmlns:a16="http://schemas.microsoft.com/office/drawing/2014/main" id="{4EB89907-6B4C-9542-8101-8B2FB45E100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028609" y="3678479"/>
            <a:ext cx="1817884" cy="967838"/>
          </a:xfrm>
        </p:spPr>
        <p:txBody>
          <a:bodyPr anchor="b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41" name="Text Placeholder 78">
            <a:extLst>
              <a:ext uri="{FF2B5EF4-FFF2-40B4-BE49-F238E27FC236}">
                <a16:creationId xmlns:a16="http://schemas.microsoft.com/office/drawing/2014/main" id="{26B9FE68-8C91-2645-B8C3-1AAA6AEFCE4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187286" y="4733750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42" name="Text Placeholder 78">
            <a:extLst>
              <a:ext uri="{FF2B5EF4-FFF2-40B4-BE49-F238E27FC236}">
                <a16:creationId xmlns:a16="http://schemas.microsoft.com/office/drawing/2014/main" id="{18E955D3-BF1F-F448-BC17-A37BB123719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187058" y="3678479"/>
            <a:ext cx="1817884" cy="967838"/>
          </a:xfrm>
        </p:spPr>
        <p:txBody>
          <a:bodyPr anchor="b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3B2A8A9C-6F4F-0045-A89D-D0743E068F6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345508" y="4733750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44" name="Text Placeholder 78">
            <a:extLst>
              <a:ext uri="{FF2B5EF4-FFF2-40B4-BE49-F238E27FC236}">
                <a16:creationId xmlns:a16="http://schemas.microsoft.com/office/drawing/2014/main" id="{EEE1401C-8217-E04A-9A37-26BE6028B96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345280" y="3678479"/>
            <a:ext cx="1817884" cy="967838"/>
          </a:xfrm>
        </p:spPr>
        <p:txBody>
          <a:bodyPr anchor="b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51" name="Text Placeholder 78">
            <a:extLst>
              <a:ext uri="{FF2B5EF4-FFF2-40B4-BE49-F238E27FC236}">
                <a16:creationId xmlns:a16="http://schemas.microsoft.com/office/drawing/2014/main" id="{A105B319-A7C3-C641-A304-CB2D4A1E928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503730" y="4733750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52" name="Text Placeholder 78">
            <a:extLst>
              <a:ext uri="{FF2B5EF4-FFF2-40B4-BE49-F238E27FC236}">
                <a16:creationId xmlns:a16="http://schemas.microsoft.com/office/drawing/2014/main" id="{801F9EA7-5570-F543-BF0B-FB16CA448C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503502" y="3678479"/>
            <a:ext cx="1817884" cy="967838"/>
          </a:xfrm>
        </p:spPr>
        <p:txBody>
          <a:bodyPr anchor="b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74" name="Text Placeholder 78">
            <a:extLst>
              <a:ext uri="{FF2B5EF4-FFF2-40B4-BE49-F238E27FC236}">
                <a16:creationId xmlns:a16="http://schemas.microsoft.com/office/drawing/2014/main" id="{21E92614-1F2A-AD47-AA40-C80F1B33118D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70388" y="4731603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.</a:t>
            </a:r>
            <a:endParaRPr lang="en-VN"/>
          </a:p>
        </p:txBody>
      </p:sp>
      <p:sp>
        <p:nvSpPr>
          <p:cNvPr id="75" name="Text Placeholder 78">
            <a:extLst>
              <a:ext uri="{FF2B5EF4-FFF2-40B4-BE49-F238E27FC236}">
                <a16:creationId xmlns:a16="http://schemas.microsoft.com/office/drawing/2014/main" id="{F85A0D46-AE83-704C-8143-860288B971D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70160" y="3676332"/>
            <a:ext cx="1817884" cy="967838"/>
          </a:xfrm>
        </p:spPr>
        <p:txBody>
          <a:bodyPr anchor="b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33" name="Text Placeholder 78">
            <a:extLst>
              <a:ext uri="{FF2B5EF4-FFF2-40B4-BE49-F238E27FC236}">
                <a16:creationId xmlns:a16="http://schemas.microsoft.com/office/drawing/2014/main" id="{74CCB615-9E6A-FC48-9CA9-1D2C5AF7A891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3376844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17</a:t>
            </a:r>
          </a:p>
        </p:txBody>
      </p:sp>
      <p:sp>
        <p:nvSpPr>
          <p:cNvPr id="34" name="Text Placeholder 78">
            <a:extLst>
              <a:ext uri="{FF2B5EF4-FFF2-40B4-BE49-F238E27FC236}">
                <a16:creationId xmlns:a16="http://schemas.microsoft.com/office/drawing/2014/main" id="{31235041-E1E2-6844-B06D-4B8C8B2C9F15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5533230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18</a:t>
            </a:r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C6394014-B288-094A-AF03-5BDB43D8E39D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7689616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19</a:t>
            </a:r>
          </a:p>
        </p:txBody>
      </p:sp>
      <p:sp>
        <p:nvSpPr>
          <p:cNvPr id="46" name="Text Placeholder 78">
            <a:extLst>
              <a:ext uri="{FF2B5EF4-FFF2-40B4-BE49-F238E27FC236}">
                <a16:creationId xmlns:a16="http://schemas.microsoft.com/office/drawing/2014/main" id="{FE6C76C7-00D0-D543-A9D5-697ACE8E498E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9846002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26" name="Tytuł 1">
            <a:extLst>
              <a:ext uri="{FF2B5EF4-FFF2-40B4-BE49-F238E27FC236}">
                <a16:creationId xmlns:a16="http://schemas.microsoft.com/office/drawing/2014/main" id="{A8B49C75-881C-054D-96A0-4E70170D1F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5D994EA-5467-B240-9B14-C688E2DBCDF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Timeline</a:t>
            </a:r>
            <a:endParaRPr lang="pl-PL"/>
          </a:p>
        </p:txBody>
      </p:sp>
      <p:pic>
        <p:nvPicPr>
          <p:cNvPr id="2" name="Obraz 1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7D614EB5-9AC5-4AA1-81FE-60CDD1930D4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870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meline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FF636FEF-9B78-E44A-9A6C-EEBB57DEBB0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092735" y="2533179"/>
            <a:ext cx="3225573" cy="362877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algn="r">
              <a:defRPr/>
            </a:lvl1pPr>
          </a:lstStyle>
          <a:p>
            <a:endParaRPr lang="en-VN"/>
          </a:p>
        </p:txBody>
      </p:sp>
      <p:sp>
        <p:nvSpPr>
          <p:cNvPr id="62" name="Picture Placeholder 11">
            <a:extLst>
              <a:ext uri="{FF2B5EF4-FFF2-40B4-BE49-F238E27FC236}">
                <a16:creationId xmlns:a16="http://schemas.microsoft.com/office/drawing/2014/main" id="{23D6CF3F-FE3E-064D-A657-4FAA9F757E51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092507" y="4128562"/>
            <a:ext cx="3226028" cy="2033162"/>
          </a:xfrm>
          <a:gradFill flip="none" rotWithShape="1">
            <a:gsLst>
              <a:gs pos="0">
                <a:srgbClr val="000000">
                  <a:alpha val="0"/>
                </a:srgbClr>
              </a:gs>
              <a:gs pos="46000">
                <a:srgbClr val="056E3E">
                  <a:alpha val="40000"/>
                </a:srgbClr>
              </a:gs>
              <a:gs pos="80000">
                <a:srgbClr val="056E3E">
                  <a:alpha val="80000"/>
                </a:srgbClr>
              </a:gs>
              <a:gs pos="97000">
                <a:srgbClr val="056E3E"/>
              </a:gs>
            </a:gsLst>
            <a:lin ang="5400000" scaled="1"/>
            <a:tileRect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77D4DF0A-3B17-CD4A-AFC5-CD25F565E4FC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73465" y="2533179"/>
            <a:ext cx="3225573" cy="362877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algn="r">
              <a:defRPr/>
            </a:lvl1pPr>
          </a:lstStyle>
          <a:p>
            <a:endParaRPr lang="en-VN"/>
          </a:p>
        </p:txBody>
      </p:sp>
      <p:sp>
        <p:nvSpPr>
          <p:cNvPr id="54" name="Picture Placeholder 11">
            <a:extLst>
              <a:ext uri="{FF2B5EF4-FFF2-40B4-BE49-F238E27FC236}">
                <a16:creationId xmlns:a16="http://schemas.microsoft.com/office/drawing/2014/main" id="{3658F892-3B86-014C-AC98-9FBDC77E6A4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73464" y="4128562"/>
            <a:ext cx="3225573" cy="2033162"/>
          </a:xfrm>
          <a:gradFill flip="none" rotWithShape="1">
            <a:gsLst>
              <a:gs pos="0">
                <a:srgbClr val="000000">
                  <a:alpha val="0"/>
                </a:srgbClr>
              </a:gs>
              <a:gs pos="46000">
                <a:srgbClr val="056E3E">
                  <a:alpha val="40000"/>
                </a:srgbClr>
              </a:gs>
              <a:gs pos="80000">
                <a:srgbClr val="056E3E">
                  <a:alpha val="80000"/>
                </a:srgbClr>
              </a:gs>
              <a:gs pos="97000">
                <a:srgbClr val="056E3E"/>
              </a:gs>
            </a:gsLst>
            <a:lin ang="5400000" scaled="1"/>
            <a:tileRect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49" name="Picture Placeholder 4">
            <a:extLst>
              <a:ext uri="{FF2B5EF4-FFF2-40B4-BE49-F238E27FC236}">
                <a16:creationId xmlns:a16="http://schemas.microsoft.com/office/drawing/2014/main" id="{5835D3BB-545F-9D43-BD37-01B58E3F0681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483213" y="2533179"/>
            <a:ext cx="3225573" cy="362877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algn="r">
              <a:defRPr/>
            </a:lvl1pPr>
          </a:lstStyle>
          <a:p>
            <a:endParaRPr lang="en-VN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175E377-6F5E-9340-BB06-7AF6E8DF96E4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482986" y="4128562"/>
            <a:ext cx="3225573" cy="2033387"/>
          </a:xfrm>
          <a:gradFill flip="none" rotWithShape="1">
            <a:gsLst>
              <a:gs pos="0">
                <a:srgbClr val="000000">
                  <a:alpha val="0"/>
                </a:srgbClr>
              </a:gs>
              <a:gs pos="46000">
                <a:srgbClr val="056E3E">
                  <a:alpha val="40000"/>
                </a:srgbClr>
              </a:gs>
              <a:gs pos="80000">
                <a:srgbClr val="056E3E">
                  <a:alpha val="80000"/>
                </a:srgbClr>
              </a:gs>
              <a:gs pos="97000">
                <a:srgbClr val="056E3E"/>
              </a:gs>
            </a:gsLst>
            <a:lin ang="5400000" scaled="1"/>
            <a:tileRect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36" name="Symbol zastępczy numeru slajdu 5">
            <a:extLst>
              <a:ext uri="{FF2B5EF4-FFF2-40B4-BE49-F238E27FC236}">
                <a16:creationId xmlns:a16="http://schemas.microsoft.com/office/drawing/2014/main" id="{D526C90E-13B5-4D95-8BE9-03ED11780FC9}"/>
              </a:ext>
            </a:extLst>
          </p:cNvPr>
          <p:cNvSpPr>
            <a:spLocks noGrp="1"/>
          </p:cNvSpPr>
          <p:nvPr userDrawn="1">
            <p:ph type="sldNum" sz="quarter" idx="19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80" name="Text Placeholder 78">
            <a:extLst>
              <a:ext uri="{FF2B5EF4-FFF2-40B4-BE49-F238E27FC236}">
                <a16:creationId xmlns:a16="http://schemas.microsoft.com/office/drawing/2014/main" id="{6288EA3E-4CDA-E94A-AFD8-12B9E08949B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22455" y="5005685"/>
            <a:ext cx="2547646" cy="1016326"/>
          </a:xfrm>
        </p:spPr>
        <p:txBody>
          <a:bodyPr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2" name="Text Placeholder 78">
            <a:extLst>
              <a:ext uri="{FF2B5EF4-FFF2-40B4-BE49-F238E27FC236}">
                <a16:creationId xmlns:a16="http://schemas.microsoft.com/office/drawing/2014/main" id="{FD8D786A-E851-6844-AE06-40D72BC31AE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22227" y="4276150"/>
            <a:ext cx="2547646" cy="671666"/>
          </a:xfrm>
        </p:spPr>
        <p:txBody>
          <a:bodyPr anchor="b"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24" name="Text Placeholder 78">
            <a:extLst>
              <a:ext uri="{FF2B5EF4-FFF2-40B4-BE49-F238E27FC236}">
                <a16:creationId xmlns:a16="http://schemas.microsoft.com/office/drawing/2014/main" id="{58246A4B-8C63-0F45-BC7B-80F79F76291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632204" y="5005685"/>
            <a:ext cx="2547646" cy="1016326"/>
          </a:xfrm>
        </p:spPr>
        <p:txBody>
          <a:bodyPr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7" name="Text Placeholder 78">
            <a:extLst>
              <a:ext uri="{FF2B5EF4-FFF2-40B4-BE49-F238E27FC236}">
                <a16:creationId xmlns:a16="http://schemas.microsoft.com/office/drawing/2014/main" id="{F052F1B8-FD88-8845-BDE3-3FEBBD92713B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631976" y="4276150"/>
            <a:ext cx="2547646" cy="671666"/>
          </a:xfrm>
        </p:spPr>
        <p:txBody>
          <a:bodyPr anchor="b"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28" name="Text Placeholder 78">
            <a:extLst>
              <a:ext uri="{FF2B5EF4-FFF2-40B4-BE49-F238E27FC236}">
                <a16:creationId xmlns:a16="http://schemas.microsoft.com/office/drawing/2014/main" id="{E58311E6-82D8-2342-B0FE-F8FC5543917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241953" y="5005685"/>
            <a:ext cx="2547646" cy="1016326"/>
          </a:xfrm>
        </p:spPr>
        <p:txBody>
          <a:bodyPr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2" name="Text Placeholder 78">
            <a:extLst>
              <a:ext uri="{FF2B5EF4-FFF2-40B4-BE49-F238E27FC236}">
                <a16:creationId xmlns:a16="http://schemas.microsoft.com/office/drawing/2014/main" id="{86B75E0E-378E-C547-8E4A-0E77E24EC88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241725" y="4276150"/>
            <a:ext cx="2547646" cy="671666"/>
          </a:xfrm>
        </p:spPr>
        <p:txBody>
          <a:bodyPr anchor="b"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21" name="Tytuł 1">
            <a:extLst>
              <a:ext uri="{FF2B5EF4-FFF2-40B4-BE49-F238E27FC236}">
                <a16:creationId xmlns:a16="http://schemas.microsoft.com/office/drawing/2014/main" id="{E483A55E-99F0-564C-B886-7FA64CCB85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6AFB9C2-FA15-C745-BF2C-DB3BC77DC2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Timeline</a:t>
            </a:r>
            <a:endParaRPr lang="pl-PL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3D376FE8-EB6A-44C0-BD1A-AFABAF24FB97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1022227" y="2992835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44" name="Text Placeholder 78">
            <a:extLst>
              <a:ext uri="{FF2B5EF4-FFF2-40B4-BE49-F238E27FC236}">
                <a16:creationId xmlns:a16="http://schemas.microsoft.com/office/drawing/2014/main" id="{41EA5F8B-06BA-4C51-B4D4-E3F77861A05C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4631976" y="2992835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45" name="Text Placeholder 78">
            <a:extLst>
              <a:ext uri="{FF2B5EF4-FFF2-40B4-BE49-F238E27FC236}">
                <a16:creationId xmlns:a16="http://schemas.microsoft.com/office/drawing/2014/main" id="{30BCE74D-FFB5-4C0B-9C49-FF69BA995287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241725" y="2992835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pic>
        <p:nvPicPr>
          <p:cNvPr id="4" name="Obraz 3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8DC80185-3761-4FDC-8206-2A1270E7896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40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meline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77D4DF0A-3B17-CD4A-AFC5-CD25F565E4FC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73465" y="2533179"/>
            <a:ext cx="1955169" cy="362877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algn="r">
              <a:defRPr/>
            </a:lvl1pPr>
          </a:lstStyle>
          <a:p>
            <a:endParaRPr lang="en-VN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FF636FEF-9B78-E44A-9A6C-EEBB57DEBB0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092735" y="2533179"/>
            <a:ext cx="1955169" cy="362877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algn="r">
              <a:defRPr/>
            </a:lvl1pPr>
          </a:lstStyle>
          <a:p>
            <a:endParaRPr lang="en-VN"/>
          </a:p>
        </p:txBody>
      </p:sp>
      <p:sp>
        <p:nvSpPr>
          <p:cNvPr id="49" name="Picture Placeholder 4">
            <a:extLst>
              <a:ext uri="{FF2B5EF4-FFF2-40B4-BE49-F238E27FC236}">
                <a16:creationId xmlns:a16="http://schemas.microsoft.com/office/drawing/2014/main" id="{5835D3BB-545F-9D43-BD37-01B58E3F0681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483213" y="2533179"/>
            <a:ext cx="1955169" cy="362877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algn="r">
              <a:defRPr/>
            </a:lvl1pPr>
          </a:lstStyle>
          <a:p>
            <a:endParaRPr lang="en-VN"/>
          </a:p>
        </p:txBody>
      </p:sp>
      <p:sp>
        <p:nvSpPr>
          <p:cNvPr id="54" name="Picture Placeholder 11">
            <a:extLst>
              <a:ext uri="{FF2B5EF4-FFF2-40B4-BE49-F238E27FC236}">
                <a16:creationId xmlns:a16="http://schemas.microsoft.com/office/drawing/2014/main" id="{3658F892-3B86-014C-AC98-9FBDC77E6A4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73465" y="3886206"/>
            <a:ext cx="1955170" cy="2275518"/>
          </a:xfrm>
          <a:gradFill flip="none" rotWithShape="1">
            <a:gsLst>
              <a:gs pos="0">
                <a:srgbClr val="000000">
                  <a:alpha val="0"/>
                </a:srgbClr>
              </a:gs>
              <a:gs pos="46000">
                <a:srgbClr val="056E3E">
                  <a:alpha val="40000"/>
                </a:srgbClr>
              </a:gs>
              <a:gs pos="80000">
                <a:srgbClr val="056E3E">
                  <a:alpha val="80000"/>
                </a:srgbClr>
              </a:gs>
              <a:gs pos="97000">
                <a:srgbClr val="056E3E"/>
              </a:gs>
            </a:gsLst>
            <a:lin ang="5400000" scaled="1"/>
            <a:tileRect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36" name="Symbol zastępczy numeru slajdu 5">
            <a:extLst>
              <a:ext uri="{FF2B5EF4-FFF2-40B4-BE49-F238E27FC236}">
                <a16:creationId xmlns:a16="http://schemas.microsoft.com/office/drawing/2014/main" id="{D526C90E-13B5-4D95-8BE9-03ED11780FC9}"/>
              </a:ext>
            </a:extLst>
          </p:cNvPr>
          <p:cNvSpPr>
            <a:spLocks noGrp="1"/>
          </p:cNvSpPr>
          <p:nvPr userDrawn="1">
            <p:ph type="sldNum" sz="quarter" idx="19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80" name="Text Placeholder 78">
            <a:extLst>
              <a:ext uri="{FF2B5EF4-FFF2-40B4-BE49-F238E27FC236}">
                <a16:creationId xmlns:a16="http://schemas.microsoft.com/office/drawing/2014/main" id="{6288EA3E-4CDA-E94A-AFD8-12B9E08949B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437391" y="5005685"/>
            <a:ext cx="2132710" cy="1016326"/>
          </a:xfrm>
        </p:spPr>
        <p:txBody>
          <a:bodyPr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2" name="Text Placeholder 78">
            <a:extLst>
              <a:ext uri="{FF2B5EF4-FFF2-40B4-BE49-F238E27FC236}">
                <a16:creationId xmlns:a16="http://schemas.microsoft.com/office/drawing/2014/main" id="{FD8D786A-E851-6844-AE06-40D72BC31AE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37163" y="4276150"/>
            <a:ext cx="2132710" cy="671666"/>
          </a:xfrm>
        </p:spPr>
        <p:txBody>
          <a:bodyPr anchor="b"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35" name="Text Placeholder 78">
            <a:extLst>
              <a:ext uri="{FF2B5EF4-FFF2-40B4-BE49-F238E27FC236}">
                <a16:creationId xmlns:a16="http://schemas.microsoft.com/office/drawing/2014/main" id="{4F9F41A7-C8DB-DB40-8F1D-DF4E34A18A6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1022227" y="2992835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37" name="Text Placeholder 78">
            <a:extLst>
              <a:ext uri="{FF2B5EF4-FFF2-40B4-BE49-F238E27FC236}">
                <a16:creationId xmlns:a16="http://schemas.microsoft.com/office/drawing/2014/main" id="{93C96D09-B104-8246-AB35-F2C637F9CC91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4631976" y="2992835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F76529C6-5B56-A046-A5BC-FBD15D44EB08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241725" y="2992835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25" name="Picture Placeholder 11">
            <a:extLst>
              <a:ext uri="{FF2B5EF4-FFF2-40B4-BE49-F238E27FC236}">
                <a16:creationId xmlns:a16="http://schemas.microsoft.com/office/drawing/2014/main" id="{04ABCCAF-4380-844C-8C74-EEE8ABBBEDD1}"/>
              </a:ext>
            </a:extLst>
          </p:cNvPr>
          <p:cNvSpPr>
            <a:spLocks noGrp="1"/>
          </p:cNvSpPr>
          <p:nvPr>
            <p:ph type="pic" sz="quarter" idx="79" hasCustomPrompt="1"/>
          </p:nvPr>
        </p:nvSpPr>
        <p:spPr>
          <a:xfrm>
            <a:off x="4482987" y="3886206"/>
            <a:ext cx="1955169" cy="2275518"/>
          </a:xfrm>
          <a:gradFill flip="none" rotWithShape="1">
            <a:gsLst>
              <a:gs pos="0">
                <a:srgbClr val="000000">
                  <a:alpha val="0"/>
                </a:srgbClr>
              </a:gs>
              <a:gs pos="46000">
                <a:srgbClr val="056E3E">
                  <a:alpha val="40000"/>
                </a:srgbClr>
              </a:gs>
              <a:gs pos="80000">
                <a:srgbClr val="056E3E">
                  <a:alpha val="80000"/>
                </a:srgbClr>
              </a:gs>
              <a:gs pos="97000">
                <a:srgbClr val="056E3E"/>
              </a:gs>
            </a:gsLst>
            <a:lin ang="5400000" scaled="1"/>
            <a:tileRect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53E26D6-AC11-6F42-A2AA-2A7B4D8DD84D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5046912" y="5005685"/>
            <a:ext cx="2132710" cy="1016326"/>
          </a:xfrm>
        </p:spPr>
        <p:txBody>
          <a:bodyPr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0" name="Text Placeholder 78">
            <a:extLst>
              <a:ext uri="{FF2B5EF4-FFF2-40B4-BE49-F238E27FC236}">
                <a16:creationId xmlns:a16="http://schemas.microsoft.com/office/drawing/2014/main" id="{415F11DF-0FF1-DE4B-8F88-129F882DA378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5046684" y="4276150"/>
            <a:ext cx="2132710" cy="671666"/>
          </a:xfrm>
        </p:spPr>
        <p:txBody>
          <a:bodyPr anchor="b"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31" name="Picture Placeholder 11">
            <a:extLst>
              <a:ext uri="{FF2B5EF4-FFF2-40B4-BE49-F238E27FC236}">
                <a16:creationId xmlns:a16="http://schemas.microsoft.com/office/drawing/2014/main" id="{C4C0F5D3-8EB7-DA4C-A552-3268EE883FCD}"/>
              </a:ext>
            </a:extLst>
          </p:cNvPr>
          <p:cNvSpPr>
            <a:spLocks noGrp="1"/>
          </p:cNvSpPr>
          <p:nvPr>
            <p:ph type="pic" sz="quarter" idx="82" hasCustomPrompt="1"/>
          </p:nvPr>
        </p:nvSpPr>
        <p:spPr>
          <a:xfrm>
            <a:off x="8092963" y="3886206"/>
            <a:ext cx="1954941" cy="2275518"/>
          </a:xfrm>
          <a:gradFill flip="none" rotWithShape="1">
            <a:gsLst>
              <a:gs pos="0">
                <a:srgbClr val="000000">
                  <a:alpha val="0"/>
                </a:srgbClr>
              </a:gs>
              <a:gs pos="46000">
                <a:srgbClr val="056E3E">
                  <a:alpha val="40000"/>
                </a:srgbClr>
              </a:gs>
              <a:gs pos="80000">
                <a:srgbClr val="056E3E">
                  <a:alpha val="80000"/>
                </a:srgbClr>
              </a:gs>
              <a:gs pos="97000">
                <a:srgbClr val="056E3E"/>
              </a:gs>
            </a:gsLst>
            <a:lin ang="5400000" scaled="1"/>
            <a:tileRect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39" name="Text Placeholder 78">
            <a:extLst>
              <a:ext uri="{FF2B5EF4-FFF2-40B4-BE49-F238E27FC236}">
                <a16:creationId xmlns:a16="http://schemas.microsoft.com/office/drawing/2014/main" id="{63C380DC-73A1-EB44-8D5C-10B04279CD82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8804933" y="5005798"/>
            <a:ext cx="2132710" cy="1016326"/>
          </a:xfrm>
        </p:spPr>
        <p:txBody>
          <a:bodyPr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40" name="Text Placeholder 78">
            <a:extLst>
              <a:ext uri="{FF2B5EF4-FFF2-40B4-BE49-F238E27FC236}">
                <a16:creationId xmlns:a16="http://schemas.microsoft.com/office/drawing/2014/main" id="{7B4AD03E-7FBC-F144-8C91-CF545BF60E66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8804705" y="4276263"/>
            <a:ext cx="2132710" cy="671666"/>
          </a:xfrm>
        </p:spPr>
        <p:txBody>
          <a:bodyPr anchor="b"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43" name="Tytuł 1">
            <a:extLst>
              <a:ext uri="{FF2B5EF4-FFF2-40B4-BE49-F238E27FC236}">
                <a16:creationId xmlns:a16="http://schemas.microsoft.com/office/drawing/2014/main" id="{5C6CC5B8-EE4D-9D48-B8BD-5C6B56DBFF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E06CFBF1-04D5-0C45-8595-BB96252F3C1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Timeline</a:t>
            </a:r>
            <a:endParaRPr lang="pl-PL"/>
          </a:p>
        </p:txBody>
      </p:sp>
      <p:pic>
        <p:nvPicPr>
          <p:cNvPr id="3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8A333359-947F-4FCD-8334-060F02F9892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332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meline_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ymbol zastępczy numeru slajdu 5">
            <a:extLst>
              <a:ext uri="{FF2B5EF4-FFF2-40B4-BE49-F238E27FC236}">
                <a16:creationId xmlns:a16="http://schemas.microsoft.com/office/drawing/2014/main" id="{D526C90E-13B5-4D95-8BE9-03ED11780FC9}"/>
              </a:ext>
            </a:extLst>
          </p:cNvPr>
          <p:cNvSpPr>
            <a:spLocks noGrp="1"/>
          </p:cNvSpPr>
          <p:nvPr userDrawn="1">
            <p:ph type="sldNum" sz="quarter" idx="19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7" name="Tytuł 1">
            <a:extLst>
              <a:ext uri="{FF2B5EF4-FFF2-40B4-BE49-F238E27FC236}">
                <a16:creationId xmlns:a16="http://schemas.microsoft.com/office/drawing/2014/main" id="{1F842593-776B-B443-AD88-08F7296B68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876FF36-F330-A24E-AA7B-14CA144DFC3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Timeline</a:t>
            </a:r>
            <a:endParaRPr lang="pl-PL"/>
          </a:p>
        </p:txBody>
      </p:sp>
      <p:pic>
        <p:nvPicPr>
          <p:cNvPr id="3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FFAD60F4-ACCD-4639-B663-4D424DF1863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5259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tistic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1" name="Text Placeholder 60">
            <a:extLst>
              <a:ext uri="{FF2B5EF4-FFF2-40B4-BE49-F238E27FC236}">
                <a16:creationId xmlns:a16="http://schemas.microsoft.com/office/drawing/2014/main" id="{DFD8D30E-966A-7843-8DE0-595893F134C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69382" y="4620079"/>
            <a:ext cx="3081485" cy="138102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.</a:t>
            </a:r>
          </a:p>
        </p:txBody>
      </p:sp>
      <p:sp>
        <p:nvSpPr>
          <p:cNvPr id="22" name="Text Placeholder 60">
            <a:extLst>
              <a:ext uri="{FF2B5EF4-FFF2-40B4-BE49-F238E27FC236}">
                <a16:creationId xmlns:a16="http://schemas.microsoft.com/office/drawing/2014/main" id="{19041B1D-CD02-B349-9FCB-41959E33872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690909" y="4620078"/>
            <a:ext cx="3081485" cy="138102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.</a:t>
            </a:r>
          </a:p>
        </p:txBody>
      </p:sp>
      <p:sp>
        <p:nvSpPr>
          <p:cNvPr id="23" name="Text Placeholder 60">
            <a:extLst>
              <a:ext uri="{FF2B5EF4-FFF2-40B4-BE49-F238E27FC236}">
                <a16:creationId xmlns:a16="http://schemas.microsoft.com/office/drawing/2014/main" id="{07AF3E05-35E0-464C-BA8A-4A064BCE59C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12436" y="4620078"/>
            <a:ext cx="3081485" cy="138102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.</a:t>
            </a:r>
          </a:p>
        </p:txBody>
      </p:sp>
      <p:sp>
        <p:nvSpPr>
          <p:cNvPr id="42" name="Text Placeholder 60">
            <a:extLst>
              <a:ext uri="{FF2B5EF4-FFF2-40B4-BE49-F238E27FC236}">
                <a16:creationId xmlns:a16="http://schemas.microsoft.com/office/drawing/2014/main" id="{D84BA214-BCEF-E74D-8682-DA2C88B2B1F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12149" y="2613943"/>
            <a:ext cx="1499495" cy="946594"/>
          </a:xfrm>
        </p:spPr>
        <p:txBody>
          <a:bodyPr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i="0" kern="1200" spc="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en-VN"/>
              <a:t>90</a:t>
            </a:r>
          </a:p>
        </p:txBody>
      </p:sp>
      <p:sp>
        <p:nvSpPr>
          <p:cNvPr id="43" name="Text Placeholder 60">
            <a:extLst>
              <a:ext uri="{FF2B5EF4-FFF2-40B4-BE49-F238E27FC236}">
                <a16:creationId xmlns:a16="http://schemas.microsoft.com/office/drawing/2014/main" id="{0012AB77-93BB-804A-86A3-E396540AE4C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731324" y="2619277"/>
            <a:ext cx="1499495" cy="946594"/>
          </a:xfrm>
        </p:spPr>
        <p:txBody>
          <a:bodyPr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i="0" kern="1200" spc="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en-VN"/>
              <a:t>70</a:t>
            </a:r>
          </a:p>
        </p:txBody>
      </p:sp>
      <p:sp>
        <p:nvSpPr>
          <p:cNvPr id="44" name="Text Placeholder 60">
            <a:extLst>
              <a:ext uri="{FF2B5EF4-FFF2-40B4-BE49-F238E27FC236}">
                <a16:creationId xmlns:a16="http://schemas.microsoft.com/office/drawing/2014/main" id="{114745FC-72D4-A34F-9EB4-CBDE315BCF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252852" y="2613943"/>
            <a:ext cx="1499495" cy="946594"/>
          </a:xfrm>
        </p:spPr>
        <p:txBody>
          <a:bodyPr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i="0" kern="1200" spc="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en-VN"/>
              <a:t>50</a:t>
            </a:r>
          </a:p>
        </p:txBody>
      </p:sp>
      <p:sp>
        <p:nvSpPr>
          <p:cNvPr id="47" name="Text Placeholder 60">
            <a:extLst>
              <a:ext uri="{FF2B5EF4-FFF2-40B4-BE49-F238E27FC236}">
                <a16:creationId xmlns:a16="http://schemas.microsoft.com/office/drawing/2014/main" id="{BB04F1DD-DC73-B64F-8D95-470D3C9DE20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69357" y="3804469"/>
            <a:ext cx="3094240" cy="57167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-15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Headline</a:t>
            </a:r>
            <a:endParaRPr lang="pl-PL"/>
          </a:p>
        </p:txBody>
      </p:sp>
      <p:sp>
        <p:nvSpPr>
          <p:cNvPr id="48" name="Text Placeholder 60">
            <a:extLst>
              <a:ext uri="{FF2B5EF4-FFF2-40B4-BE49-F238E27FC236}">
                <a16:creationId xmlns:a16="http://schemas.microsoft.com/office/drawing/2014/main" id="{25F60B0D-B742-0042-88EE-1ABCF1A260B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690908" y="3804469"/>
            <a:ext cx="3081485" cy="57167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-15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Headline</a:t>
            </a:r>
            <a:endParaRPr lang="pl-PL"/>
          </a:p>
        </p:txBody>
      </p:sp>
      <p:sp>
        <p:nvSpPr>
          <p:cNvPr id="50" name="Text Placeholder 60">
            <a:extLst>
              <a:ext uri="{FF2B5EF4-FFF2-40B4-BE49-F238E27FC236}">
                <a16:creationId xmlns:a16="http://schemas.microsoft.com/office/drawing/2014/main" id="{DE9DABA4-C2D8-8E4E-AA85-55EE5E6132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212436" y="3808741"/>
            <a:ext cx="3081485" cy="57167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-15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Headline</a:t>
            </a:r>
            <a:endParaRPr lang="pl-PL"/>
          </a:p>
        </p:txBody>
      </p:sp>
      <p:sp>
        <p:nvSpPr>
          <p:cNvPr id="24" name="Tytuł 1">
            <a:extLst>
              <a:ext uri="{FF2B5EF4-FFF2-40B4-BE49-F238E27FC236}">
                <a16:creationId xmlns:a16="http://schemas.microsoft.com/office/drawing/2014/main" id="{46B78CD4-6DC0-104F-B4BD-0566E5541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2AB964A-EF59-DE48-AD8F-EEA61505B3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tatistics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D7E5FB14-933E-4364-B3D1-C09D685904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A2F4E2AC-1087-4DFC-850A-D9F3A645579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767012" y="2601437"/>
            <a:ext cx="1136930" cy="94659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2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%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5C0A0ADB-A1D9-49E0-8F6D-4C0B1164EC7C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278786" y="2610063"/>
            <a:ext cx="1136930" cy="94659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2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%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504EFA6F-F170-44CA-BAB1-4CD9E4F9790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790560" y="2610063"/>
            <a:ext cx="1136930" cy="94659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2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129355328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i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8" name="Text Placeholder 60">
            <a:extLst>
              <a:ext uri="{FF2B5EF4-FFF2-40B4-BE49-F238E27FC236}">
                <a16:creationId xmlns:a16="http://schemas.microsoft.com/office/drawing/2014/main" id="{E2FE5B23-E796-9845-AEB3-C0E6F3C3AD0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73575" y="2553992"/>
            <a:ext cx="2429131" cy="342674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9" name="Tytuł 1">
            <a:extLst>
              <a:ext uri="{FF2B5EF4-FFF2-40B4-BE49-F238E27FC236}">
                <a16:creationId xmlns:a16="http://schemas.microsoft.com/office/drawing/2014/main" id="{4EC41BCE-7E61-D64D-AE59-BED013FB7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67F42A08-C50E-F94C-BBE1-66A51F0CFFC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Pie Chart</a:t>
            </a:r>
          </a:p>
        </p:txBody>
      </p:sp>
      <p:sp>
        <p:nvSpPr>
          <p:cNvPr id="11" name="Chart Placeholder 2">
            <a:extLst>
              <a:ext uri="{FF2B5EF4-FFF2-40B4-BE49-F238E27FC236}">
                <a16:creationId xmlns:a16="http://schemas.microsoft.com/office/drawing/2014/main" id="{164FAD95-5B35-C04C-960B-FF68DB61F234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3840187" y="2553992"/>
            <a:ext cx="7505451" cy="3452807"/>
          </a:xfrm>
        </p:spPr>
        <p:txBody>
          <a:bodyPr/>
          <a:lstStyle/>
          <a:p>
            <a:endParaRPr lang="en-VN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C99B4826-B08E-408F-B8D3-9A05CF3AA0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01158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ar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1" name="Text Placeholder 60">
            <a:extLst>
              <a:ext uri="{FF2B5EF4-FFF2-40B4-BE49-F238E27FC236}">
                <a16:creationId xmlns:a16="http://schemas.microsoft.com/office/drawing/2014/main" id="{DAD57A10-2378-C042-829B-CEFB0227B17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16507" y="2545433"/>
            <a:ext cx="2401916" cy="342674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2" name="Tytuł 1">
            <a:extLst>
              <a:ext uri="{FF2B5EF4-FFF2-40B4-BE49-F238E27FC236}">
                <a16:creationId xmlns:a16="http://schemas.microsoft.com/office/drawing/2014/main" id="{EB1AA903-786F-F64D-B96A-0589677BEA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D2CF7D0-12DF-BF46-848D-E5FE5C0598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Bar Chart</a:t>
            </a:r>
          </a:p>
        </p:txBody>
      </p:sp>
      <p:sp>
        <p:nvSpPr>
          <p:cNvPr id="15" name="Chart Placeholder 2">
            <a:extLst>
              <a:ext uri="{FF2B5EF4-FFF2-40B4-BE49-F238E27FC236}">
                <a16:creationId xmlns:a16="http://schemas.microsoft.com/office/drawing/2014/main" id="{AA973FBF-1D29-9D49-9CD1-CE28522BEE26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873575" y="2537783"/>
            <a:ext cx="7502933" cy="3434392"/>
          </a:xfrm>
        </p:spPr>
        <p:txBody>
          <a:bodyPr/>
          <a:lstStyle/>
          <a:p>
            <a:endParaRPr lang="en-VN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F365A329-3473-4832-BEFC-096C4691D3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06143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Proces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cxnSp>
        <p:nvCxnSpPr>
          <p:cNvPr id="11" name="Łącznik prosty 10">
            <a:extLst>
              <a:ext uri="{FF2B5EF4-FFF2-40B4-BE49-F238E27FC236}">
                <a16:creationId xmlns:a16="http://schemas.microsoft.com/office/drawing/2014/main" id="{C2D73FA2-095C-41E7-BF3D-3E65D4600830}"/>
              </a:ext>
            </a:extLst>
          </p:cNvPr>
          <p:cNvCxnSpPr>
            <a:cxnSpLocks/>
          </p:cNvCxnSpPr>
          <p:nvPr userDrawn="1"/>
        </p:nvCxnSpPr>
        <p:spPr>
          <a:xfrm>
            <a:off x="1013426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Łącznik prosty 24">
            <a:extLst>
              <a:ext uri="{FF2B5EF4-FFF2-40B4-BE49-F238E27FC236}">
                <a16:creationId xmlns:a16="http://schemas.microsoft.com/office/drawing/2014/main" id="{3C1EBD96-FC8B-467F-BA05-89B6A01E6C87}"/>
              </a:ext>
            </a:extLst>
          </p:cNvPr>
          <p:cNvCxnSpPr>
            <a:cxnSpLocks/>
          </p:cNvCxnSpPr>
          <p:nvPr userDrawn="1"/>
        </p:nvCxnSpPr>
        <p:spPr>
          <a:xfrm>
            <a:off x="3066742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Łącznik prosty 36">
            <a:extLst>
              <a:ext uri="{FF2B5EF4-FFF2-40B4-BE49-F238E27FC236}">
                <a16:creationId xmlns:a16="http://schemas.microsoft.com/office/drawing/2014/main" id="{EA249D0D-D9C0-4F41-8C2D-B54A8594B1C9}"/>
              </a:ext>
            </a:extLst>
          </p:cNvPr>
          <p:cNvCxnSpPr>
            <a:cxnSpLocks/>
          </p:cNvCxnSpPr>
          <p:nvPr userDrawn="1"/>
        </p:nvCxnSpPr>
        <p:spPr>
          <a:xfrm>
            <a:off x="5115042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Łącznik prosty 40">
            <a:extLst>
              <a:ext uri="{FF2B5EF4-FFF2-40B4-BE49-F238E27FC236}">
                <a16:creationId xmlns:a16="http://schemas.microsoft.com/office/drawing/2014/main" id="{6373FCD6-8FF8-401A-AABF-0E3D085F8D23}"/>
              </a:ext>
            </a:extLst>
          </p:cNvPr>
          <p:cNvCxnSpPr>
            <a:cxnSpLocks/>
          </p:cNvCxnSpPr>
          <p:nvPr userDrawn="1"/>
        </p:nvCxnSpPr>
        <p:spPr>
          <a:xfrm>
            <a:off x="7168358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Łącznik prosty 50">
            <a:extLst>
              <a:ext uri="{FF2B5EF4-FFF2-40B4-BE49-F238E27FC236}">
                <a16:creationId xmlns:a16="http://schemas.microsoft.com/office/drawing/2014/main" id="{AE19DA18-FFDD-4D42-829E-2A06AA4C3EB1}"/>
              </a:ext>
            </a:extLst>
          </p:cNvPr>
          <p:cNvCxnSpPr>
            <a:cxnSpLocks/>
          </p:cNvCxnSpPr>
          <p:nvPr userDrawn="1"/>
        </p:nvCxnSpPr>
        <p:spPr>
          <a:xfrm>
            <a:off x="9199914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EC355DE3-C9CA-CD42-8086-6CD72154393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39792" y="4509711"/>
            <a:ext cx="1839291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64" name="Text Placeholder 60">
            <a:extLst>
              <a:ext uri="{FF2B5EF4-FFF2-40B4-BE49-F238E27FC236}">
                <a16:creationId xmlns:a16="http://schemas.microsoft.com/office/drawing/2014/main" id="{AB50EBF6-5D95-BC45-9C63-954D03F72C5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00840" y="3637944"/>
            <a:ext cx="1881427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1.</a:t>
            </a:r>
          </a:p>
        </p:txBody>
      </p:sp>
      <p:sp>
        <p:nvSpPr>
          <p:cNvPr id="65" name="Text Placeholder 60">
            <a:extLst>
              <a:ext uri="{FF2B5EF4-FFF2-40B4-BE49-F238E27FC236}">
                <a16:creationId xmlns:a16="http://schemas.microsoft.com/office/drawing/2014/main" id="{F720E689-39B1-9245-AB65-DD6F312DBB6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00840" y="4124820"/>
            <a:ext cx="1881427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66" name="Text Placeholder 60">
            <a:extLst>
              <a:ext uri="{FF2B5EF4-FFF2-40B4-BE49-F238E27FC236}">
                <a16:creationId xmlns:a16="http://schemas.microsoft.com/office/drawing/2014/main" id="{1B0F2A70-062F-4040-81EE-C7AC88A1CC6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59511" y="3625828"/>
            <a:ext cx="1881428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2.</a:t>
            </a:r>
          </a:p>
        </p:txBody>
      </p:sp>
      <p:sp>
        <p:nvSpPr>
          <p:cNvPr id="67" name="Text Placeholder 60">
            <a:extLst>
              <a:ext uri="{FF2B5EF4-FFF2-40B4-BE49-F238E27FC236}">
                <a16:creationId xmlns:a16="http://schemas.microsoft.com/office/drawing/2014/main" id="{7DA62FC7-0C6B-304B-B58D-884BDDE546E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154494" y="4112704"/>
            <a:ext cx="1873484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68" name="Text Placeholder 60">
            <a:extLst>
              <a:ext uri="{FF2B5EF4-FFF2-40B4-BE49-F238E27FC236}">
                <a16:creationId xmlns:a16="http://schemas.microsoft.com/office/drawing/2014/main" id="{80356AD0-D55F-B948-84CA-DF589D91D80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40584" y="3637944"/>
            <a:ext cx="1837742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3.</a:t>
            </a:r>
          </a:p>
        </p:txBody>
      </p:sp>
      <p:sp>
        <p:nvSpPr>
          <p:cNvPr id="70" name="Text Placeholder 60">
            <a:extLst>
              <a:ext uri="{FF2B5EF4-FFF2-40B4-BE49-F238E27FC236}">
                <a16:creationId xmlns:a16="http://schemas.microsoft.com/office/drawing/2014/main" id="{EC756B4B-EFF8-B34C-AEB0-8AC3B293B96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40582" y="4124821"/>
            <a:ext cx="1837741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71" name="Text Placeholder 60">
            <a:extLst>
              <a:ext uri="{FF2B5EF4-FFF2-40B4-BE49-F238E27FC236}">
                <a16:creationId xmlns:a16="http://schemas.microsoft.com/office/drawing/2014/main" id="{714DF4FC-C50D-9446-B0D3-6D6D9AFBC23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52917" y="4495093"/>
            <a:ext cx="1875060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72" name="Text Placeholder 60">
            <a:extLst>
              <a:ext uri="{FF2B5EF4-FFF2-40B4-BE49-F238E27FC236}">
                <a16:creationId xmlns:a16="http://schemas.microsoft.com/office/drawing/2014/main" id="{A07194BE-D76F-BF4B-A421-877DB1635F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00059" y="4502207"/>
            <a:ext cx="1881427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3" name="Text Placeholder 60">
            <a:extLst>
              <a:ext uri="{FF2B5EF4-FFF2-40B4-BE49-F238E27FC236}">
                <a16:creationId xmlns:a16="http://schemas.microsoft.com/office/drawing/2014/main" id="{70049643-AD52-8C45-8843-942514BF015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260611" y="4497595"/>
            <a:ext cx="1839291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4" name="Text Placeholder 60">
            <a:extLst>
              <a:ext uri="{FF2B5EF4-FFF2-40B4-BE49-F238E27FC236}">
                <a16:creationId xmlns:a16="http://schemas.microsoft.com/office/drawing/2014/main" id="{A9FD836D-BD8F-7A4F-9578-B2A1840A401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61403" y="3625828"/>
            <a:ext cx="1837742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4.</a:t>
            </a:r>
          </a:p>
        </p:txBody>
      </p:sp>
      <p:sp>
        <p:nvSpPr>
          <p:cNvPr id="85" name="Text Placeholder 60">
            <a:extLst>
              <a:ext uri="{FF2B5EF4-FFF2-40B4-BE49-F238E27FC236}">
                <a16:creationId xmlns:a16="http://schemas.microsoft.com/office/drawing/2014/main" id="{1F11E0C5-BB90-C54C-9F45-07BA01346F8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61401" y="4112705"/>
            <a:ext cx="1837741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89" name="Text Placeholder 60">
            <a:extLst>
              <a:ext uri="{FF2B5EF4-FFF2-40B4-BE49-F238E27FC236}">
                <a16:creationId xmlns:a16="http://schemas.microsoft.com/office/drawing/2014/main" id="{0CD43120-E7F9-E84C-AB53-D7B8D88DF91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96861" y="4490091"/>
            <a:ext cx="1839291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90" name="Text Placeholder 60">
            <a:extLst>
              <a:ext uri="{FF2B5EF4-FFF2-40B4-BE49-F238E27FC236}">
                <a16:creationId xmlns:a16="http://schemas.microsoft.com/office/drawing/2014/main" id="{9A1C3D79-D53B-8044-988E-FC39BF636A7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297653" y="3618324"/>
            <a:ext cx="1837742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5.</a:t>
            </a:r>
          </a:p>
        </p:txBody>
      </p:sp>
      <p:sp>
        <p:nvSpPr>
          <p:cNvPr id="91" name="Text Placeholder 60">
            <a:extLst>
              <a:ext uri="{FF2B5EF4-FFF2-40B4-BE49-F238E27FC236}">
                <a16:creationId xmlns:a16="http://schemas.microsoft.com/office/drawing/2014/main" id="{8A5DB2EF-B467-2A43-865F-C95DC9A39FD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297651" y="4105201"/>
            <a:ext cx="1837741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394B4A0-15B9-0942-BD0C-49F1B5DBE61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Process</a:t>
            </a:r>
            <a:endParaRPr lang="pl-PL"/>
          </a:p>
        </p:txBody>
      </p:sp>
      <p:graphicFrame>
        <p:nvGraphicFramePr>
          <p:cNvPr id="36" name="Diagram 35">
            <a:extLst>
              <a:ext uri="{FF2B5EF4-FFF2-40B4-BE49-F238E27FC236}">
                <a16:creationId xmlns:a16="http://schemas.microsoft.com/office/drawing/2014/main" id="{CD23FAA5-A7A5-8C49-8E0D-F024CE45546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056300382"/>
              </p:ext>
            </p:extLst>
          </p:nvPr>
        </p:nvGraphicFramePr>
        <p:xfrm>
          <a:off x="868137" y="2328182"/>
          <a:ext cx="10477501" cy="7565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60C20CF-B865-8B44-BD36-17589A21A6C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209031" y="2326909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16181BA-1FC1-E741-B679-9810D1ECAB6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68870" y="2328182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FE33DAE9-07C3-DB48-897C-2C0141E4A66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91486" y="2326909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64B5A0C-DD98-B342-82AE-38923E82673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44177" y="2337820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2081F07E-5101-144B-84C2-23242040AD7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366362" y="2337820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840059F9-9774-47EA-9875-CA53E16FEC2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47654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roces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394B4A0-15B9-0942-BD0C-49F1B5DBE61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Process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840059F9-9774-47EA-9875-CA53E16FEC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67348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Proces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7" name="Text Placeholder 60">
            <a:extLst>
              <a:ext uri="{FF2B5EF4-FFF2-40B4-BE49-F238E27FC236}">
                <a16:creationId xmlns:a16="http://schemas.microsoft.com/office/drawing/2014/main" id="{F533D588-1515-E547-96E5-043A829923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39792" y="3650061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8" name="Text Placeholder 60">
            <a:extLst>
              <a:ext uri="{FF2B5EF4-FFF2-40B4-BE49-F238E27FC236}">
                <a16:creationId xmlns:a16="http://schemas.microsoft.com/office/drawing/2014/main" id="{4865FDAA-D4A0-BC42-8267-B5190D5B069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52917" y="3635443"/>
            <a:ext cx="1875060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9" name="Text Placeholder 60">
            <a:extLst>
              <a:ext uri="{FF2B5EF4-FFF2-40B4-BE49-F238E27FC236}">
                <a16:creationId xmlns:a16="http://schemas.microsoft.com/office/drawing/2014/main" id="{71180699-D64D-B848-91D2-41B5FAF2B1C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00059" y="3642557"/>
            <a:ext cx="1881427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0" name="Text Placeholder 60">
            <a:extLst>
              <a:ext uri="{FF2B5EF4-FFF2-40B4-BE49-F238E27FC236}">
                <a16:creationId xmlns:a16="http://schemas.microsoft.com/office/drawing/2014/main" id="{2CC46ADD-3E85-7445-9ECB-4CEF56C89D4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260611" y="3637945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1" name="Text Placeholder 60">
            <a:extLst>
              <a:ext uri="{FF2B5EF4-FFF2-40B4-BE49-F238E27FC236}">
                <a16:creationId xmlns:a16="http://schemas.microsoft.com/office/drawing/2014/main" id="{B78575ED-8EC4-A94D-ACEF-B945C14B7EE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96861" y="3630441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160E82-699B-1C42-A277-29C0FB7F381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209031" y="2398038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23A3B784-A354-024B-BD60-48D83FC3DDA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68870" y="2399311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2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976A9BDD-C86A-7341-8A72-F1B2836D58F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91486" y="2398038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3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6611BAE4-7EC3-B94A-98B0-7E3079F5872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44177" y="2408949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4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6FF69C6-D619-FA4B-8368-EAD10E1DB11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366362" y="2408949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5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4D9182F9-6A85-CC40-87F5-1190C0ECE7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Process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FD1838F8-5100-47A1-9BE2-6D817650F7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3417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9" name="Tytuł 1">
            <a:extLst>
              <a:ext uri="{FF2B5EF4-FFF2-40B4-BE49-F238E27FC236}">
                <a16:creationId xmlns:a16="http://schemas.microsoft.com/office/drawing/2014/main" id="{E183F67A-02E0-4469-AE89-66E65C6B1F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8754" y="528300"/>
            <a:ext cx="4098471" cy="617802"/>
          </a:xfrm>
        </p:spPr>
        <p:txBody>
          <a:bodyPr anchor="b">
            <a:noAutofit/>
          </a:bodyPr>
          <a:lstStyle>
            <a:lvl1pPr>
              <a:defRPr sz="3000" b="1" spc="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Subtitle</a:t>
            </a:r>
            <a:endParaRPr lang="pl-PL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B9C214D-75C5-A14C-8EC9-F837F8D035C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448300" y="1326100"/>
            <a:ext cx="4098471" cy="1922902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49EF738-0323-0848-9CF5-BA746FE0982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3125" y="561975"/>
            <a:ext cx="4035425" cy="1668463"/>
          </a:xfrm>
        </p:spPr>
        <p:txBody>
          <a:bodyPr>
            <a:normAutofit/>
          </a:bodyPr>
          <a:lstStyle>
            <a:lvl1pPr marL="0" indent="0">
              <a:lnSpc>
                <a:spcPts val="4300"/>
              </a:lnSpc>
              <a:buNone/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Bullet</a:t>
            </a:r>
            <a:br>
              <a:rPr lang="en-US"/>
            </a:br>
            <a:r>
              <a:rPr lang="en-US"/>
              <a:t>points</a:t>
            </a:r>
            <a:endParaRPr lang="en-VN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EA85DD0-D7B6-E54F-9F47-578AB4C9DD9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448300" y="3429000"/>
            <a:ext cx="4098925" cy="2590800"/>
          </a:xfrm>
        </p:spPr>
        <p:txBody>
          <a:bodyPr/>
          <a:lstStyle/>
          <a:p>
            <a:pPr lvl="0"/>
            <a:r>
              <a:rPr lang="en-US"/>
              <a:t>First level of bullet poi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VN"/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9DB470B4-EDB0-43D8-A5F8-E671FAB773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80822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roces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7" name="Text Placeholder 60">
            <a:extLst>
              <a:ext uri="{FF2B5EF4-FFF2-40B4-BE49-F238E27FC236}">
                <a16:creationId xmlns:a16="http://schemas.microsoft.com/office/drawing/2014/main" id="{F533D588-1515-E547-96E5-043A829923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39792" y="3650061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8" name="Text Placeholder 60">
            <a:extLst>
              <a:ext uri="{FF2B5EF4-FFF2-40B4-BE49-F238E27FC236}">
                <a16:creationId xmlns:a16="http://schemas.microsoft.com/office/drawing/2014/main" id="{4865FDAA-D4A0-BC42-8267-B5190D5B069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52917" y="3635443"/>
            <a:ext cx="1875060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9" name="Text Placeholder 60">
            <a:extLst>
              <a:ext uri="{FF2B5EF4-FFF2-40B4-BE49-F238E27FC236}">
                <a16:creationId xmlns:a16="http://schemas.microsoft.com/office/drawing/2014/main" id="{71180699-D64D-B848-91D2-41B5FAF2B1C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00059" y="3642557"/>
            <a:ext cx="1881427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0" name="Text Placeholder 60">
            <a:extLst>
              <a:ext uri="{FF2B5EF4-FFF2-40B4-BE49-F238E27FC236}">
                <a16:creationId xmlns:a16="http://schemas.microsoft.com/office/drawing/2014/main" id="{2CC46ADD-3E85-7445-9ECB-4CEF56C89D4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260611" y="3637945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1" name="Text Placeholder 60">
            <a:extLst>
              <a:ext uri="{FF2B5EF4-FFF2-40B4-BE49-F238E27FC236}">
                <a16:creationId xmlns:a16="http://schemas.microsoft.com/office/drawing/2014/main" id="{B78575ED-8EC4-A94D-ACEF-B945C14B7EE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96861" y="3630441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graphicFrame>
        <p:nvGraphicFramePr>
          <p:cNvPr id="17" name="Diagram 16">
            <a:extLst>
              <a:ext uri="{FF2B5EF4-FFF2-40B4-BE49-F238E27FC236}">
                <a16:creationId xmlns:a16="http://schemas.microsoft.com/office/drawing/2014/main" id="{DFC05E75-E2B2-8446-8D26-025F7CBA2B16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726783963"/>
              </p:ext>
            </p:extLst>
          </p:nvPr>
        </p:nvGraphicFramePr>
        <p:xfrm>
          <a:off x="868137" y="2328182"/>
          <a:ext cx="10477501" cy="7565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160E82-699B-1C42-A277-29C0FB7F381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209031" y="2398038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23A3B784-A354-024B-BD60-48D83FC3DDA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68870" y="2399311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2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976A9BDD-C86A-7341-8A72-F1B2836D58F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91486" y="2398038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3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6611BAE4-7EC3-B94A-98B0-7E3079F5872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44177" y="2408949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4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6FF69C6-D619-FA4B-8368-EAD10E1DB11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366362" y="2408949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5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4D9182F9-6A85-CC40-87F5-1190C0ECE7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Process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FD1838F8-5100-47A1-9BE2-6D817650F78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90177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rganisational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4" name="SmartArt Placeholder 2">
            <a:extLst>
              <a:ext uri="{FF2B5EF4-FFF2-40B4-BE49-F238E27FC236}">
                <a16:creationId xmlns:a16="http://schemas.microsoft.com/office/drawing/2014/main" id="{C9EE6DDF-4503-8B4F-8836-08F07EAC62C0}"/>
              </a:ext>
            </a:extLst>
          </p:cNvPr>
          <p:cNvSpPr>
            <a:spLocks noGrp="1"/>
          </p:cNvSpPr>
          <p:nvPr>
            <p:ph type="dgm" sz="quarter" idx="17"/>
          </p:nvPr>
        </p:nvSpPr>
        <p:spPr>
          <a:xfrm>
            <a:off x="868790" y="2545887"/>
            <a:ext cx="10476847" cy="3434391"/>
          </a:xfrm>
        </p:spPr>
        <p:txBody>
          <a:bodyPr/>
          <a:lstStyle/>
          <a:p>
            <a:endParaRPr lang="en-VN"/>
          </a:p>
        </p:txBody>
      </p:sp>
      <p:sp>
        <p:nvSpPr>
          <p:cNvPr id="11" name="Tytuł 1">
            <a:extLst>
              <a:ext uri="{FF2B5EF4-FFF2-40B4-BE49-F238E27FC236}">
                <a16:creationId xmlns:a16="http://schemas.microsoft.com/office/drawing/2014/main" id="{EEC792C8-E504-3F40-ACD9-AB64AF98C4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/>
              <a:t>Char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4FD9722D-4087-514F-AABA-0E8F73EC51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Organisational</a:t>
            </a:r>
            <a:endParaRPr lang="pl-PL"/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9EADA050-CE5F-4E62-8280-485DFF5021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6717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eopl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ymbol zastępczy numeru slajdu 5">
            <a:extLst>
              <a:ext uri="{FF2B5EF4-FFF2-40B4-BE49-F238E27FC236}">
                <a16:creationId xmlns:a16="http://schemas.microsoft.com/office/drawing/2014/main" id="{53E83CEF-607C-41E1-83A7-A80B1C0345A9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7"/>
            <a:ext cx="10504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l" defTabSz="914400" rtl="0" eaLnBrk="1" latinLnBrk="0" hangingPunct="1">
              <a:defRPr sz="1200" b="1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FD7E4E4-5BBC-3144-81F6-BE086EF4664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398814" y="2422338"/>
            <a:ext cx="1303338" cy="1303338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0104F3A1-122D-9E43-8ABB-1F2BE99402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945922" y="2435390"/>
            <a:ext cx="2927584" cy="82060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72E2E9E8-87C2-DE43-99AB-BB0BB356238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95626" y="2435390"/>
            <a:ext cx="2927584" cy="82060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A06AA3E9-1EF5-C745-994B-FF3BB785DBA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5625" y="3267036"/>
            <a:ext cx="2927585" cy="469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Job </a:t>
            </a:r>
            <a:r>
              <a:rPr lang="pl-PL" err="1"/>
              <a:t>position</a:t>
            </a:r>
            <a:endParaRPr lang="pl-PL"/>
          </a:p>
        </p:txBody>
      </p:sp>
      <p:sp>
        <p:nvSpPr>
          <p:cNvPr id="31" name="Text Placeholder 60">
            <a:extLst>
              <a:ext uri="{FF2B5EF4-FFF2-40B4-BE49-F238E27FC236}">
                <a16:creationId xmlns:a16="http://schemas.microsoft.com/office/drawing/2014/main" id="{B068799D-3753-9D4D-9556-6CB1ADFDDE3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08789" y="3943978"/>
            <a:ext cx="4479480" cy="191275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33" name="Text Placeholder 60">
            <a:extLst>
              <a:ext uri="{FF2B5EF4-FFF2-40B4-BE49-F238E27FC236}">
                <a16:creationId xmlns:a16="http://schemas.microsoft.com/office/drawing/2014/main" id="{F6D78EDB-59F3-A74F-AE67-77B092CD525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43730" y="3937957"/>
            <a:ext cx="4479480" cy="191275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D80B7087-0113-8E49-8685-221D4DD4678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843730" y="2435390"/>
            <a:ext cx="1303338" cy="1303338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15" name="Tytuł 1">
            <a:extLst>
              <a:ext uri="{FF2B5EF4-FFF2-40B4-BE49-F238E27FC236}">
                <a16:creationId xmlns:a16="http://schemas.microsoft.com/office/drawing/2014/main" id="{EF425BDB-F83B-3740-BA0E-5BC71F603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1BF282F-7D7D-354E-A8A9-4ED744B7FB1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Peopl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F0D5944E-9DCB-FD42-AC93-727D5DE51CE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945921" y="3270644"/>
            <a:ext cx="2927585" cy="469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Job </a:t>
            </a:r>
            <a:r>
              <a:rPr lang="pl-PL" err="1"/>
              <a:t>position</a:t>
            </a:r>
            <a:endParaRPr lang="pl-PL"/>
          </a:p>
        </p:txBody>
      </p:sp>
      <p:pic>
        <p:nvPicPr>
          <p:cNvPr id="4" name="Obraz 3" descr="Obraz zawierający znak, zegar&#10;&#10;Opis wygenerowany automatycznie">
            <a:extLst>
              <a:ext uri="{FF2B5EF4-FFF2-40B4-BE49-F238E27FC236}">
                <a16:creationId xmlns:a16="http://schemas.microsoft.com/office/drawing/2014/main" id="{973D65FA-04BF-459D-A159-EFB4AA012EF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17570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eopl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ymbol zastępczy numeru slajdu 5">
            <a:extLst>
              <a:ext uri="{FF2B5EF4-FFF2-40B4-BE49-F238E27FC236}">
                <a16:creationId xmlns:a16="http://schemas.microsoft.com/office/drawing/2014/main" id="{F61F9CEE-A24D-4167-9652-6F0DCFB843BA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7"/>
            <a:ext cx="10504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l" defTabSz="914400" rtl="0" eaLnBrk="1" latinLnBrk="0" hangingPunct="1">
              <a:defRPr sz="1200" b="1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C66D0F66-5DD0-CC47-9406-16BC3B730ED1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398814" y="2418860"/>
            <a:ext cx="1303338" cy="1303338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F069552-AAC9-4140-967D-BBB36666210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945922" y="2431912"/>
            <a:ext cx="2927584" cy="469675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69C5C8F3-08C1-0B4B-820E-D50C6D18D74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45921" y="2926119"/>
            <a:ext cx="2927585" cy="469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Job </a:t>
            </a:r>
            <a:r>
              <a:rPr lang="pl-PL" err="1"/>
              <a:t>position</a:t>
            </a:r>
            <a:endParaRPr lang="pl-PL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451B3AD-1644-6E43-867B-2F5A0BBEC44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843730" y="2431912"/>
            <a:ext cx="1303338" cy="1303338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F4161CB-4C3A-B94B-869A-FED3AF102200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98814" y="4530841"/>
            <a:ext cx="1303338" cy="1303338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4411615A-1143-F74F-AA3B-974154DD0B7D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843730" y="4543893"/>
            <a:ext cx="1303338" cy="1303338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B746B448-3E57-F443-B31B-41815AC9940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945921" y="3406836"/>
            <a:ext cx="2927585" cy="82060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kern="1200" spc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D300C504-C864-AD4E-A7DE-E222E6B1207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949348" y="4530841"/>
            <a:ext cx="2927584" cy="469675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C9464E39-87EE-C441-BB8F-B585640E667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949347" y="5025048"/>
            <a:ext cx="2927585" cy="469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Job </a:t>
            </a:r>
            <a:r>
              <a:rPr lang="pl-PL" err="1"/>
              <a:t>position</a:t>
            </a:r>
            <a:endParaRPr lang="pl-PL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289E6739-D418-E042-BD61-31503F78F6C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949347" y="5505765"/>
            <a:ext cx="2927585" cy="82060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kern="1200" spc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EBFEAA0C-A173-8F47-9201-A2F676532E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85939" y="2431912"/>
            <a:ext cx="2927584" cy="469675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61A5EFAB-F364-764A-BC31-6A7434FDE31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85938" y="2926119"/>
            <a:ext cx="2927585" cy="469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Job </a:t>
            </a:r>
            <a:r>
              <a:rPr lang="pl-PL" err="1"/>
              <a:t>position</a:t>
            </a:r>
            <a:endParaRPr lang="pl-PL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116246CD-539F-B547-82BA-71BA9E02DBB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85938" y="3406836"/>
            <a:ext cx="2927585" cy="82060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kern="1200" spc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639FCED2-BA6F-A54F-8F23-0DEF2CA3231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85939" y="4530841"/>
            <a:ext cx="2927584" cy="469675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E58F7C63-751C-CB4E-A396-CC22CA89ABA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85938" y="5025048"/>
            <a:ext cx="2927585" cy="469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Job </a:t>
            </a:r>
            <a:r>
              <a:rPr lang="pl-PL" err="1"/>
              <a:t>position</a:t>
            </a:r>
            <a:endParaRPr lang="pl-PL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5FFF813A-76B4-CE4F-B80A-B5B2F91EEA0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85938" y="5505765"/>
            <a:ext cx="2927585" cy="82060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kern="1200" spc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9" name="Tytuł 1">
            <a:extLst>
              <a:ext uri="{FF2B5EF4-FFF2-40B4-BE49-F238E27FC236}">
                <a16:creationId xmlns:a16="http://schemas.microsoft.com/office/drawing/2014/main" id="{85BEC029-6B7C-9044-B91D-2783A5453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F8E08C5C-FE16-194E-936E-115ED0F3632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People</a:t>
            </a:r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5E4E33F4-5229-4B13-A1AB-860CA1B1BC4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6133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ap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ymbol zastępczy numeru slajdu 5">
            <a:extLst>
              <a:ext uri="{FF2B5EF4-FFF2-40B4-BE49-F238E27FC236}">
                <a16:creationId xmlns:a16="http://schemas.microsoft.com/office/drawing/2014/main" id="{1E56DE1E-2F16-46AE-AF32-B444265136E2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7"/>
            <a:ext cx="10504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l" defTabSz="914400" rtl="0" eaLnBrk="1" latinLnBrk="0" hangingPunct="1">
              <a:defRPr sz="1200" b="1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4" name="Tytuł 1">
            <a:extLst>
              <a:ext uri="{FF2B5EF4-FFF2-40B4-BE49-F238E27FC236}">
                <a16:creationId xmlns:a16="http://schemas.microsoft.com/office/drawing/2014/main" id="{A63FB9EB-CE12-3847-9139-913B0510B4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577" y="1460598"/>
            <a:ext cx="4716942" cy="717184"/>
          </a:xfrm>
        </p:spPr>
        <p:txBody>
          <a:bodyPr anchor="b">
            <a:normAutofit/>
          </a:bodyPr>
          <a:lstStyle>
            <a:lvl1pPr>
              <a:defRPr sz="3000" b="1" spc="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</a:t>
            </a:r>
            <a:r>
              <a:rPr lang="pl-PL" err="1"/>
              <a:t>paragraph</a:t>
            </a:r>
            <a:endParaRPr lang="pl-PL"/>
          </a:p>
        </p:txBody>
      </p:sp>
      <p:sp>
        <p:nvSpPr>
          <p:cNvPr id="14" name="Text Placeholder 60">
            <a:extLst>
              <a:ext uri="{FF2B5EF4-FFF2-40B4-BE49-F238E27FC236}">
                <a16:creationId xmlns:a16="http://schemas.microsoft.com/office/drawing/2014/main" id="{1168994B-C1E1-0847-92B6-623DE198D29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80879" y="4283358"/>
            <a:ext cx="4716941" cy="172242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9" name="Text Placeholder 60">
            <a:extLst>
              <a:ext uri="{FF2B5EF4-FFF2-40B4-BE49-F238E27FC236}">
                <a16:creationId xmlns:a16="http://schemas.microsoft.com/office/drawing/2014/main" id="{7CB87D47-F384-424D-8293-412E9135705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73578" y="2537783"/>
            <a:ext cx="4716941" cy="1555246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19647EF6-33D9-46E1-8DAF-A15A227C27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50107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55" name="Tytuł 1">
            <a:extLst>
              <a:ext uri="{FF2B5EF4-FFF2-40B4-BE49-F238E27FC236}">
                <a16:creationId xmlns:a16="http://schemas.microsoft.com/office/drawing/2014/main" id="{9BF03333-7666-44CE-BC39-1F8FA0BAB218}"/>
              </a:ext>
            </a:extLst>
          </p:cNvPr>
          <p:cNvSpPr txBox="1">
            <a:spLocks/>
          </p:cNvSpPr>
          <p:nvPr userDrawn="1"/>
        </p:nvSpPr>
        <p:spPr>
          <a:xfrm>
            <a:off x="873578" y="1171162"/>
            <a:ext cx="4542064" cy="51162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1" kern="1200" spc="-15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200" spc="0" err="1"/>
              <a:t>Icons</a:t>
            </a:r>
            <a:endParaRPr lang="pl-PL" sz="2200" spc="0"/>
          </a:p>
        </p:txBody>
      </p:sp>
      <p:pic>
        <p:nvPicPr>
          <p:cNvPr id="27" name="Obraz 26" descr="Obraz zawierający znak, zegar&#10;&#10;Opis wygenerowany automatycznie">
            <a:extLst>
              <a:ext uri="{FF2B5EF4-FFF2-40B4-BE49-F238E27FC236}">
                <a16:creationId xmlns:a16="http://schemas.microsoft.com/office/drawing/2014/main" id="{DA80CAF4-4327-46E2-8BE6-EFF99D5124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8884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Dwa elementy zawartości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6" name="Media Placeholder 2">
            <a:extLst>
              <a:ext uri="{FF2B5EF4-FFF2-40B4-BE49-F238E27FC236}">
                <a16:creationId xmlns:a16="http://schemas.microsoft.com/office/drawing/2014/main" id="{8420CF63-BCBF-DD47-94BE-F5E550B49AE6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2600960" y="1660071"/>
            <a:ext cx="6990080" cy="3931920"/>
          </a:xfrm>
        </p:spPr>
      </p:sp>
      <p:pic>
        <p:nvPicPr>
          <p:cNvPr id="2" name="Obraz 1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54CFD476-AD99-4BA6-8E9B-509B5FA299D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37414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IDEO_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pic>
        <p:nvPicPr>
          <p:cNvPr id="2" name="Obraz 1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D0710F1B-4FF1-4EA4-89F7-ECFC74939E5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46700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UTRO_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pic>
        <p:nvPicPr>
          <p:cNvPr id="3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E6C2588B-6E86-4918-8788-9A3721B7D3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7737" y="2745152"/>
            <a:ext cx="2796526" cy="1531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74096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6E60419D-35A4-4C8B-90E1-C7CFD3AEA4D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347" y="335280"/>
            <a:ext cx="1820897" cy="997410"/>
          </a:xfrm>
          <a:prstGeom prst="rect">
            <a:avLst/>
          </a:prstGeom>
        </p:spPr>
      </p:pic>
      <p:sp>
        <p:nvSpPr>
          <p:cNvPr id="12" name="Podtytuł 2">
            <a:extLst>
              <a:ext uri="{FF2B5EF4-FFF2-40B4-BE49-F238E27FC236}">
                <a16:creationId xmlns:a16="http://schemas.microsoft.com/office/drawing/2014/main" id="{79EEAF39-E7D1-914B-88A8-7FB94096E83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8048" y="3602038"/>
            <a:ext cx="10107562" cy="1655762"/>
          </a:xfrm>
        </p:spPr>
        <p:txBody>
          <a:bodyPr/>
          <a:lstStyle>
            <a:lvl1pPr marL="0" indent="0" algn="l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err="1"/>
              <a:t>This</a:t>
            </a:r>
            <a:r>
              <a:rPr lang="pl-PL"/>
              <a:t> </a:t>
            </a:r>
            <a:r>
              <a:rPr lang="pl-PL" err="1"/>
              <a:t>is</a:t>
            </a:r>
            <a:r>
              <a:rPr lang="pl-PL"/>
              <a:t> </a:t>
            </a:r>
            <a:r>
              <a:rPr lang="pl-PL" err="1"/>
              <a:t>template</a:t>
            </a:r>
            <a:r>
              <a:rPr lang="pl-PL"/>
              <a:t> of Presentation. </a:t>
            </a:r>
            <a:r>
              <a:rPr lang="pl-PL" err="1"/>
              <a:t>Let’s</a:t>
            </a:r>
            <a:r>
              <a:rPr lang="pl-PL"/>
              <a:t> </a:t>
            </a:r>
            <a:r>
              <a:rPr lang="pl-PL" err="1"/>
              <a:t>Create</a:t>
            </a:r>
            <a:r>
              <a:rPr lang="pl-PL"/>
              <a:t>!</a:t>
            </a:r>
          </a:p>
        </p:txBody>
      </p:sp>
      <p:sp>
        <p:nvSpPr>
          <p:cNvPr id="14" name="Tytuł 1">
            <a:extLst>
              <a:ext uri="{FF2B5EF4-FFF2-40B4-BE49-F238E27FC236}">
                <a16:creationId xmlns:a16="http://schemas.microsoft.com/office/drawing/2014/main" id="{96148336-9628-9245-9708-3F0C8DFF3E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8048" y="1332689"/>
            <a:ext cx="10447652" cy="2177274"/>
          </a:xfrm>
        </p:spPr>
        <p:txBody>
          <a:bodyPr anchor="b">
            <a:normAutofit/>
          </a:bodyPr>
          <a:lstStyle>
            <a:lvl1pPr algn="l">
              <a:defRPr sz="5500" b="1" spc="-150">
                <a:solidFill>
                  <a:schemeClr val="bg1"/>
                </a:solidFill>
              </a:defRPr>
            </a:lvl1pPr>
          </a:lstStyle>
          <a:p>
            <a:r>
              <a:rPr lang="pl-PL"/>
              <a:t>Hello World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91FB4A8-DA88-1540-9DB5-7DB2123BBE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8047" y="5788505"/>
            <a:ext cx="5396457" cy="4875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eneva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day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6 </a:t>
            </a: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une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020</a:t>
            </a:r>
          </a:p>
        </p:txBody>
      </p:sp>
    </p:spTree>
    <p:extLst>
      <p:ext uri="{BB962C8B-B14F-4D97-AF65-F5344CB8AC3E}">
        <p14:creationId xmlns:p14="http://schemas.microsoft.com/office/powerpoint/2010/main" val="32928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half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64661CB-423A-5E45-B58A-9C739FBCE5E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2" name="Tytuł 1">
            <a:extLst>
              <a:ext uri="{FF2B5EF4-FFF2-40B4-BE49-F238E27FC236}">
                <a16:creationId xmlns:a16="http://schemas.microsoft.com/office/drawing/2014/main" id="{B7F482A2-531E-BB4D-BD3D-FFAF891C6D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249" y="2415141"/>
            <a:ext cx="4682421" cy="43177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985AE5C-CEED-704C-9F59-D34509271E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249" y="1467165"/>
            <a:ext cx="4682421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A224EE3-8E13-1445-8C1E-7D484F612A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249" y="4557650"/>
            <a:ext cx="4682421" cy="121515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6696BEB-0B93-7541-893D-B1E11196EDF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3249" y="3386917"/>
            <a:ext cx="4682421" cy="1015246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172632EE-5F54-4FEC-A8D0-15A69CBD03E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11709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p -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4ECA71-2FE1-C343-B737-724A29C63640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145145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_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5A68ED-F49B-4C41-A78C-ED5D577EBFAA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A35F58E-1B8E-D14A-E85D-8EAFC5F8D5E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6299" y="3109186"/>
            <a:ext cx="2142783" cy="931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84859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ce Column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43F52C0-FDC1-D54C-94B2-7FC551F1EA3E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2" name="Obraz 3" descr="Obraz zawierający znak, zegar&#10;&#10;Opis wygenerowany automatycznie">
            <a:extLst>
              <a:ext uri="{FF2B5EF4-FFF2-40B4-BE49-F238E27FC236}">
                <a16:creationId xmlns:a16="http://schemas.microsoft.com/office/drawing/2014/main" id="{DF856BA4-CF54-3941-AE63-3FD4310F1C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914B2FF-DA8D-EF4D-9FA7-3F6D6C7AFA2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6359" y="2537783"/>
            <a:ext cx="10499281" cy="348201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err="1"/>
              <a:t>Proin</a:t>
            </a:r>
            <a:r>
              <a:rPr lang="pl-PL"/>
              <a:t> vitae </a:t>
            </a:r>
            <a:r>
              <a:rPr lang="pl-PL" err="1"/>
              <a:t>odio</a:t>
            </a:r>
            <a:r>
              <a:rPr lang="pl-PL"/>
              <a:t>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auctor</a:t>
            </a:r>
            <a:r>
              <a:rPr lang="pl-PL"/>
              <a:t> </a:t>
            </a:r>
            <a:r>
              <a:rPr lang="pl-PL" err="1"/>
              <a:t>faucibus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7AE6B6A5-9D9B-AB44-A0F3-A27659F33151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359" y="906011"/>
            <a:ext cx="6275388" cy="568080"/>
          </a:xfrm>
        </p:spPr>
        <p:txBody>
          <a:bodyPr anchor="ctr"/>
          <a:lstStyle>
            <a:lvl1pPr>
              <a:buNone/>
              <a:defRPr sz="4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Header</a:t>
            </a:r>
          </a:p>
        </p:txBody>
      </p:sp>
      <p:sp>
        <p:nvSpPr>
          <p:cNvPr id="11" name="Tytuł 1">
            <a:extLst>
              <a:ext uri="{FF2B5EF4-FFF2-40B4-BE49-F238E27FC236}">
                <a16:creationId xmlns:a16="http://schemas.microsoft.com/office/drawing/2014/main" id="{A172CC45-3276-3F4E-A9C0-D704064674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0" y="1477266"/>
            <a:ext cx="627538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592479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meline - 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78">
            <a:extLst>
              <a:ext uri="{FF2B5EF4-FFF2-40B4-BE49-F238E27FC236}">
                <a16:creationId xmlns:a16="http://schemas.microsoft.com/office/drawing/2014/main" id="{AC329EA1-CFC3-564C-B003-3C7836EF26F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222717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16</a:t>
            </a:r>
          </a:p>
        </p:txBody>
      </p:sp>
      <p:sp>
        <p:nvSpPr>
          <p:cNvPr id="24" name="Text Placeholder 78">
            <a:extLst>
              <a:ext uri="{FF2B5EF4-FFF2-40B4-BE49-F238E27FC236}">
                <a16:creationId xmlns:a16="http://schemas.microsoft.com/office/drawing/2014/main" id="{6B9A4B24-3CC9-C74D-A75B-143FE4A35B8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028835" y="4733750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0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5" name="Text Placeholder 78">
            <a:extLst>
              <a:ext uri="{FF2B5EF4-FFF2-40B4-BE49-F238E27FC236}">
                <a16:creationId xmlns:a16="http://schemas.microsoft.com/office/drawing/2014/main" id="{3EC85A26-19E5-084A-9785-3A42CE7AD5C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028607" y="3678479"/>
            <a:ext cx="1817884" cy="967838"/>
          </a:xfrm>
        </p:spPr>
        <p:txBody>
          <a:bodyPr anchor="ctr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18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28" name="Text Placeholder 78">
            <a:extLst>
              <a:ext uri="{FF2B5EF4-FFF2-40B4-BE49-F238E27FC236}">
                <a16:creationId xmlns:a16="http://schemas.microsoft.com/office/drawing/2014/main" id="{C3D0A6B3-C817-434F-9152-40E5AE455FB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187284" y="4733750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0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9" name="Text Placeholder 78">
            <a:extLst>
              <a:ext uri="{FF2B5EF4-FFF2-40B4-BE49-F238E27FC236}">
                <a16:creationId xmlns:a16="http://schemas.microsoft.com/office/drawing/2014/main" id="{9120FE86-0194-9440-AE8D-CFF51FC0506C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187056" y="3678479"/>
            <a:ext cx="1817884" cy="967838"/>
          </a:xfrm>
        </p:spPr>
        <p:txBody>
          <a:bodyPr anchor="ctr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18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30" name="Text Placeholder 78">
            <a:extLst>
              <a:ext uri="{FF2B5EF4-FFF2-40B4-BE49-F238E27FC236}">
                <a16:creationId xmlns:a16="http://schemas.microsoft.com/office/drawing/2014/main" id="{50D00AE0-5473-3A49-B11B-0168B65C539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345506" y="4733750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0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2" name="Text Placeholder 78">
            <a:extLst>
              <a:ext uri="{FF2B5EF4-FFF2-40B4-BE49-F238E27FC236}">
                <a16:creationId xmlns:a16="http://schemas.microsoft.com/office/drawing/2014/main" id="{F116EE32-7A27-BF46-9724-55A425EE4FE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345278" y="3678479"/>
            <a:ext cx="1817884" cy="967838"/>
          </a:xfrm>
        </p:spPr>
        <p:txBody>
          <a:bodyPr anchor="ctr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18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35" name="Text Placeholder 78">
            <a:extLst>
              <a:ext uri="{FF2B5EF4-FFF2-40B4-BE49-F238E27FC236}">
                <a16:creationId xmlns:a16="http://schemas.microsoft.com/office/drawing/2014/main" id="{E3766CE7-8CB0-5247-AF43-4CC04A013B1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503728" y="4733750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0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7" name="Text Placeholder 78">
            <a:extLst>
              <a:ext uri="{FF2B5EF4-FFF2-40B4-BE49-F238E27FC236}">
                <a16:creationId xmlns:a16="http://schemas.microsoft.com/office/drawing/2014/main" id="{598C48B3-E61E-FA46-95D7-DEC6808EB0D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503500" y="3678479"/>
            <a:ext cx="1817884" cy="967838"/>
          </a:xfrm>
        </p:spPr>
        <p:txBody>
          <a:bodyPr anchor="ctr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18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45" name="Text Placeholder 78">
            <a:extLst>
              <a:ext uri="{FF2B5EF4-FFF2-40B4-BE49-F238E27FC236}">
                <a16:creationId xmlns:a16="http://schemas.microsoft.com/office/drawing/2014/main" id="{834D2166-2659-9C4A-A5DB-69AFF004D2DF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70386" y="4731603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0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.</a:t>
            </a:r>
            <a:endParaRPr lang="en-VN"/>
          </a:p>
        </p:txBody>
      </p:sp>
      <p:sp>
        <p:nvSpPr>
          <p:cNvPr id="47" name="Text Placeholder 78">
            <a:extLst>
              <a:ext uri="{FF2B5EF4-FFF2-40B4-BE49-F238E27FC236}">
                <a16:creationId xmlns:a16="http://schemas.microsoft.com/office/drawing/2014/main" id="{F2169C62-C6B3-AD44-96BE-CF171C282F95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70158" y="3676332"/>
            <a:ext cx="1817884" cy="967838"/>
          </a:xfrm>
        </p:spPr>
        <p:txBody>
          <a:bodyPr anchor="ctr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18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48" name="Text Placeholder 78">
            <a:extLst>
              <a:ext uri="{FF2B5EF4-FFF2-40B4-BE49-F238E27FC236}">
                <a16:creationId xmlns:a16="http://schemas.microsoft.com/office/drawing/2014/main" id="{F3B34CE6-6E96-BB45-ABC0-94A7CD775FEA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3376842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17</a:t>
            </a:r>
          </a:p>
        </p:txBody>
      </p:sp>
      <p:sp>
        <p:nvSpPr>
          <p:cNvPr id="49" name="Text Placeholder 78">
            <a:extLst>
              <a:ext uri="{FF2B5EF4-FFF2-40B4-BE49-F238E27FC236}">
                <a16:creationId xmlns:a16="http://schemas.microsoft.com/office/drawing/2014/main" id="{0906E27C-AA1B-C64F-B84A-815CA8396B86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5533228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18</a:t>
            </a:r>
          </a:p>
        </p:txBody>
      </p:sp>
      <p:sp>
        <p:nvSpPr>
          <p:cNvPr id="50" name="Text Placeholder 78">
            <a:extLst>
              <a:ext uri="{FF2B5EF4-FFF2-40B4-BE49-F238E27FC236}">
                <a16:creationId xmlns:a16="http://schemas.microsoft.com/office/drawing/2014/main" id="{3B078F6D-5FBC-1549-BB9A-E40865E592DB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7689614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19</a:t>
            </a:r>
          </a:p>
        </p:txBody>
      </p:sp>
      <p:sp>
        <p:nvSpPr>
          <p:cNvPr id="53" name="Text Placeholder 78">
            <a:extLst>
              <a:ext uri="{FF2B5EF4-FFF2-40B4-BE49-F238E27FC236}">
                <a16:creationId xmlns:a16="http://schemas.microsoft.com/office/drawing/2014/main" id="{5CCBD9F1-A751-3940-9721-5C18015C2F7D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9846000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56" name="Tytuł 1">
            <a:extLst>
              <a:ext uri="{FF2B5EF4-FFF2-40B4-BE49-F238E27FC236}">
                <a16:creationId xmlns:a16="http://schemas.microsoft.com/office/drawing/2014/main" id="{405D75D6-C37C-EF45-BFF2-C0B6273C77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7" y="1477266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219CF6FB-C83F-414C-A2FB-BF4D12BADDED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138" y="856893"/>
            <a:ext cx="8805862" cy="616507"/>
          </a:xfrm>
        </p:spPr>
        <p:txBody>
          <a:bodyPr anchor="ctr"/>
          <a:lstStyle>
            <a:lvl1pPr>
              <a:buNone/>
              <a:defRPr sz="4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Timeline</a:t>
            </a:r>
          </a:p>
        </p:txBody>
      </p:sp>
    </p:spTree>
    <p:extLst>
      <p:ext uri="{BB962C8B-B14F-4D97-AF65-F5344CB8AC3E}">
        <p14:creationId xmlns:p14="http://schemas.microsoft.com/office/powerpoint/2010/main" val="392175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_colum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1D9E27F-F165-3E44-B3F0-AF418E227E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249" y="1280598"/>
            <a:ext cx="4952420" cy="47392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07F197B-A2B7-804E-A6FD-92D4CE51C21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66331" y="1280598"/>
            <a:ext cx="4952420" cy="47392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06335D5-2F00-FAF4-6D9D-9F7402FC4136}"/>
              </a:ext>
            </a:extLst>
          </p:cNvPr>
          <p:cNvGrpSpPr/>
          <p:nvPr userDrawn="1"/>
        </p:nvGrpSpPr>
        <p:grpSpPr>
          <a:xfrm>
            <a:off x="10233652" y="291314"/>
            <a:ext cx="1373893" cy="752560"/>
            <a:chOff x="10506211" y="315080"/>
            <a:chExt cx="1223334" cy="67009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E1FEA2F-3824-FC6F-80CF-8D7DEF8DEC4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8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54553" y="838547"/>
              <a:ext cx="882870" cy="45719"/>
            </a:xfrm>
            <a:prstGeom prst="rect">
              <a:avLst/>
            </a:prstGeom>
          </p:spPr>
        </p:pic>
        <p:pic>
          <p:nvPicPr>
            <p:cNvPr id="5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8098E941-1BFA-43EC-1A3F-F2612A3431F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6211" y="315080"/>
              <a:ext cx="1223334" cy="6700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3036459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F42009C-8CB7-7427-8F70-5C4897F54B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40848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42009C-8CB7-7427-8F70-5C4897F54B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7" name="Tytuł 1">
            <a:extLst>
              <a:ext uri="{FF2B5EF4-FFF2-40B4-BE49-F238E27FC236}">
                <a16:creationId xmlns:a16="http://schemas.microsoft.com/office/drawing/2014/main" id="{929E80EC-ABB5-FC47-BF91-33C7057C3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0086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2220840-5540-F14A-BC1E-444C1BD005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74682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pic>
        <p:nvPicPr>
          <p:cNvPr id="4" name="Obraz 3" descr="Obraz zawierający znak, zegar&#10;&#10;Opis wygenerowany automatycznie">
            <a:extLst>
              <a:ext uri="{FF2B5EF4-FFF2-40B4-BE49-F238E27FC236}">
                <a16:creationId xmlns:a16="http://schemas.microsoft.com/office/drawing/2014/main" id="{4B9CABC8-B237-46DF-B1EC-029DE6B3F55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1059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86">
          <p15:clr>
            <a:srgbClr val="FBAE40"/>
          </p15:clr>
        </p15:guide>
        <p15:guide id="4" orient="horz" pos="913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slide_2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6983A926-9602-3E46-8F16-6D5538126A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4126" y="0"/>
            <a:ext cx="12196126" cy="6858000"/>
          </a:xfrm>
          <a:prstGeom prst="rect">
            <a:avLst/>
          </a:prstGeom>
          <a:blipFill dpi="0" rotWithShape="1">
            <a:blip r:embed="rId3">
              <a:alphaModFix amt="20000"/>
            </a:blip>
            <a:srcRect/>
            <a:stretch>
              <a:fillRect/>
            </a:stretch>
          </a:blipFill>
          <a:effectLst>
            <a:outerShdw sx="1000" sy="1000" algn="ctr" rotWithShape="0">
              <a:srgbClr val="000000"/>
            </a:outerShdw>
          </a:effectLst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VN"/>
          </a:p>
        </p:txBody>
      </p:sp>
      <p:pic>
        <p:nvPicPr>
          <p:cNvPr id="7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DB29E8E1-0F07-6940-803A-EA28727ACA0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347" y="335280"/>
            <a:ext cx="1820897" cy="997410"/>
          </a:xfrm>
          <a:prstGeom prst="rect">
            <a:avLst/>
          </a:prstGeom>
        </p:spPr>
      </p:pic>
      <p:sp>
        <p:nvSpPr>
          <p:cNvPr id="8" name="Podtytuł 2">
            <a:extLst>
              <a:ext uri="{FF2B5EF4-FFF2-40B4-BE49-F238E27FC236}">
                <a16:creationId xmlns:a16="http://schemas.microsoft.com/office/drawing/2014/main" id="{147CD47C-C020-F241-B4C1-3C16626BAA1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8048" y="3602038"/>
            <a:ext cx="10447652" cy="165576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err="1"/>
              <a:t>This</a:t>
            </a:r>
            <a:r>
              <a:rPr lang="pl-PL"/>
              <a:t> </a:t>
            </a:r>
            <a:r>
              <a:rPr lang="pl-PL" err="1"/>
              <a:t>is</a:t>
            </a:r>
            <a:r>
              <a:rPr lang="pl-PL"/>
              <a:t> </a:t>
            </a:r>
            <a:r>
              <a:rPr lang="pl-PL" err="1"/>
              <a:t>template</a:t>
            </a:r>
            <a:r>
              <a:rPr lang="pl-PL"/>
              <a:t> of Presentation. </a:t>
            </a:r>
            <a:r>
              <a:rPr lang="pl-PL" err="1"/>
              <a:t>Let’s</a:t>
            </a:r>
            <a:r>
              <a:rPr lang="pl-PL"/>
              <a:t> </a:t>
            </a:r>
            <a:r>
              <a:rPr lang="pl-PL" err="1"/>
              <a:t>Create</a:t>
            </a:r>
            <a:r>
              <a:rPr lang="pl-PL"/>
              <a:t>!</a:t>
            </a:r>
          </a:p>
        </p:txBody>
      </p:sp>
      <p:sp>
        <p:nvSpPr>
          <p:cNvPr id="9" name="Tytuł 1">
            <a:extLst>
              <a:ext uri="{FF2B5EF4-FFF2-40B4-BE49-F238E27FC236}">
                <a16:creationId xmlns:a16="http://schemas.microsoft.com/office/drawing/2014/main" id="{CA566E6B-81BE-394A-82C9-87A88E5263E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8048" y="1332689"/>
            <a:ext cx="10447652" cy="2177274"/>
          </a:xfrm>
        </p:spPr>
        <p:txBody>
          <a:bodyPr anchor="b">
            <a:normAutofit/>
          </a:bodyPr>
          <a:lstStyle>
            <a:lvl1pPr algn="l">
              <a:defRPr sz="5500" b="1" spc="-15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/>
              <a:t>Hello Worl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D81C82-F983-5145-8C90-D4FD9E216D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8363" y="5788506"/>
            <a:ext cx="9643043" cy="338138"/>
          </a:xfrm>
        </p:spPr>
        <p:txBody>
          <a:bodyPr/>
          <a:lstStyle>
            <a:lvl1pPr>
              <a:buNone/>
              <a:defRPr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buNone/>
              <a:defRPr b="1">
                <a:solidFill>
                  <a:schemeClr val="bg1"/>
                </a:solidFill>
              </a:defRPr>
            </a:lvl2pPr>
            <a:lvl3pPr>
              <a:buNone/>
              <a:defRPr b="1">
                <a:solidFill>
                  <a:schemeClr val="bg1"/>
                </a:solidFill>
              </a:defRPr>
            </a:lvl3pPr>
            <a:lvl4pPr>
              <a:buNone/>
              <a:defRPr b="1">
                <a:solidFill>
                  <a:schemeClr val="bg1"/>
                </a:solidFill>
              </a:defRPr>
            </a:lvl4pPr>
            <a:lvl5pPr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Geneva, </a:t>
            </a:r>
            <a:r>
              <a:rPr lang="en-GB" err="1"/>
              <a:t>Feiday</a:t>
            </a:r>
            <a:r>
              <a:rPr lang="en-GB"/>
              <a:t> 26 June 2020</a:t>
            </a:r>
          </a:p>
        </p:txBody>
      </p:sp>
    </p:spTree>
    <p:extLst>
      <p:ext uri="{BB962C8B-B14F-4D97-AF65-F5344CB8AC3E}">
        <p14:creationId xmlns:p14="http://schemas.microsoft.com/office/powerpoint/2010/main" val="333552456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_colum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1D9E27F-F165-3E44-B3F0-AF418E227E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249" y="1280598"/>
            <a:ext cx="4952420" cy="47392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07F197B-A2B7-804E-A6FD-92D4CE51C21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66331" y="1280598"/>
            <a:ext cx="4952420" cy="47392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06335D5-2F00-FAF4-6D9D-9F7402FC4136}"/>
              </a:ext>
            </a:extLst>
          </p:cNvPr>
          <p:cNvGrpSpPr/>
          <p:nvPr userDrawn="1"/>
        </p:nvGrpSpPr>
        <p:grpSpPr>
          <a:xfrm>
            <a:off x="10233652" y="291314"/>
            <a:ext cx="1373893" cy="752560"/>
            <a:chOff x="10506211" y="315080"/>
            <a:chExt cx="1223334" cy="67009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E1FEA2F-3824-FC6F-80CF-8D7DEF8DEC4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8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54553" y="838547"/>
              <a:ext cx="882870" cy="45719"/>
            </a:xfrm>
            <a:prstGeom prst="rect">
              <a:avLst/>
            </a:prstGeom>
          </p:spPr>
        </p:pic>
        <p:pic>
          <p:nvPicPr>
            <p:cNvPr id="5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8098E941-1BFA-43EC-1A3F-F2612A3431F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6211" y="315080"/>
              <a:ext cx="1223334" cy="6700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8957780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7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7" y="4653171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7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836D10-519C-41B9-BA11-75FAA39FA5E8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EFA Club Licensing &amp; Financial Sustainability Annual Workshop 2022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228856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7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7" y="4653171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7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86110D-7C34-42C0-B05C-06BD1D356F66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EFA Club Licensing &amp; Financial Sustainability Annual Workshop 2022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5572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_half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418F9703-983A-8140-84AD-55F2F0D1F67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20907" y="1467165"/>
            <a:ext cx="4682421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D60D0D63-ADB3-3F43-8B3E-49BA3BEA921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-1"/>
            <a:ext cx="6096000" cy="685800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45EE0EF7-BB07-FF46-8BBB-4ACBB7124A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20907" y="4557650"/>
            <a:ext cx="4682421" cy="121515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EBA941A-E641-B444-9EDE-DF471733142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620907" y="3386917"/>
            <a:ext cx="4682421" cy="1015246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27" name="Tytuł 1">
            <a:extLst>
              <a:ext uri="{FF2B5EF4-FFF2-40B4-BE49-F238E27FC236}">
                <a16:creationId xmlns:a16="http://schemas.microsoft.com/office/drawing/2014/main" id="{BEB4EBF9-CC08-6F40-A449-CA3F226A9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0905" y="2401227"/>
            <a:ext cx="4682423" cy="440875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99E1AD6D-2107-4059-A5A3-2E6FC89D16C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84610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vider 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7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7" y="4653171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7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A0938CC-3F5C-4958-B7D4-C6F431561B62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EFA Club Licensing &amp; Financial Sustainability Annual Workshop 2022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192262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Divider 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7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7" y="4653171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7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2122F05-5C8A-4458-9416-4536DBE5ADC1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EFA Club Licensing &amp; Financial Sustainability Annual Workshop 2022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211420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Divider 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7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7" y="4653171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7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9D8B00-1557-4225-A978-54DE0264D324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EFA Club Licensing &amp; Financial Sustainability Annual Workshop 2022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536744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Divider 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7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7" y="4653171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7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2A13B90-5BE0-4B54-9FAD-46423DB2A5B3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EFA Club Licensing &amp; Financial Sustainability Annual Workshop 2022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834014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Divider 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7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7" y="4653171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7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49409B-3D23-4A79-81EC-7DA9F26C4CE9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EFA Club Licensing &amp; Financial Sustainability Annual Workshop 2022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296455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Divider 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7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7" y="4653171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7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0984F3-A93A-4F57-A170-59C79078EEDA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EFA Club Licensing &amp; Financial Sustainability Annual Workshop 2022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932900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Divider 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7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7" y="4653171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7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456B088-26B0-40D6-BF47-A15BA53CB28D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EFA Club Licensing &amp; Financial Sustainability Annual Workshop 2022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495996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Divider 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7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7" y="4653171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7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93FB2DE-03B7-439D-816E-E7597C287748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EFA Club Licensing &amp; Financial Sustainability Annual Workshop 2022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031934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Divider 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7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7" y="4653171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7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BC5A42-FC5F-4A57-A9A5-020D63307A35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EFA Club Licensing &amp; Financial Sustainability Annual Workshop 2022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693663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0_Divider 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7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7" y="4653171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7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8509B5-4AAD-4BD8-90BF-1144D8BAF2BE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EFA Club Licensing &amp; Financial Sustainability Annual Workshop 2022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84512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_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AF1ECEEA-374D-9043-BB00-26A386F2DC8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5864" y="0"/>
            <a:ext cx="3962778" cy="4434114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3E29B53B-339F-4180-8021-D6DDFB296C8C}"/>
              </a:ext>
            </a:extLst>
          </p:cNvPr>
          <p:cNvSpPr/>
          <p:nvPr userDrawn="1"/>
        </p:nvSpPr>
        <p:spPr>
          <a:xfrm>
            <a:off x="-1" y="4434114"/>
            <a:ext cx="3946915" cy="24238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8" name="Tytuł 1">
            <a:extLst>
              <a:ext uri="{FF2B5EF4-FFF2-40B4-BE49-F238E27FC236}">
                <a16:creationId xmlns:a16="http://schemas.microsoft.com/office/drawing/2014/main" id="{F6BC0242-D8EE-2C4F-9F92-63D6E60774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4120" y="2408014"/>
            <a:ext cx="6839413" cy="440875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7778E96-5404-AD47-83A5-021270E9AE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74121" y="1460598"/>
            <a:ext cx="6839413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780203A-BFFA-3048-AA87-4D52350831E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74120" y="3382851"/>
            <a:ext cx="6839413" cy="263694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imperdiet</a:t>
            </a:r>
            <a:r>
              <a:rPr lang="pl-PL"/>
              <a:t> </a:t>
            </a:r>
            <a:r>
              <a:rPr lang="pl-PL" err="1"/>
              <a:t>aliquet</a:t>
            </a:r>
            <a:r>
              <a:rPr lang="pl-PL"/>
              <a:t>. In </a:t>
            </a:r>
            <a:r>
              <a:rPr lang="pl-PL" err="1"/>
              <a:t>sodales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ultricies</a:t>
            </a:r>
            <a:r>
              <a:rPr lang="pl-PL"/>
              <a:t>.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CAC3FFF-CE94-C344-9FCB-4F85D73E047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5801" y="4820501"/>
            <a:ext cx="3223583" cy="119929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628E5E2F-2132-475A-B102-3EF9E365F2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40109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1_Divider 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7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7" y="4653171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7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B69C88-DEFE-40D1-8903-AE84533B3A16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EFA Club Licensing &amp; Financial Sustainability Annual Workshop 2022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477414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7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7" y="4653171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7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3E2896D-6291-4341-B223-9C0559CB899C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EFA Club Licensing &amp; Financial Sustainability Annual Workshop 2022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67366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ection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7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7" y="4653171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7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404D676-6504-4EB5-924B-5F5B6FDAF399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UEFA Club Licensing &amp; Financial Sustainability Annual Workshop 2022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87023108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ection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7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7" y="4653171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7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530553-FAE7-4D5B-926D-47D2D4EC8FB5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UEFA Club Licensing &amp; Financial Sustainability Annual Workshop 2022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10561711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ection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7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9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7" y="4653171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7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8BB350A-5A3C-4ED5-91ED-5F1B9E32835D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UEFA Club Licensing &amp; Financial Sustainability Annual Workshop 2022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2913152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02E2E0-C269-4480-BCB3-BD3127BBEDD6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6594" y="1304925"/>
            <a:ext cx="11337227" cy="49403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31081255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Lar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71068-ABC3-4076-B474-297C19BD02E6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6594" y="1304926"/>
            <a:ext cx="11337227" cy="4940299"/>
          </a:xfrm>
        </p:spPr>
        <p:txBody>
          <a:bodyPr>
            <a:normAutofit/>
          </a:bodyPr>
          <a:lstStyle>
            <a:lvl1pPr marL="0" indent="0">
              <a:spcBef>
                <a:spcPts val="599"/>
              </a:spcBef>
              <a:buFontTx/>
              <a:buNone/>
              <a:defRPr sz="3197"/>
            </a:lvl1pPr>
            <a:lvl2pPr marL="456743" indent="0">
              <a:buFontTx/>
              <a:buNone/>
              <a:defRPr/>
            </a:lvl2pPr>
            <a:lvl3pPr marL="913486" indent="0">
              <a:buFontTx/>
              <a:buNone/>
              <a:defRPr/>
            </a:lvl3pPr>
            <a:lvl4pPr marL="1370228" indent="0">
              <a:buFontTx/>
              <a:buNone/>
              <a:defRPr/>
            </a:lvl4pPr>
            <a:lvl5pPr marL="1826971" indent="0">
              <a:buFontTx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93682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286803-261B-4615-A920-F3B1081F1953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536017" y="1404939"/>
            <a:ext cx="11121553" cy="4840287"/>
          </a:xfrm>
        </p:spPr>
        <p:txBody>
          <a:bodyPr>
            <a:normAutofit/>
          </a:bodyPr>
          <a:lstStyle>
            <a:lvl1pPr marL="0" indent="0">
              <a:buNone/>
              <a:defRPr sz="3197" baseline="0"/>
            </a:lvl1pPr>
          </a:lstStyle>
          <a:p>
            <a:pPr lvl="0"/>
            <a:r>
              <a:rPr lang="en-GB" noProof="0"/>
              <a:t>Object only, no text</a:t>
            </a:r>
          </a:p>
        </p:txBody>
      </p:sp>
    </p:spTree>
    <p:extLst>
      <p:ext uri="{BB962C8B-B14F-4D97-AF65-F5344CB8AC3E}">
        <p14:creationId xmlns:p14="http://schemas.microsoft.com/office/powerpoint/2010/main" val="179290089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E1FB5-3E76-4F56-8D30-5947F9A8AEBD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UEFA Club Licensing &amp; Financial Sustainability Annual Workshop 2022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5714107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C10C6B-AE8B-4661-A08B-88F7F9704AC4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UEFA Club Licensing &amp; Financial Sustainability Annual Workshop 2022</a:t>
            </a:r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571709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_photo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D88B323C-7A6C-2345-A36D-1D32B8852AF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45084" y="0"/>
            <a:ext cx="3946915" cy="4434114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6" name="Prostokąt 3">
            <a:extLst>
              <a:ext uri="{FF2B5EF4-FFF2-40B4-BE49-F238E27FC236}">
                <a16:creationId xmlns:a16="http://schemas.microsoft.com/office/drawing/2014/main" id="{05B19B1F-1315-8540-80FF-321E6348E1FA}"/>
              </a:ext>
            </a:extLst>
          </p:cNvPr>
          <p:cNvSpPr/>
          <p:nvPr userDrawn="1"/>
        </p:nvSpPr>
        <p:spPr>
          <a:xfrm>
            <a:off x="8245085" y="4434114"/>
            <a:ext cx="3946915" cy="24238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pl-PL"/>
          </a:p>
        </p:txBody>
      </p:sp>
      <p:sp>
        <p:nvSpPr>
          <p:cNvPr id="18" name="Tytuł 1">
            <a:extLst>
              <a:ext uri="{FF2B5EF4-FFF2-40B4-BE49-F238E27FC236}">
                <a16:creationId xmlns:a16="http://schemas.microsoft.com/office/drawing/2014/main" id="{032000E8-4B0E-B340-97E3-182CE36946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576" y="2412279"/>
            <a:ext cx="6812196" cy="440875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24" name="Symbol zastępczy numeru slajdu 5">
            <a:extLst>
              <a:ext uri="{FF2B5EF4-FFF2-40B4-BE49-F238E27FC236}">
                <a16:creationId xmlns:a16="http://schemas.microsoft.com/office/drawing/2014/main" id="{C77FE608-EFD4-7B4E-AE82-97D11A4B8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CE74BD8B-E300-7247-9BC0-626BF672A5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576" y="1466065"/>
            <a:ext cx="6812196" cy="1008876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2E26EB-9790-974E-BBFC-F58084C7590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576" y="3290080"/>
            <a:ext cx="6812196" cy="272971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imperdiet</a:t>
            </a:r>
            <a:r>
              <a:rPr lang="pl-PL"/>
              <a:t> </a:t>
            </a:r>
            <a:r>
              <a:rPr lang="pl-PL" err="1"/>
              <a:t>aliquet</a:t>
            </a:r>
            <a:r>
              <a:rPr lang="pl-PL"/>
              <a:t>. In </a:t>
            </a:r>
            <a:r>
              <a:rPr lang="pl-PL" err="1"/>
              <a:t>sodales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ultricies</a:t>
            </a:r>
            <a:r>
              <a:rPr lang="pl-PL"/>
              <a:t>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4416197-AE21-ED44-A548-A147D4165F2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06750" y="4820501"/>
            <a:ext cx="3223583" cy="119929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A3684818-52BE-4442-95DD-E42CA92F18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2463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6594" y="1304925"/>
            <a:ext cx="5488619" cy="4940300"/>
          </a:xfrm>
        </p:spPr>
        <p:txBody>
          <a:bodyPr>
            <a:normAutofit/>
          </a:bodyPr>
          <a:lstStyle>
            <a:lvl1pPr>
              <a:defRPr sz="1998"/>
            </a:lvl1pPr>
            <a:lvl2pPr>
              <a:defRPr sz="1998"/>
            </a:lvl2pPr>
            <a:lvl3pPr>
              <a:defRPr sz="1998"/>
            </a:lvl3pPr>
            <a:lvl4pPr>
              <a:defRPr sz="1998"/>
            </a:lvl4pPr>
            <a:lvl5pPr>
              <a:defRPr sz="1998"/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202" y="1304925"/>
            <a:ext cx="5488620" cy="4940300"/>
          </a:xfrm>
        </p:spPr>
        <p:txBody>
          <a:bodyPr>
            <a:normAutofit/>
          </a:bodyPr>
          <a:lstStyle>
            <a:lvl1pPr>
              <a:defRPr sz="1998"/>
            </a:lvl1pPr>
            <a:lvl2pPr>
              <a:defRPr sz="1998"/>
            </a:lvl2pPr>
            <a:lvl3pPr>
              <a:defRPr sz="1998"/>
            </a:lvl3pPr>
            <a:lvl4pPr>
              <a:defRPr sz="1998"/>
            </a:lvl4pPr>
            <a:lvl5pPr>
              <a:defRPr sz="1998"/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49EAC9-8B85-4C3E-8FDD-28623BF0094B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6879560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94" y="441434"/>
            <a:ext cx="11337227" cy="467216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6594" y="1304925"/>
            <a:ext cx="5488619" cy="4940300"/>
          </a:xfrm>
        </p:spPr>
        <p:txBody>
          <a:bodyPr>
            <a:normAutofit/>
          </a:bodyPr>
          <a:lstStyle>
            <a:lvl1pPr>
              <a:defRPr sz="1998"/>
            </a:lvl1pPr>
            <a:lvl2pPr>
              <a:defRPr sz="1998"/>
            </a:lvl2pPr>
            <a:lvl3pPr>
              <a:defRPr sz="1998"/>
            </a:lvl3pPr>
            <a:lvl4pPr>
              <a:defRPr sz="1998"/>
            </a:lvl4pPr>
            <a:lvl5pPr>
              <a:defRPr sz="1998"/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202" y="1304925"/>
            <a:ext cx="5488620" cy="4940300"/>
          </a:xfrm>
        </p:spPr>
        <p:txBody>
          <a:bodyPr>
            <a:normAutofit/>
          </a:bodyPr>
          <a:lstStyle>
            <a:lvl1pPr>
              <a:defRPr sz="1998"/>
            </a:lvl1pPr>
            <a:lvl2pPr>
              <a:defRPr sz="1998"/>
            </a:lvl2pPr>
            <a:lvl3pPr>
              <a:defRPr sz="1998"/>
            </a:lvl3pPr>
            <a:lvl4pPr>
              <a:defRPr sz="1998"/>
            </a:lvl4pPr>
            <a:lvl5pPr>
              <a:defRPr sz="1998"/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E8AA30-943E-4D30-9F5C-3F56BD1C72A5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426594" y="908651"/>
            <a:ext cx="5488620" cy="396275"/>
          </a:xfrm>
        </p:spPr>
        <p:txBody>
          <a:bodyPr anchor="ctr">
            <a:normAutofit/>
          </a:bodyPr>
          <a:lstStyle>
            <a:lvl1pPr marL="0" indent="0">
              <a:buNone/>
              <a:defRPr sz="2198" b="0">
                <a:latin typeface="UEFA Colosseum" pitchFamily="2" charset="0"/>
              </a:defRPr>
            </a:lvl1pPr>
            <a:lvl2pPr marL="456743" indent="0">
              <a:buNone/>
              <a:defRPr sz="1998" b="1"/>
            </a:lvl2pPr>
            <a:lvl3pPr marL="913486" indent="0">
              <a:buNone/>
              <a:defRPr sz="1798" b="1"/>
            </a:lvl3pPr>
            <a:lvl4pPr marL="1370228" indent="0">
              <a:buNone/>
              <a:defRPr sz="1598" b="1"/>
            </a:lvl4pPr>
            <a:lvl5pPr marL="1826971" indent="0">
              <a:buNone/>
              <a:defRPr sz="1598" b="1"/>
            </a:lvl5pPr>
            <a:lvl6pPr marL="2283714" indent="0">
              <a:buNone/>
              <a:defRPr sz="1598" b="1"/>
            </a:lvl6pPr>
            <a:lvl7pPr marL="2740457" indent="0">
              <a:buNone/>
              <a:defRPr sz="1598" b="1"/>
            </a:lvl7pPr>
            <a:lvl8pPr marL="3197200" indent="0">
              <a:buNone/>
              <a:defRPr sz="1598" b="1"/>
            </a:lvl8pPr>
            <a:lvl9pPr marL="3653942" indent="0">
              <a:buNone/>
              <a:defRPr sz="1598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5202" y="908651"/>
            <a:ext cx="5488620" cy="396275"/>
          </a:xfrm>
        </p:spPr>
        <p:txBody>
          <a:bodyPr anchor="ctr">
            <a:normAutofit/>
          </a:bodyPr>
          <a:lstStyle>
            <a:lvl1pPr marL="0" indent="0">
              <a:buNone/>
              <a:defRPr sz="2198" b="0">
                <a:latin typeface="UEFA Colosseum" pitchFamily="2" charset="0"/>
              </a:defRPr>
            </a:lvl1pPr>
            <a:lvl2pPr marL="456743" indent="0">
              <a:buNone/>
              <a:defRPr sz="1998" b="1"/>
            </a:lvl2pPr>
            <a:lvl3pPr marL="913486" indent="0">
              <a:buNone/>
              <a:defRPr sz="1798" b="1"/>
            </a:lvl3pPr>
            <a:lvl4pPr marL="1370228" indent="0">
              <a:buNone/>
              <a:defRPr sz="1598" b="1"/>
            </a:lvl4pPr>
            <a:lvl5pPr marL="1826971" indent="0">
              <a:buNone/>
              <a:defRPr sz="1598" b="1"/>
            </a:lvl5pPr>
            <a:lvl6pPr marL="2283714" indent="0">
              <a:buNone/>
              <a:defRPr sz="1598" b="1"/>
            </a:lvl6pPr>
            <a:lvl7pPr marL="2740457" indent="0">
              <a:buNone/>
              <a:defRPr sz="1598" b="1"/>
            </a:lvl7pPr>
            <a:lvl8pPr marL="3197200" indent="0">
              <a:buNone/>
              <a:defRPr sz="1598" b="1"/>
            </a:lvl8pPr>
            <a:lvl9pPr marL="3653942" indent="0">
              <a:buNone/>
              <a:defRPr sz="1598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177267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6C28C9-52D0-4930-B543-E3A6046BB762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36016" y="1404939"/>
            <a:ext cx="5379197" cy="220503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275203" y="1404937"/>
            <a:ext cx="5382367" cy="220503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36016" y="4040189"/>
            <a:ext cx="5379197" cy="220503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6275201" y="4040189"/>
            <a:ext cx="5379197" cy="220503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20207478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s &amp;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BE7E81-8447-44C4-83D8-27313881D7E6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36016" y="1404939"/>
            <a:ext cx="5379197" cy="220503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275203" y="1404937"/>
            <a:ext cx="5382367" cy="220503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36016" y="4040189"/>
            <a:ext cx="5379197" cy="220503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6275201" y="4040189"/>
            <a:ext cx="5379197" cy="220503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31413" y="3607596"/>
            <a:ext cx="5528393" cy="177799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99" baseline="0"/>
            </a:lvl1pPr>
            <a:lvl2pPr marL="456743" indent="0">
              <a:buFontTx/>
              <a:buNone/>
              <a:defRPr sz="1399"/>
            </a:lvl2pPr>
            <a:lvl3pPr marL="913486" indent="0">
              <a:buFontTx/>
              <a:buNone/>
              <a:defRPr sz="1399"/>
            </a:lvl3pPr>
            <a:lvl4pPr marL="1370228" indent="0">
              <a:buFontTx/>
              <a:buNone/>
              <a:defRPr sz="1399"/>
            </a:lvl4pPr>
            <a:lvl5pPr marL="1826971" indent="0">
              <a:buFontTx/>
              <a:buNone/>
              <a:defRPr sz="1399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6181636" y="3607596"/>
            <a:ext cx="5582185" cy="177799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99" baseline="0"/>
            </a:lvl1pPr>
            <a:lvl2pPr marL="456743" indent="0">
              <a:buFontTx/>
              <a:buNone/>
              <a:defRPr sz="1399"/>
            </a:lvl2pPr>
            <a:lvl3pPr marL="913486" indent="0">
              <a:buFontTx/>
              <a:buNone/>
              <a:defRPr sz="1399"/>
            </a:lvl3pPr>
            <a:lvl4pPr marL="1370228" indent="0">
              <a:buFontTx/>
              <a:buNone/>
              <a:defRPr sz="1399"/>
            </a:lvl4pPr>
            <a:lvl5pPr marL="1826971" indent="0">
              <a:buFontTx/>
              <a:buNone/>
              <a:defRPr sz="1399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31413" y="6245226"/>
            <a:ext cx="5528393" cy="177799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99" baseline="0"/>
            </a:lvl1pPr>
            <a:lvl2pPr marL="456743" indent="0">
              <a:buFontTx/>
              <a:buNone/>
              <a:defRPr sz="1399"/>
            </a:lvl2pPr>
            <a:lvl3pPr marL="913486" indent="0">
              <a:buFontTx/>
              <a:buNone/>
              <a:defRPr sz="1399"/>
            </a:lvl3pPr>
            <a:lvl4pPr marL="1370228" indent="0">
              <a:buFontTx/>
              <a:buNone/>
              <a:defRPr sz="1399"/>
            </a:lvl4pPr>
            <a:lvl5pPr marL="1826971" indent="0">
              <a:buFontTx/>
              <a:buNone/>
              <a:defRPr sz="1399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81636" y="6245226"/>
            <a:ext cx="5579014" cy="177799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99" baseline="0"/>
            </a:lvl1pPr>
            <a:lvl2pPr marL="456743" indent="0">
              <a:buFontTx/>
              <a:buNone/>
              <a:defRPr sz="1399"/>
            </a:lvl2pPr>
            <a:lvl3pPr marL="913486" indent="0">
              <a:buFontTx/>
              <a:buNone/>
              <a:defRPr sz="1399"/>
            </a:lvl3pPr>
            <a:lvl4pPr marL="1370228" indent="0">
              <a:buFontTx/>
              <a:buNone/>
              <a:defRPr sz="1399"/>
            </a:lvl4pPr>
            <a:lvl5pPr marL="1826971" indent="0">
              <a:buFontTx/>
              <a:buNone/>
              <a:defRPr sz="1399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016004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1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12C13C-A7B4-47EC-808E-CCC74367DB8A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24917" y="1404938"/>
            <a:ext cx="1278195" cy="1592001"/>
          </a:xfrm>
        </p:spPr>
        <p:txBody>
          <a:bodyPr>
            <a:normAutofit/>
          </a:bodyPr>
          <a:lstStyle>
            <a:lvl1pPr>
              <a:defRPr sz="1798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2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524917" y="3029082"/>
            <a:ext cx="1278195" cy="1592001"/>
          </a:xfrm>
        </p:spPr>
        <p:txBody>
          <a:bodyPr>
            <a:normAutofit/>
          </a:bodyPr>
          <a:lstStyle>
            <a:lvl1pPr>
              <a:defRPr sz="1798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3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524917" y="4653225"/>
            <a:ext cx="1278195" cy="1592001"/>
          </a:xfrm>
        </p:spPr>
        <p:txBody>
          <a:bodyPr>
            <a:normAutofit/>
          </a:bodyPr>
          <a:lstStyle>
            <a:lvl1pPr>
              <a:defRPr sz="1798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4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2177370" y="1404938"/>
            <a:ext cx="1278195" cy="1592001"/>
          </a:xfrm>
        </p:spPr>
        <p:txBody>
          <a:bodyPr>
            <a:normAutofit/>
          </a:bodyPr>
          <a:lstStyle>
            <a:lvl1pPr>
              <a:defRPr sz="1798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5" name="Picture Placeholder 6"/>
          <p:cNvSpPr>
            <a:spLocks noGrp="1"/>
          </p:cNvSpPr>
          <p:nvPr>
            <p:ph type="pic" sz="quarter" idx="22"/>
          </p:nvPr>
        </p:nvSpPr>
        <p:spPr>
          <a:xfrm>
            <a:off x="2177370" y="3029082"/>
            <a:ext cx="1278195" cy="1592001"/>
          </a:xfrm>
        </p:spPr>
        <p:txBody>
          <a:bodyPr>
            <a:normAutofit/>
          </a:bodyPr>
          <a:lstStyle>
            <a:lvl1pPr>
              <a:defRPr sz="1798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6" name="Picture Placeholder 6"/>
          <p:cNvSpPr>
            <a:spLocks noGrp="1"/>
          </p:cNvSpPr>
          <p:nvPr>
            <p:ph type="pic" sz="quarter" idx="23"/>
          </p:nvPr>
        </p:nvSpPr>
        <p:spPr>
          <a:xfrm>
            <a:off x="2177370" y="4653225"/>
            <a:ext cx="1278195" cy="1592001"/>
          </a:xfrm>
        </p:spPr>
        <p:txBody>
          <a:bodyPr>
            <a:normAutofit/>
          </a:bodyPr>
          <a:lstStyle>
            <a:lvl1pPr>
              <a:defRPr sz="1798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7" name="Picture Placeholder 6"/>
          <p:cNvSpPr>
            <a:spLocks noGrp="1"/>
          </p:cNvSpPr>
          <p:nvPr>
            <p:ph type="pic" sz="quarter" idx="24"/>
          </p:nvPr>
        </p:nvSpPr>
        <p:spPr>
          <a:xfrm>
            <a:off x="3813965" y="1404938"/>
            <a:ext cx="1278195" cy="1592001"/>
          </a:xfrm>
        </p:spPr>
        <p:txBody>
          <a:bodyPr>
            <a:normAutofit/>
          </a:bodyPr>
          <a:lstStyle>
            <a:lvl1pPr>
              <a:defRPr sz="1798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5"/>
          </p:nvPr>
        </p:nvSpPr>
        <p:spPr>
          <a:xfrm>
            <a:off x="3813965" y="3029082"/>
            <a:ext cx="1278195" cy="1592001"/>
          </a:xfrm>
        </p:spPr>
        <p:txBody>
          <a:bodyPr>
            <a:normAutofit/>
          </a:bodyPr>
          <a:lstStyle>
            <a:lvl1pPr>
              <a:defRPr sz="1798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9" name="Picture Placeholder 6"/>
          <p:cNvSpPr>
            <a:spLocks noGrp="1"/>
          </p:cNvSpPr>
          <p:nvPr>
            <p:ph type="pic" sz="quarter" idx="26"/>
          </p:nvPr>
        </p:nvSpPr>
        <p:spPr>
          <a:xfrm>
            <a:off x="3813965" y="4653225"/>
            <a:ext cx="1278195" cy="1592001"/>
          </a:xfrm>
        </p:spPr>
        <p:txBody>
          <a:bodyPr>
            <a:normAutofit/>
          </a:bodyPr>
          <a:lstStyle>
            <a:lvl1pPr>
              <a:defRPr sz="1798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27"/>
          </p:nvPr>
        </p:nvSpPr>
        <p:spPr>
          <a:xfrm>
            <a:off x="5456903" y="1404938"/>
            <a:ext cx="1278195" cy="1592001"/>
          </a:xfrm>
        </p:spPr>
        <p:txBody>
          <a:bodyPr>
            <a:normAutofit/>
          </a:bodyPr>
          <a:lstStyle>
            <a:lvl1pPr>
              <a:defRPr sz="1798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1" name="Picture Placeholder 6"/>
          <p:cNvSpPr>
            <a:spLocks noGrp="1"/>
          </p:cNvSpPr>
          <p:nvPr>
            <p:ph type="pic" sz="quarter" idx="28"/>
          </p:nvPr>
        </p:nvSpPr>
        <p:spPr>
          <a:xfrm>
            <a:off x="5456903" y="3029082"/>
            <a:ext cx="1278195" cy="1592001"/>
          </a:xfrm>
        </p:spPr>
        <p:txBody>
          <a:bodyPr>
            <a:normAutofit/>
          </a:bodyPr>
          <a:lstStyle>
            <a:lvl1pPr>
              <a:defRPr sz="1798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2" name="Picture Placeholder 6"/>
          <p:cNvSpPr>
            <a:spLocks noGrp="1"/>
          </p:cNvSpPr>
          <p:nvPr>
            <p:ph type="pic" sz="quarter" idx="29"/>
          </p:nvPr>
        </p:nvSpPr>
        <p:spPr>
          <a:xfrm>
            <a:off x="5456903" y="4653225"/>
            <a:ext cx="1278195" cy="1592001"/>
          </a:xfrm>
        </p:spPr>
        <p:txBody>
          <a:bodyPr>
            <a:normAutofit/>
          </a:bodyPr>
          <a:lstStyle>
            <a:lvl1pPr>
              <a:defRPr sz="1798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3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7099841" y="1404938"/>
            <a:ext cx="1278195" cy="1592001"/>
          </a:xfrm>
        </p:spPr>
        <p:txBody>
          <a:bodyPr>
            <a:normAutofit/>
          </a:bodyPr>
          <a:lstStyle>
            <a:lvl1pPr>
              <a:defRPr sz="1798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4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7099841" y="3029082"/>
            <a:ext cx="1278195" cy="1592001"/>
          </a:xfrm>
        </p:spPr>
        <p:txBody>
          <a:bodyPr>
            <a:normAutofit/>
          </a:bodyPr>
          <a:lstStyle>
            <a:lvl1pPr>
              <a:defRPr sz="1798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5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7099841" y="4653225"/>
            <a:ext cx="1278195" cy="1592001"/>
          </a:xfrm>
        </p:spPr>
        <p:txBody>
          <a:bodyPr>
            <a:normAutofit/>
          </a:bodyPr>
          <a:lstStyle>
            <a:lvl1pPr>
              <a:defRPr sz="1798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6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8736903" y="1404938"/>
            <a:ext cx="1278195" cy="1592001"/>
          </a:xfrm>
        </p:spPr>
        <p:txBody>
          <a:bodyPr>
            <a:normAutofit/>
          </a:bodyPr>
          <a:lstStyle>
            <a:lvl1pPr>
              <a:defRPr sz="1798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7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8736903" y="3029082"/>
            <a:ext cx="1278195" cy="1592001"/>
          </a:xfrm>
        </p:spPr>
        <p:txBody>
          <a:bodyPr>
            <a:normAutofit/>
          </a:bodyPr>
          <a:lstStyle>
            <a:lvl1pPr>
              <a:defRPr sz="1798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8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736903" y="4653225"/>
            <a:ext cx="1278195" cy="1592001"/>
          </a:xfrm>
        </p:spPr>
        <p:txBody>
          <a:bodyPr>
            <a:normAutofit/>
          </a:bodyPr>
          <a:lstStyle>
            <a:lvl1pPr>
              <a:defRPr sz="1798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9" name="Picture Placeholder 6"/>
          <p:cNvSpPr>
            <a:spLocks noGrp="1"/>
          </p:cNvSpPr>
          <p:nvPr>
            <p:ph type="pic" sz="quarter" idx="36"/>
          </p:nvPr>
        </p:nvSpPr>
        <p:spPr>
          <a:xfrm>
            <a:off x="10379375" y="1404938"/>
            <a:ext cx="1278195" cy="1592001"/>
          </a:xfrm>
        </p:spPr>
        <p:txBody>
          <a:bodyPr>
            <a:normAutofit/>
          </a:bodyPr>
          <a:lstStyle>
            <a:lvl1pPr>
              <a:defRPr sz="1798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40" name="Picture Placeholder 6"/>
          <p:cNvSpPr>
            <a:spLocks noGrp="1"/>
          </p:cNvSpPr>
          <p:nvPr>
            <p:ph type="pic" sz="quarter" idx="37"/>
          </p:nvPr>
        </p:nvSpPr>
        <p:spPr>
          <a:xfrm>
            <a:off x="10379375" y="3029082"/>
            <a:ext cx="1278195" cy="1592001"/>
          </a:xfrm>
        </p:spPr>
        <p:txBody>
          <a:bodyPr>
            <a:normAutofit/>
          </a:bodyPr>
          <a:lstStyle>
            <a:lvl1pPr>
              <a:defRPr sz="1798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41" name="Picture Placeholder 6"/>
          <p:cNvSpPr>
            <a:spLocks noGrp="1"/>
          </p:cNvSpPr>
          <p:nvPr>
            <p:ph type="pic" sz="quarter" idx="38"/>
          </p:nvPr>
        </p:nvSpPr>
        <p:spPr>
          <a:xfrm>
            <a:off x="10379375" y="4653225"/>
            <a:ext cx="1278195" cy="1592001"/>
          </a:xfrm>
        </p:spPr>
        <p:txBody>
          <a:bodyPr>
            <a:normAutofit/>
          </a:bodyPr>
          <a:lstStyle>
            <a:lvl1pPr>
              <a:defRPr sz="1798"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76757798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C0036-1994-4E7F-990C-438431201155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7095084" y="1404937"/>
            <a:ext cx="4562485" cy="220503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7095084" y="4040189"/>
            <a:ext cx="4559314" cy="220503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36110" y="1317626"/>
            <a:ext cx="6300573" cy="492759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6878079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3EA306-896B-4F50-BF1C-44A34AA602E0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UEFA Club Licensing &amp; Financial Sustainability Annual Workshop 2022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36017" y="1404939"/>
            <a:ext cx="4559314" cy="220503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36017" y="4040189"/>
            <a:ext cx="4559314" cy="220503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5357874" y="1317625"/>
            <a:ext cx="6405948" cy="49276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5830690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B8FDC7-B1F3-47F2-B33A-B3EEB1C4120F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7095084" y="1404936"/>
            <a:ext cx="4562485" cy="484028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36110" y="1317626"/>
            <a:ext cx="6300573" cy="492759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965157370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F806F-8D8C-4DF6-A24B-B54C177E60ED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UEFA Club Licensing &amp; Financial Sustainability Annual Workshop 2022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36017" y="1404939"/>
            <a:ext cx="4559314" cy="484028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5357874" y="1317626"/>
            <a:ext cx="6405948" cy="49276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2527325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tion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94" y="441434"/>
            <a:ext cx="4668737" cy="755256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68D1D5-5889-4CDB-B3B9-2C7A37A8231A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UEFA Club Licensing &amp; Financial Sustainability Annual Workshop 2022</a:t>
            </a:r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5456903" y="549275"/>
            <a:ext cx="6200666" cy="56959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426594" y="1404939"/>
            <a:ext cx="4668736" cy="484028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998"/>
            </a:lvl1pPr>
            <a:lvl2pPr marL="456743" indent="0">
              <a:buFontTx/>
              <a:buNone/>
              <a:defRPr sz="1998"/>
            </a:lvl2pPr>
            <a:lvl3pPr marL="913486" indent="0">
              <a:buFontTx/>
              <a:buNone/>
              <a:defRPr sz="1998"/>
            </a:lvl3pPr>
            <a:lvl4pPr marL="1370228" indent="0">
              <a:buFontTx/>
              <a:buNone/>
              <a:defRPr sz="1998"/>
            </a:lvl4pPr>
            <a:lvl5pPr marL="1826971" indent="0">
              <a:buFontTx/>
              <a:buNone/>
              <a:defRPr sz="1998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99018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57426A-A550-2749-8370-54EBC27BB7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105650" y="0"/>
            <a:ext cx="5086350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36E9D73-088F-8D41-85B9-FA37DA5341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576" y="3290080"/>
            <a:ext cx="5692071" cy="245971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imperdiet</a:t>
            </a:r>
            <a:r>
              <a:rPr lang="pl-PL"/>
              <a:t> </a:t>
            </a:r>
            <a:r>
              <a:rPr lang="pl-PL" err="1"/>
              <a:t>aliquet</a:t>
            </a:r>
            <a:r>
              <a:rPr lang="pl-PL"/>
              <a:t>.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2A582AC1-4FEA-934C-A10A-133F5DFA0FB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72849" y="1455708"/>
            <a:ext cx="3023471" cy="245939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i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None/>
            </a:pPr>
            <a:r>
              <a:rPr lang="it-IT" err="1"/>
              <a:t>Suspendisse</a:t>
            </a:r>
            <a:r>
              <a:rPr lang="it-IT"/>
              <a:t> </a:t>
            </a:r>
            <a:r>
              <a:rPr lang="it-IT" err="1"/>
              <a:t>nec</a:t>
            </a:r>
            <a:r>
              <a:rPr lang="it-IT"/>
              <a:t> </a:t>
            </a:r>
            <a:r>
              <a:rPr lang="it-IT" err="1"/>
              <a:t>risus</a:t>
            </a:r>
            <a:r>
              <a:rPr lang="it-IT"/>
              <a:t> et </a:t>
            </a:r>
            <a:r>
              <a:rPr lang="it-IT" err="1"/>
              <a:t>risus</a:t>
            </a:r>
            <a:r>
              <a:rPr lang="it-IT"/>
              <a:t> gravida </a:t>
            </a:r>
            <a:r>
              <a:rPr lang="it-IT" err="1"/>
              <a:t>condimentum</a:t>
            </a:r>
            <a:r>
              <a:rPr lang="it-IT"/>
              <a:t> non </a:t>
            </a:r>
            <a:r>
              <a:rPr lang="it-IT" err="1"/>
              <a:t>at</a:t>
            </a:r>
            <a:r>
              <a:rPr lang="it-IT"/>
              <a:t> </a:t>
            </a:r>
            <a:r>
              <a:rPr lang="it-IT" err="1"/>
              <a:t>nunc</a:t>
            </a:r>
            <a:r>
              <a:rPr lang="it-IT"/>
              <a:t>. Nulla in libero odio.</a:t>
            </a:r>
            <a:r>
              <a:rPr lang="pl-PL"/>
              <a:t>”</a:t>
            </a:r>
            <a:r>
              <a:rPr lang="it-IT"/>
              <a:t> </a:t>
            </a:r>
            <a:endParaRPr lang="pl-PL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2F11A20-630A-B444-AF39-9D1727C37A2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632846" y="1403017"/>
            <a:ext cx="831145" cy="2459397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5000" b="1" i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None/>
            </a:pPr>
            <a:r>
              <a:rPr lang="en-US"/>
              <a:t>“</a:t>
            </a:r>
            <a:endParaRPr lang="pl-PL"/>
          </a:p>
        </p:txBody>
      </p:sp>
      <p:sp>
        <p:nvSpPr>
          <p:cNvPr id="15" name="Tytuł 1">
            <a:extLst>
              <a:ext uri="{FF2B5EF4-FFF2-40B4-BE49-F238E27FC236}">
                <a16:creationId xmlns:a16="http://schemas.microsoft.com/office/drawing/2014/main" id="{3C0D1142-5CFF-164F-99C0-4141EDE3D7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576" y="2412279"/>
            <a:ext cx="5692071" cy="440875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729BE3BF-51A0-6E43-BD3F-0BED08EF0F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576" y="1466065"/>
            <a:ext cx="5692071" cy="1008876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AFF5C035-7AFC-445F-BC6A-C2D82E3A314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20045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&amp;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67636" y="4941210"/>
            <a:ext cx="8058314" cy="426128"/>
          </a:xfrm>
        </p:spPr>
        <p:txBody>
          <a:bodyPr anchor="t">
            <a:normAutofit/>
          </a:bodyPr>
          <a:lstStyle>
            <a:lvl1pPr algn="l">
              <a:defRPr sz="2398" b="1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177370" y="549275"/>
            <a:ext cx="7838847" cy="4319925"/>
          </a:xfrm>
        </p:spPr>
        <p:txBody>
          <a:bodyPr/>
          <a:lstStyle>
            <a:lvl1pPr marL="0" indent="0">
              <a:buNone/>
              <a:defRPr sz="3197"/>
            </a:lvl1pPr>
            <a:lvl2pPr marL="456743" indent="0">
              <a:buNone/>
              <a:defRPr sz="2797"/>
            </a:lvl2pPr>
            <a:lvl3pPr marL="913486" indent="0">
              <a:buNone/>
              <a:defRPr sz="2398"/>
            </a:lvl3pPr>
            <a:lvl4pPr marL="1370228" indent="0">
              <a:buNone/>
              <a:defRPr sz="1998"/>
            </a:lvl4pPr>
            <a:lvl5pPr marL="1826971" indent="0">
              <a:buNone/>
              <a:defRPr sz="1998"/>
            </a:lvl5pPr>
            <a:lvl6pPr marL="2283714" indent="0">
              <a:buNone/>
              <a:defRPr sz="1998"/>
            </a:lvl6pPr>
            <a:lvl7pPr marL="2740457" indent="0">
              <a:buNone/>
              <a:defRPr sz="1998"/>
            </a:lvl7pPr>
            <a:lvl8pPr marL="3197200" indent="0">
              <a:buNone/>
              <a:defRPr sz="1998"/>
            </a:lvl8pPr>
            <a:lvl9pPr marL="3653942" indent="0">
              <a:buNone/>
              <a:defRPr sz="1998"/>
            </a:lvl9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67637" y="5445280"/>
            <a:ext cx="8058312" cy="799944"/>
          </a:xfrm>
        </p:spPr>
        <p:txBody>
          <a:bodyPr>
            <a:normAutofit/>
          </a:bodyPr>
          <a:lstStyle>
            <a:lvl1pPr marL="0" indent="0">
              <a:buNone/>
              <a:defRPr sz="1399"/>
            </a:lvl1pPr>
            <a:lvl2pPr marL="456743" indent="0">
              <a:buNone/>
              <a:defRPr sz="1199"/>
            </a:lvl2pPr>
            <a:lvl3pPr marL="913486" indent="0">
              <a:buNone/>
              <a:defRPr sz="999"/>
            </a:lvl3pPr>
            <a:lvl4pPr marL="1370228" indent="0">
              <a:buNone/>
              <a:defRPr sz="899"/>
            </a:lvl4pPr>
            <a:lvl5pPr marL="1826971" indent="0">
              <a:buNone/>
              <a:defRPr sz="899"/>
            </a:lvl5pPr>
            <a:lvl6pPr marL="2283714" indent="0">
              <a:buNone/>
              <a:defRPr sz="899"/>
            </a:lvl6pPr>
            <a:lvl7pPr marL="2740457" indent="0">
              <a:buNone/>
              <a:defRPr sz="899"/>
            </a:lvl7pPr>
            <a:lvl8pPr marL="3197200" indent="0">
              <a:buNone/>
              <a:defRPr sz="899"/>
            </a:lvl8pPr>
            <a:lvl9pPr marL="3653942" indent="0">
              <a:buNone/>
              <a:defRPr sz="899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857705-47E9-40C3-9094-7ECA0FEAD755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UEFA Club Licensing &amp; Financial Sustainability Annual Workshop 2022</a:t>
            </a:r>
            <a:endParaRPr lang="en-GB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89951357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8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8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8" y="4653173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4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1F5DB0-D152-4BF6-A253-BAFD01AE03A9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178455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8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8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8" y="4653173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4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7B5484E-FD84-46DD-9856-C5B3401BE73E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906890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vider 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8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8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8" y="4653173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4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526E69-BEC4-44E9-8C1B-37A5E85A7CDF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151610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Divider 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8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8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8" y="4653173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4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56F58A-5A2E-45A0-B7D7-9BF37843234A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267777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Divider 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8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8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8" y="4653173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4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AF65D56-C661-43DB-864F-07335E88986F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153363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Divider 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8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8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8" y="4653173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4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64CFFC-AE36-4A00-80A1-D223CB057515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49416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Divider 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8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8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8" y="4653173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4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A6D588-AF51-44A5-9EEA-1E7A57957ADA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989032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Divider 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8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8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8" y="4653173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4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5E394AE-1734-4BFD-919D-C250D090CF4E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6172261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Divider 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8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8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8" y="4653173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4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1B75185-B14C-43D2-9BFA-09EC8D028064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0094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_photo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7A597A3-760B-034F-96F1-6DDA1B383B5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51299" y="0"/>
            <a:ext cx="8140701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1314902-A424-CA4F-82B7-7D319E75ECF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3574" y="3028075"/>
            <a:ext cx="2628150" cy="2973032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8D154230-6519-5B49-9643-AEF3BFBC60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250" y="1467165"/>
            <a:ext cx="2628150" cy="1389628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Title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90D9A7AD-6FC5-436B-A9D3-108F954F417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476215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Divider 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8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8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8" y="4653173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4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BFA692-B984-48DE-B915-1509A45C8288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839740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Divider 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8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8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8" y="4653173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4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33A23AE-2141-426A-A893-8F9B37B6047E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849019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0_Divider 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8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8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8" y="4653173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4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7AE2A6-340F-4203-8A74-CF9B6DC33D91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357672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1_Divider Section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8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8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8" y="4653173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4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BEB10A0-3FA4-47A9-9750-4528FBFCB718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381834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8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8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8" y="4653173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4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EB14F6-4BE8-4909-8DDB-510C8ABF954D}" type="datetime1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915276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ection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8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8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8" y="4653173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4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A9E2C5-2AD2-460D-AD8E-F03B3ED0C060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2932852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ection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8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8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8" y="4653173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4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B284B5C-B496-4C07-8517-16AF0BD70C6C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45106385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Section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638" y="4293120"/>
            <a:ext cx="9696185" cy="288040"/>
          </a:xfrm>
        </p:spPr>
        <p:txBody>
          <a:bodyPr anchor="ctr">
            <a:noAutofit/>
          </a:bodyPr>
          <a:lstStyle>
            <a:lvl1pPr algn="l">
              <a:defRPr sz="1398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67638" y="4653173"/>
            <a:ext cx="9696185" cy="1592055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3194" baseline="0">
                <a:solidFill>
                  <a:schemeClr val="bg1"/>
                </a:solidFill>
                <a:latin typeface="UEFA Colosseum" pitchFamily="2" charset="0"/>
              </a:defRPr>
            </a:lvl1pPr>
            <a:lvl2pPr marL="456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Messa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8A23CD7-902B-4DDC-BFB9-28DADEBC4F5D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8195233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DFD56-D47A-4773-A47E-5BD8D1F1BC0E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6595" y="1304925"/>
            <a:ext cx="11337227" cy="49403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25717542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Lar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E88EB6-59B1-4496-8072-8CC2C45BD933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6595" y="1304926"/>
            <a:ext cx="11337227" cy="4940299"/>
          </a:xfrm>
        </p:spPr>
        <p:txBody>
          <a:bodyPr>
            <a:normAutofit/>
          </a:bodyPr>
          <a:lstStyle>
            <a:lvl1pPr marL="0" indent="0">
              <a:spcBef>
                <a:spcPts val="598"/>
              </a:spcBef>
              <a:buFontTx/>
              <a:buNone/>
              <a:defRPr sz="3194"/>
            </a:lvl1pPr>
            <a:lvl2pPr marL="456286" indent="0">
              <a:buFontTx/>
              <a:buNone/>
              <a:defRPr/>
            </a:lvl2pPr>
            <a:lvl3pPr marL="912573" indent="0">
              <a:buFontTx/>
              <a:buNone/>
              <a:defRPr/>
            </a:lvl3pPr>
            <a:lvl4pPr marL="1368858" indent="0">
              <a:buFontTx/>
              <a:buNone/>
              <a:defRPr/>
            </a:lvl4pPr>
            <a:lvl5pPr marL="1825144" indent="0">
              <a:buFontTx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52184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_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976C4BDE-3F0A-0C44-A6FF-8078CF0DC01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8140701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5" name="Symbol zastępczy numeru slajdu 5">
            <a:extLst>
              <a:ext uri="{FF2B5EF4-FFF2-40B4-BE49-F238E27FC236}">
                <a16:creationId xmlns:a16="http://schemas.microsoft.com/office/drawing/2014/main" id="{4F9AFD66-8230-EA46-9578-E8517B113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504A461-4EF5-034A-AFB8-E45B8CCB018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90272" y="3036791"/>
            <a:ext cx="2628150" cy="296431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66FD4FB-DDB4-F541-A9F6-FBD6DC3F476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90273" y="1467165"/>
            <a:ext cx="2628149" cy="1389628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Title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0EC5F6BF-32CB-4C0E-A3F3-58F653F0F1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174656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31B150-4393-4F75-9F1F-41FB8D202AE8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536018" y="1404941"/>
            <a:ext cx="11121553" cy="4840287"/>
          </a:xfrm>
        </p:spPr>
        <p:txBody>
          <a:bodyPr>
            <a:normAutofit/>
          </a:bodyPr>
          <a:lstStyle>
            <a:lvl1pPr marL="0" indent="0">
              <a:buNone/>
              <a:defRPr sz="3194" baseline="0"/>
            </a:lvl1pPr>
          </a:lstStyle>
          <a:p>
            <a:pPr lvl="0"/>
            <a:r>
              <a:rPr lang="en-GB" noProof="0"/>
              <a:t>Object only, no text</a:t>
            </a:r>
          </a:p>
        </p:txBody>
      </p:sp>
    </p:spTree>
    <p:extLst>
      <p:ext uri="{BB962C8B-B14F-4D97-AF65-F5344CB8AC3E}">
        <p14:creationId xmlns:p14="http://schemas.microsoft.com/office/powerpoint/2010/main" val="380181836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14DFAA-A495-462E-8D26-03BCF7FB0EA6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93511666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2461DB-91EC-4000-BF86-DD249E5435B8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0869067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3C6B42-2CA9-4036-96BB-AF11ACFB8222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7095084" y="1404937"/>
            <a:ext cx="4562485" cy="220503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7095085" y="4040191"/>
            <a:ext cx="4559314" cy="220503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36111" y="1317628"/>
            <a:ext cx="6300573" cy="492759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52677669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047753-9AF3-4BBB-9D71-21C4C643192B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36017" y="1404941"/>
            <a:ext cx="4559314" cy="220503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36017" y="4040191"/>
            <a:ext cx="4559314" cy="220503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5357874" y="1317625"/>
            <a:ext cx="6405948" cy="49276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8123753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D3EBB-21D5-4F96-8C92-A33F0017131B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7095084" y="1404936"/>
            <a:ext cx="4562485" cy="484028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36111" y="1317628"/>
            <a:ext cx="6300573" cy="492759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52261313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B1FCE1-BC6E-43C8-933E-C1B505474BD6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36017" y="1404941"/>
            <a:ext cx="4559314" cy="484028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5357874" y="1317626"/>
            <a:ext cx="6405948" cy="49276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50722250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ption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594" y="441434"/>
            <a:ext cx="4668737" cy="755256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8D35F-0650-4CEE-92D4-01DDD0F21F0E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5456903" y="549275"/>
            <a:ext cx="6200666" cy="56959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426595" y="1404939"/>
            <a:ext cx="4668736" cy="484028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996"/>
            </a:lvl1pPr>
            <a:lvl2pPr marL="456286" indent="0">
              <a:buFontTx/>
              <a:buNone/>
              <a:defRPr sz="1996"/>
            </a:lvl2pPr>
            <a:lvl3pPr marL="912573" indent="0">
              <a:buFontTx/>
              <a:buNone/>
              <a:defRPr sz="1996"/>
            </a:lvl3pPr>
            <a:lvl4pPr marL="1368858" indent="0">
              <a:buFontTx/>
              <a:buNone/>
              <a:defRPr sz="1996"/>
            </a:lvl4pPr>
            <a:lvl5pPr marL="1825144" indent="0">
              <a:buFontTx/>
              <a:buNone/>
              <a:defRPr sz="1996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4127383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&amp;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67636" y="4941210"/>
            <a:ext cx="8058314" cy="426128"/>
          </a:xfrm>
        </p:spPr>
        <p:txBody>
          <a:bodyPr anchor="t">
            <a:normAutofit/>
          </a:bodyPr>
          <a:lstStyle>
            <a:lvl1pPr algn="l">
              <a:defRPr sz="2396" b="1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177371" y="549277"/>
            <a:ext cx="7838847" cy="4319925"/>
          </a:xfrm>
        </p:spPr>
        <p:txBody>
          <a:bodyPr/>
          <a:lstStyle>
            <a:lvl1pPr marL="0" indent="0">
              <a:buNone/>
              <a:defRPr sz="3194"/>
            </a:lvl1pPr>
            <a:lvl2pPr marL="456286" indent="0">
              <a:buNone/>
              <a:defRPr sz="2794"/>
            </a:lvl2pPr>
            <a:lvl3pPr marL="912573" indent="0">
              <a:buNone/>
              <a:defRPr sz="2396"/>
            </a:lvl3pPr>
            <a:lvl4pPr marL="1368858" indent="0">
              <a:buNone/>
              <a:defRPr sz="1996"/>
            </a:lvl4pPr>
            <a:lvl5pPr marL="1825144" indent="0">
              <a:buNone/>
              <a:defRPr sz="1996"/>
            </a:lvl5pPr>
            <a:lvl6pPr marL="2281430" indent="0">
              <a:buNone/>
              <a:defRPr sz="1996"/>
            </a:lvl6pPr>
            <a:lvl7pPr marL="2737717" indent="0">
              <a:buNone/>
              <a:defRPr sz="1996"/>
            </a:lvl7pPr>
            <a:lvl8pPr marL="3194003" indent="0">
              <a:buNone/>
              <a:defRPr sz="1996"/>
            </a:lvl8pPr>
            <a:lvl9pPr marL="3650288" indent="0">
              <a:buNone/>
              <a:defRPr sz="1996"/>
            </a:lvl9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67637" y="5445280"/>
            <a:ext cx="8058312" cy="799944"/>
          </a:xfrm>
        </p:spPr>
        <p:txBody>
          <a:bodyPr>
            <a:normAutofit/>
          </a:bodyPr>
          <a:lstStyle>
            <a:lvl1pPr marL="0" indent="0">
              <a:buNone/>
              <a:defRPr sz="1398"/>
            </a:lvl1pPr>
            <a:lvl2pPr marL="456286" indent="0">
              <a:buNone/>
              <a:defRPr sz="1198"/>
            </a:lvl2pPr>
            <a:lvl3pPr marL="912573" indent="0">
              <a:buNone/>
              <a:defRPr sz="998"/>
            </a:lvl3pPr>
            <a:lvl4pPr marL="1368858" indent="0">
              <a:buNone/>
              <a:defRPr sz="898"/>
            </a:lvl4pPr>
            <a:lvl5pPr marL="1825144" indent="0">
              <a:buNone/>
              <a:defRPr sz="898"/>
            </a:lvl5pPr>
            <a:lvl6pPr marL="2281430" indent="0">
              <a:buNone/>
              <a:defRPr sz="898"/>
            </a:lvl6pPr>
            <a:lvl7pPr marL="2737717" indent="0">
              <a:buNone/>
              <a:defRPr sz="898"/>
            </a:lvl7pPr>
            <a:lvl8pPr marL="3194003" indent="0">
              <a:buNone/>
              <a:defRPr sz="898"/>
            </a:lvl8pPr>
            <a:lvl9pPr marL="3650288" indent="0">
              <a:buNone/>
              <a:defRPr sz="898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15DF5-1F77-4BBE-8E14-6E2C1F658490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2692090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7DA32-218B-4A98-BA5B-1620ED4C87F5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96295-B7D5-403D-8865-3EAE0E3611E5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6594" y="1304926"/>
            <a:ext cx="11337228" cy="49403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35069D2-2DBB-494A-B7EE-9996C9D25456}"/>
              </a:ext>
            </a:extLst>
          </p:cNvPr>
          <p:cNvSpPr txBox="1"/>
          <p:nvPr userDrawn="1"/>
        </p:nvSpPr>
        <p:spPr>
          <a:xfrm>
            <a:off x="8787803" y="66678"/>
            <a:ext cx="2962364" cy="246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97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0091212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1DD86EA-EA42-44C7-8A4A-0066D92A8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578" y="1759729"/>
            <a:ext cx="6465218" cy="1032526"/>
          </a:xfrm>
        </p:spPr>
        <p:txBody>
          <a:bodyPr anchor="b">
            <a:noAutofit/>
          </a:bodyPr>
          <a:lstStyle>
            <a:lvl1pPr>
              <a:defRPr sz="5500" b="1">
                <a:solidFill>
                  <a:schemeClr val="tx1"/>
                </a:solidFill>
              </a:defRPr>
            </a:lvl1pPr>
          </a:lstStyle>
          <a:p>
            <a:r>
              <a:rPr lang="pl-PL"/>
              <a:t>Agenda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DAA3A8F5-9D41-4044-A68D-5DA4A767332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3578" y="3137245"/>
            <a:ext cx="6465219" cy="2877661"/>
          </a:xfrm>
        </p:spPr>
        <p:txBody>
          <a:bodyPr>
            <a:noAutofit/>
          </a:bodyPr>
          <a:lstStyle>
            <a:lvl1pPr marL="514350" marR="0" indent="-51435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rabicPeriod"/>
              <a:tabLst/>
              <a:defRPr sz="2400" b="0" i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</a:t>
            </a:r>
          </a:p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</a:t>
            </a:r>
          </a:p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E216245F-23B8-415E-9B16-3CDC42FB6A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D5B67A01-B87F-437B-ADF6-66164C9CDA1D}" type="slidenum">
              <a:rPr lang="pl-PL" smtClean="0"/>
              <a:pPr/>
              <a:t>‹#›</a:t>
            </a:fld>
            <a:r>
              <a:rPr lang="pl-PL"/>
              <a:t> 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C1F7378-57A6-394E-AE98-91A760952C0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21649" y="0"/>
            <a:ext cx="4070351" cy="68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pic>
        <p:nvPicPr>
          <p:cNvPr id="7" name="Obraz 6" descr="Obraz zawierający znak, zegar&#10;&#10;Opis wygenerowany automatycznie">
            <a:extLst>
              <a:ext uri="{FF2B5EF4-FFF2-40B4-BE49-F238E27FC236}">
                <a16:creationId xmlns:a16="http://schemas.microsoft.com/office/drawing/2014/main" id="{A775012A-FA67-4EDF-87A8-9F8B04F42D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622" y="289845"/>
            <a:ext cx="1885007" cy="1032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5589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2474C331-BB04-064A-9065-43BA5093DCE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44001" y="0"/>
            <a:ext cx="3048000" cy="3429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CAD2ED91-D3C7-804A-AC4D-38223674078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00787" y="0"/>
            <a:ext cx="3048000" cy="3429000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76ACFEEA-5155-F745-AA53-E53D7A2C458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144001" y="3429000"/>
            <a:ext cx="3048000" cy="3429000"/>
          </a:xfr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B8EEC9A6-A00A-304E-9E1B-6457B4B763E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00787" y="3429000"/>
            <a:ext cx="3048000" cy="3429000"/>
          </a:xfrm>
          <a:blipFill>
            <a:blip r:embed="rId5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0" name="Tytuł 1">
            <a:extLst>
              <a:ext uri="{FF2B5EF4-FFF2-40B4-BE49-F238E27FC236}">
                <a16:creationId xmlns:a16="http://schemas.microsoft.com/office/drawing/2014/main" id="{BEA94BF6-C721-49E5-8669-A9C293F51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428" y="1470931"/>
            <a:ext cx="4684939" cy="829418"/>
          </a:xfrm>
        </p:spPr>
        <p:txBody>
          <a:bodyPr anchor="b">
            <a:normAutofit/>
          </a:bodyPr>
          <a:lstStyle>
            <a:lvl1pPr>
              <a:defRPr sz="3000" b="1" spc="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</a:t>
            </a:r>
            <a:r>
              <a:rPr lang="pl-PL" err="1"/>
              <a:t>paragraph</a:t>
            </a:r>
            <a:endParaRPr lang="pl-PL"/>
          </a:p>
        </p:txBody>
      </p:sp>
      <p:sp>
        <p:nvSpPr>
          <p:cNvPr id="18" name="Text Placeholder 60">
            <a:extLst>
              <a:ext uri="{FF2B5EF4-FFF2-40B4-BE49-F238E27FC236}">
                <a16:creationId xmlns:a16="http://schemas.microsoft.com/office/drawing/2014/main" id="{55EC8E82-A0B8-1346-B16A-C4D81298EB7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67428" y="4283359"/>
            <a:ext cx="4688572" cy="1697376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21" name="Text Placeholder 60">
            <a:extLst>
              <a:ext uri="{FF2B5EF4-FFF2-40B4-BE49-F238E27FC236}">
                <a16:creationId xmlns:a16="http://schemas.microsoft.com/office/drawing/2014/main" id="{43D40684-6F32-2E41-B8D2-F548AF210F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67428" y="2545890"/>
            <a:ext cx="4684940" cy="1547139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F524CA45-116A-4FC8-BCC8-61EEEE16469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33124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lide_1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DB29E8E1-0F07-6940-803A-EA28727ACA0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347" y="335280"/>
            <a:ext cx="1820897" cy="997410"/>
          </a:xfrm>
          <a:prstGeom prst="rect">
            <a:avLst/>
          </a:prstGeom>
        </p:spPr>
      </p:pic>
      <p:sp>
        <p:nvSpPr>
          <p:cNvPr id="8" name="Podtytuł 2">
            <a:extLst>
              <a:ext uri="{FF2B5EF4-FFF2-40B4-BE49-F238E27FC236}">
                <a16:creationId xmlns:a16="http://schemas.microsoft.com/office/drawing/2014/main" id="{147CD47C-C020-F241-B4C1-3C16626BAA1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8048" y="3602038"/>
            <a:ext cx="10447652" cy="165576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err="1"/>
              <a:t>This</a:t>
            </a:r>
            <a:r>
              <a:rPr lang="pl-PL"/>
              <a:t> </a:t>
            </a:r>
            <a:r>
              <a:rPr lang="pl-PL" err="1"/>
              <a:t>is</a:t>
            </a:r>
            <a:r>
              <a:rPr lang="pl-PL"/>
              <a:t> </a:t>
            </a:r>
            <a:r>
              <a:rPr lang="pl-PL" err="1"/>
              <a:t>template</a:t>
            </a:r>
            <a:r>
              <a:rPr lang="pl-PL"/>
              <a:t> of Presentation. </a:t>
            </a:r>
            <a:r>
              <a:rPr lang="pl-PL" err="1"/>
              <a:t>Let’s</a:t>
            </a:r>
            <a:r>
              <a:rPr lang="pl-PL"/>
              <a:t> </a:t>
            </a:r>
            <a:r>
              <a:rPr lang="pl-PL" err="1"/>
              <a:t>Create</a:t>
            </a:r>
            <a:r>
              <a:rPr lang="pl-PL"/>
              <a:t>!</a:t>
            </a:r>
          </a:p>
        </p:txBody>
      </p:sp>
      <p:sp>
        <p:nvSpPr>
          <p:cNvPr id="9" name="Tytuł 1">
            <a:extLst>
              <a:ext uri="{FF2B5EF4-FFF2-40B4-BE49-F238E27FC236}">
                <a16:creationId xmlns:a16="http://schemas.microsoft.com/office/drawing/2014/main" id="{CA566E6B-81BE-394A-82C9-87A88E5263E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8048" y="1332689"/>
            <a:ext cx="10447652" cy="2177274"/>
          </a:xfrm>
        </p:spPr>
        <p:txBody>
          <a:bodyPr anchor="b">
            <a:normAutofit/>
          </a:bodyPr>
          <a:lstStyle>
            <a:lvl1pPr algn="l">
              <a:defRPr sz="5500" b="1" spc="-15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/>
              <a:t>Hello World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38C9061-3B8C-694C-8260-724E8F3EFF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8363" y="5788506"/>
            <a:ext cx="9643043" cy="338138"/>
          </a:xfrm>
        </p:spPr>
        <p:txBody>
          <a:bodyPr/>
          <a:lstStyle>
            <a:lvl1pPr>
              <a:buNone/>
              <a:defRPr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buNone/>
              <a:defRPr b="1">
                <a:solidFill>
                  <a:schemeClr val="bg1"/>
                </a:solidFill>
              </a:defRPr>
            </a:lvl2pPr>
            <a:lvl3pPr>
              <a:buNone/>
              <a:defRPr b="1">
                <a:solidFill>
                  <a:schemeClr val="bg1"/>
                </a:solidFill>
              </a:defRPr>
            </a:lvl3pPr>
            <a:lvl4pPr>
              <a:buNone/>
              <a:defRPr b="1">
                <a:solidFill>
                  <a:schemeClr val="bg1"/>
                </a:solidFill>
              </a:defRPr>
            </a:lvl4pPr>
            <a:lvl5pPr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Geneva, </a:t>
            </a:r>
            <a:r>
              <a:rPr lang="en-GB" err="1"/>
              <a:t>Feiday</a:t>
            </a:r>
            <a:r>
              <a:rPr lang="en-GB"/>
              <a:t> 26 June 2020</a:t>
            </a:r>
          </a:p>
        </p:txBody>
      </p:sp>
    </p:spTree>
    <p:extLst>
      <p:ext uri="{BB962C8B-B14F-4D97-AF65-F5344CB8AC3E}">
        <p14:creationId xmlns:p14="http://schemas.microsoft.com/office/powerpoint/2010/main" val="1920118490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lide_2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6983A926-9602-3E46-8F16-6D5538126A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4126" y="0"/>
            <a:ext cx="12196126" cy="6858000"/>
          </a:xfrm>
          <a:prstGeom prst="rect">
            <a:avLst/>
          </a:prstGeom>
          <a:blipFill dpi="0" rotWithShape="1">
            <a:blip r:embed="rId3">
              <a:alphaModFix amt="20000"/>
            </a:blip>
            <a:srcRect/>
            <a:stretch>
              <a:fillRect/>
            </a:stretch>
          </a:blipFill>
          <a:effectLst>
            <a:outerShdw sx="1000" sy="1000" algn="ctr" rotWithShape="0">
              <a:srgbClr val="000000"/>
            </a:outerShdw>
          </a:effectLst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VN"/>
          </a:p>
        </p:txBody>
      </p:sp>
      <p:pic>
        <p:nvPicPr>
          <p:cNvPr id="7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DB29E8E1-0F07-6940-803A-EA28727ACA0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347" y="335280"/>
            <a:ext cx="1820897" cy="997410"/>
          </a:xfrm>
          <a:prstGeom prst="rect">
            <a:avLst/>
          </a:prstGeom>
        </p:spPr>
      </p:pic>
      <p:sp>
        <p:nvSpPr>
          <p:cNvPr id="8" name="Podtytuł 2">
            <a:extLst>
              <a:ext uri="{FF2B5EF4-FFF2-40B4-BE49-F238E27FC236}">
                <a16:creationId xmlns:a16="http://schemas.microsoft.com/office/drawing/2014/main" id="{147CD47C-C020-F241-B4C1-3C16626BAA1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8048" y="3602038"/>
            <a:ext cx="10447652" cy="165576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err="1"/>
              <a:t>This</a:t>
            </a:r>
            <a:r>
              <a:rPr lang="pl-PL"/>
              <a:t> </a:t>
            </a:r>
            <a:r>
              <a:rPr lang="pl-PL" err="1"/>
              <a:t>is</a:t>
            </a:r>
            <a:r>
              <a:rPr lang="pl-PL"/>
              <a:t> </a:t>
            </a:r>
            <a:r>
              <a:rPr lang="pl-PL" err="1"/>
              <a:t>template</a:t>
            </a:r>
            <a:r>
              <a:rPr lang="pl-PL"/>
              <a:t> of Presentation. </a:t>
            </a:r>
            <a:r>
              <a:rPr lang="pl-PL" err="1"/>
              <a:t>Let’s</a:t>
            </a:r>
            <a:r>
              <a:rPr lang="pl-PL"/>
              <a:t> </a:t>
            </a:r>
            <a:r>
              <a:rPr lang="pl-PL" err="1"/>
              <a:t>Create</a:t>
            </a:r>
            <a:r>
              <a:rPr lang="pl-PL"/>
              <a:t>!</a:t>
            </a:r>
          </a:p>
        </p:txBody>
      </p:sp>
      <p:sp>
        <p:nvSpPr>
          <p:cNvPr id="9" name="Tytuł 1">
            <a:extLst>
              <a:ext uri="{FF2B5EF4-FFF2-40B4-BE49-F238E27FC236}">
                <a16:creationId xmlns:a16="http://schemas.microsoft.com/office/drawing/2014/main" id="{CA566E6B-81BE-394A-82C9-87A88E5263E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8048" y="1332689"/>
            <a:ext cx="10447652" cy="2177274"/>
          </a:xfrm>
        </p:spPr>
        <p:txBody>
          <a:bodyPr anchor="b">
            <a:normAutofit/>
          </a:bodyPr>
          <a:lstStyle>
            <a:lvl1pPr algn="l">
              <a:defRPr sz="5500" b="1" spc="-15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/>
              <a:t>Hello Worl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D81C82-F983-5145-8C90-D4FD9E216D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8363" y="5788506"/>
            <a:ext cx="9643043" cy="338138"/>
          </a:xfrm>
        </p:spPr>
        <p:txBody>
          <a:bodyPr/>
          <a:lstStyle>
            <a:lvl1pPr>
              <a:buNone/>
              <a:defRPr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buNone/>
              <a:defRPr b="1">
                <a:solidFill>
                  <a:schemeClr val="bg1"/>
                </a:solidFill>
              </a:defRPr>
            </a:lvl2pPr>
            <a:lvl3pPr>
              <a:buNone/>
              <a:defRPr b="1">
                <a:solidFill>
                  <a:schemeClr val="bg1"/>
                </a:solidFill>
              </a:defRPr>
            </a:lvl3pPr>
            <a:lvl4pPr>
              <a:buNone/>
              <a:defRPr b="1">
                <a:solidFill>
                  <a:schemeClr val="bg1"/>
                </a:solidFill>
              </a:defRPr>
            </a:lvl4pPr>
            <a:lvl5pPr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Geneva, </a:t>
            </a:r>
            <a:r>
              <a:rPr lang="en-GB" err="1"/>
              <a:t>Feiday</a:t>
            </a:r>
            <a:r>
              <a:rPr lang="en-GB"/>
              <a:t> 26 June 2020</a:t>
            </a:r>
          </a:p>
        </p:txBody>
      </p:sp>
    </p:spTree>
    <p:extLst>
      <p:ext uri="{BB962C8B-B14F-4D97-AF65-F5344CB8AC3E}">
        <p14:creationId xmlns:p14="http://schemas.microsoft.com/office/powerpoint/2010/main" val="302007510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slide_1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odtytuł 2">
            <a:extLst>
              <a:ext uri="{FF2B5EF4-FFF2-40B4-BE49-F238E27FC236}">
                <a16:creationId xmlns:a16="http://schemas.microsoft.com/office/drawing/2014/main" id="{147CD47C-C020-F241-B4C1-3C16626BAA1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8048" y="3602038"/>
            <a:ext cx="10447652" cy="165576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err="1"/>
              <a:t>This</a:t>
            </a:r>
            <a:r>
              <a:rPr lang="pl-PL"/>
              <a:t> </a:t>
            </a:r>
            <a:r>
              <a:rPr lang="pl-PL" err="1"/>
              <a:t>is</a:t>
            </a:r>
            <a:r>
              <a:rPr lang="pl-PL"/>
              <a:t> </a:t>
            </a:r>
            <a:r>
              <a:rPr lang="pl-PL" err="1"/>
              <a:t>template</a:t>
            </a:r>
            <a:r>
              <a:rPr lang="pl-PL"/>
              <a:t> of Presentation. </a:t>
            </a:r>
            <a:r>
              <a:rPr lang="pl-PL" err="1"/>
              <a:t>Let’s</a:t>
            </a:r>
            <a:r>
              <a:rPr lang="pl-PL"/>
              <a:t> </a:t>
            </a:r>
            <a:r>
              <a:rPr lang="pl-PL" err="1"/>
              <a:t>Create</a:t>
            </a:r>
            <a:r>
              <a:rPr lang="pl-PL"/>
              <a:t>!</a:t>
            </a:r>
          </a:p>
        </p:txBody>
      </p:sp>
      <p:sp>
        <p:nvSpPr>
          <p:cNvPr id="9" name="Tytuł 1">
            <a:extLst>
              <a:ext uri="{FF2B5EF4-FFF2-40B4-BE49-F238E27FC236}">
                <a16:creationId xmlns:a16="http://schemas.microsoft.com/office/drawing/2014/main" id="{CA566E6B-81BE-394A-82C9-87A88E5263E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8048" y="1332689"/>
            <a:ext cx="10447652" cy="2177274"/>
          </a:xfrm>
        </p:spPr>
        <p:txBody>
          <a:bodyPr anchor="b">
            <a:normAutofit/>
          </a:bodyPr>
          <a:lstStyle>
            <a:lvl1pPr algn="l">
              <a:defRPr sz="5500" b="1" spc="-15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/>
              <a:t>Hello World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38C9061-3B8C-694C-8260-724E8F3EFF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8363" y="5788506"/>
            <a:ext cx="9643043" cy="338138"/>
          </a:xfrm>
        </p:spPr>
        <p:txBody>
          <a:bodyPr/>
          <a:lstStyle>
            <a:lvl1pPr>
              <a:buNone/>
              <a:defRPr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buNone/>
              <a:defRPr b="1">
                <a:solidFill>
                  <a:schemeClr val="bg1"/>
                </a:solidFill>
              </a:defRPr>
            </a:lvl2pPr>
            <a:lvl3pPr>
              <a:buNone/>
              <a:defRPr b="1">
                <a:solidFill>
                  <a:schemeClr val="bg1"/>
                </a:solidFill>
              </a:defRPr>
            </a:lvl3pPr>
            <a:lvl4pPr>
              <a:buNone/>
              <a:defRPr b="1">
                <a:solidFill>
                  <a:schemeClr val="bg1"/>
                </a:solidFill>
              </a:defRPr>
            </a:lvl4pPr>
            <a:lvl5pPr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Geneva, </a:t>
            </a:r>
            <a:r>
              <a:rPr lang="en-GB" err="1"/>
              <a:t>Feiday</a:t>
            </a:r>
            <a:r>
              <a:rPr lang="en-GB"/>
              <a:t> 26 June 2020</a:t>
            </a:r>
          </a:p>
        </p:txBody>
      </p:sp>
    </p:spTree>
    <p:extLst>
      <p:ext uri="{BB962C8B-B14F-4D97-AF65-F5344CB8AC3E}">
        <p14:creationId xmlns:p14="http://schemas.microsoft.com/office/powerpoint/2010/main" val="44325138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slide_2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6983A926-9602-3E46-8F16-6D5538126A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4126" y="0"/>
            <a:ext cx="12196126" cy="6858000"/>
          </a:xfrm>
          <a:prstGeom prst="rect">
            <a:avLst/>
          </a:prstGeom>
          <a:blipFill dpi="0" rotWithShape="1">
            <a:blip r:embed="rId3">
              <a:alphaModFix amt="20000"/>
            </a:blip>
            <a:srcRect/>
            <a:stretch>
              <a:fillRect/>
            </a:stretch>
          </a:blipFill>
          <a:effectLst>
            <a:outerShdw sx="1000" sy="1000" algn="ctr" rotWithShape="0">
              <a:srgbClr val="000000"/>
            </a:outerShdw>
          </a:effectLst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8" name="Podtytuł 2">
            <a:extLst>
              <a:ext uri="{FF2B5EF4-FFF2-40B4-BE49-F238E27FC236}">
                <a16:creationId xmlns:a16="http://schemas.microsoft.com/office/drawing/2014/main" id="{147CD47C-C020-F241-B4C1-3C16626BAA1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8048" y="3602038"/>
            <a:ext cx="10447652" cy="1655762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err="1"/>
              <a:t>This</a:t>
            </a:r>
            <a:r>
              <a:rPr lang="pl-PL"/>
              <a:t> </a:t>
            </a:r>
            <a:r>
              <a:rPr lang="pl-PL" err="1"/>
              <a:t>is</a:t>
            </a:r>
            <a:r>
              <a:rPr lang="pl-PL"/>
              <a:t> </a:t>
            </a:r>
            <a:r>
              <a:rPr lang="pl-PL" err="1"/>
              <a:t>template</a:t>
            </a:r>
            <a:r>
              <a:rPr lang="pl-PL"/>
              <a:t> of Presentation. </a:t>
            </a:r>
            <a:r>
              <a:rPr lang="pl-PL" err="1"/>
              <a:t>Let’s</a:t>
            </a:r>
            <a:r>
              <a:rPr lang="pl-PL"/>
              <a:t> </a:t>
            </a:r>
            <a:r>
              <a:rPr lang="pl-PL" err="1"/>
              <a:t>Create</a:t>
            </a:r>
            <a:r>
              <a:rPr lang="pl-PL"/>
              <a:t>!</a:t>
            </a:r>
          </a:p>
        </p:txBody>
      </p:sp>
      <p:sp>
        <p:nvSpPr>
          <p:cNvPr id="9" name="Tytuł 1">
            <a:extLst>
              <a:ext uri="{FF2B5EF4-FFF2-40B4-BE49-F238E27FC236}">
                <a16:creationId xmlns:a16="http://schemas.microsoft.com/office/drawing/2014/main" id="{CA566E6B-81BE-394A-82C9-87A88E5263E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8048" y="1332689"/>
            <a:ext cx="10447652" cy="2177274"/>
          </a:xfrm>
        </p:spPr>
        <p:txBody>
          <a:bodyPr anchor="b">
            <a:normAutofit/>
          </a:bodyPr>
          <a:lstStyle>
            <a:lvl1pPr algn="l">
              <a:defRPr sz="5500" b="1" spc="-15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/>
              <a:t>Hello Worl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D81C82-F983-5145-8C90-D4FD9E216D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8363" y="5788506"/>
            <a:ext cx="9643043" cy="338138"/>
          </a:xfrm>
        </p:spPr>
        <p:txBody>
          <a:bodyPr/>
          <a:lstStyle>
            <a:lvl1pPr>
              <a:buNone/>
              <a:defRPr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buNone/>
              <a:defRPr b="1">
                <a:solidFill>
                  <a:schemeClr val="bg1"/>
                </a:solidFill>
              </a:defRPr>
            </a:lvl2pPr>
            <a:lvl3pPr>
              <a:buNone/>
              <a:defRPr b="1">
                <a:solidFill>
                  <a:schemeClr val="bg1"/>
                </a:solidFill>
              </a:defRPr>
            </a:lvl3pPr>
            <a:lvl4pPr>
              <a:buNone/>
              <a:defRPr b="1">
                <a:solidFill>
                  <a:schemeClr val="bg1"/>
                </a:solidFill>
              </a:defRPr>
            </a:lvl4pPr>
            <a:lvl5pPr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Geneva, </a:t>
            </a:r>
            <a:r>
              <a:rPr lang="en-GB" err="1"/>
              <a:t>Feiday</a:t>
            </a:r>
            <a:r>
              <a:rPr lang="en-GB"/>
              <a:t> 26 June 2020</a:t>
            </a:r>
          </a:p>
        </p:txBody>
      </p:sp>
    </p:spTree>
    <p:extLst>
      <p:ext uri="{BB962C8B-B14F-4D97-AF65-F5344CB8AC3E}">
        <p14:creationId xmlns:p14="http://schemas.microsoft.com/office/powerpoint/2010/main" val="2517488885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D3687A56-09C5-DD47-879D-4CF4009B393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21649" y="0"/>
            <a:ext cx="4070351" cy="68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VN"/>
          </a:p>
        </p:txBody>
      </p:sp>
      <p:pic>
        <p:nvPicPr>
          <p:cNvPr id="17" name="Obraz 6" descr="Obraz zawierający znak, zegar&#10;&#10;Opis wygenerowany automatycznie">
            <a:extLst>
              <a:ext uri="{FF2B5EF4-FFF2-40B4-BE49-F238E27FC236}">
                <a16:creationId xmlns:a16="http://schemas.microsoft.com/office/drawing/2014/main" id="{AF8D634E-0EDE-7843-BB1D-CD1B37CD56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622" y="289845"/>
            <a:ext cx="1885007" cy="1032526"/>
          </a:xfrm>
          <a:prstGeom prst="rect">
            <a:avLst/>
          </a:prstGeom>
        </p:spPr>
      </p:pic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DD396D6F-C455-1241-A61E-87D6FEF2291F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30229904-BEEE-6142-AEBC-3B518FF02EEA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73578" y="1956488"/>
            <a:ext cx="6275388" cy="811961"/>
          </a:xfrm>
        </p:spPr>
        <p:txBody>
          <a:bodyPr anchor="ctr"/>
          <a:lstStyle>
            <a:lvl1pPr>
              <a:buNone/>
              <a:defRPr sz="55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Agenda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B7041FA-DA9F-4D47-99D7-58EF038E0942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873578" y="3137244"/>
            <a:ext cx="6465219" cy="287766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rgbClr val="29A457"/>
              </a:buClr>
              <a:buFont typeface="+mj-lt"/>
              <a:buAutoNum type="arabicPeriod"/>
              <a:defRPr sz="2400">
                <a:solidFill>
                  <a:schemeClr val="accent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</a:t>
            </a:r>
          </a:p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</a:t>
            </a:r>
          </a:p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8709852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">
    <p:bg>
      <p:bgPr>
        <a:solidFill>
          <a:srgbClr val="29A4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DB29E8E1-0F07-6940-803A-EA28727ACA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347" y="335280"/>
            <a:ext cx="1820897" cy="997410"/>
          </a:xfrm>
          <a:prstGeom prst="rect">
            <a:avLst/>
          </a:prstGeom>
        </p:spPr>
      </p:pic>
      <p:sp>
        <p:nvSpPr>
          <p:cNvPr id="9" name="Tytuł 1">
            <a:extLst>
              <a:ext uri="{FF2B5EF4-FFF2-40B4-BE49-F238E27FC236}">
                <a16:creationId xmlns:a16="http://schemas.microsoft.com/office/drawing/2014/main" id="{CA566E6B-81BE-394A-82C9-87A88E5263E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49434" y="2970925"/>
            <a:ext cx="6224503" cy="1614297"/>
          </a:xfrm>
        </p:spPr>
        <p:txBody>
          <a:bodyPr anchor="b">
            <a:normAutofit/>
          </a:bodyPr>
          <a:lstStyle>
            <a:lvl1pPr algn="l">
              <a:defRPr sz="5500" b="1" spc="-15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the</a:t>
            </a:r>
            <a:br>
              <a:rPr lang="pl-PL"/>
            </a:br>
            <a:r>
              <a:rPr lang="pl-PL" err="1"/>
              <a:t>Section</a:t>
            </a:r>
            <a:endParaRPr lang="pl-PL"/>
          </a:p>
        </p:txBody>
      </p:sp>
      <p:sp>
        <p:nvSpPr>
          <p:cNvPr id="11" name="Symbol zastępczy tekstu 2">
            <a:extLst>
              <a:ext uri="{FF2B5EF4-FFF2-40B4-BE49-F238E27FC236}">
                <a16:creationId xmlns:a16="http://schemas.microsoft.com/office/drawing/2014/main" id="{5B94F994-6F7D-084F-B36E-FE4DCCF87E25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74713" y="2970926"/>
            <a:ext cx="1274721" cy="852930"/>
          </a:xfrm>
        </p:spPr>
        <p:txBody>
          <a:bodyPr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5500" b="1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1.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43F52C0-FDC1-D54C-94B2-7FC551F1EA3E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solidFill>
            <a:srgbClr val="29A457"/>
          </a:solidFill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Symbol zastępczy tekstu 2">
            <a:extLst>
              <a:ext uri="{FF2B5EF4-FFF2-40B4-BE49-F238E27FC236}">
                <a16:creationId xmlns:a16="http://schemas.microsoft.com/office/drawing/2014/main" id="{E4E6E588-48A3-E546-AACC-BAF543456381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149434" y="5018314"/>
            <a:ext cx="8387138" cy="757106"/>
          </a:xfrm>
        </p:spPr>
        <p:txBody>
          <a:bodyPr>
            <a:no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 sz="24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err="1"/>
              <a:t>Sub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5534422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bg>
      <p:bgPr>
        <a:solidFill>
          <a:srgbClr val="29A4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DB29E8E1-0F07-6940-803A-EA28727ACA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347" y="335280"/>
            <a:ext cx="1820897" cy="997410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43F52C0-FDC1-D54C-94B2-7FC551F1EA3E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solidFill>
            <a:srgbClr val="29A457"/>
          </a:solidFill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Symbol zastępczy tekstu 2">
            <a:extLst>
              <a:ext uri="{FF2B5EF4-FFF2-40B4-BE49-F238E27FC236}">
                <a16:creationId xmlns:a16="http://schemas.microsoft.com/office/drawing/2014/main" id="{82A6A39B-64FD-904D-A6ED-7A94E519652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73577" y="1553671"/>
            <a:ext cx="5260523" cy="1417255"/>
          </a:xfrm>
        </p:spPr>
        <p:txBody>
          <a:bodyPr anchor="b">
            <a:normAutofit/>
          </a:bodyPr>
          <a:lstStyle>
            <a:lvl1pPr marL="0" indent="0">
              <a:buNone/>
              <a:defRPr sz="45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Intro to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15" name="Symbol zastępczy tekstu 2">
            <a:extLst>
              <a:ext uri="{FF2B5EF4-FFF2-40B4-BE49-F238E27FC236}">
                <a16:creationId xmlns:a16="http://schemas.microsoft.com/office/drawing/2014/main" id="{E2E0223B-42EE-EB4B-994D-F03161485713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68047" y="3150926"/>
            <a:ext cx="5266053" cy="2674972"/>
          </a:xfrm>
        </p:spPr>
        <p:txBody>
          <a:bodyPr>
            <a:no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 sz="24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err="1"/>
              <a:t>Proin</a:t>
            </a:r>
            <a:r>
              <a:rPr lang="pl-PL"/>
              <a:t> vitae </a:t>
            </a:r>
            <a:r>
              <a:rPr lang="pl-PL" err="1"/>
              <a:t>odio</a:t>
            </a:r>
            <a:r>
              <a:rPr lang="pl-PL"/>
              <a:t>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auctor</a:t>
            </a:r>
            <a:r>
              <a:rPr lang="pl-PL"/>
              <a:t> </a:t>
            </a:r>
            <a:r>
              <a:rPr lang="pl-PL" err="1"/>
              <a:t>faucibus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218932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43F52C0-FDC1-D54C-94B2-7FC551F1EA3E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Tytuł 1">
            <a:extLst>
              <a:ext uri="{FF2B5EF4-FFF2-40B4-BE49-F238E27FC236}">
                <a16:creationId xmlns:a16="http://schemas.microsoft.com/office/drawing/2014/main" id="{8F22A260-0E00-844E-B364-E4D7602273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9434" y="3073673"/>
            <a:ext cx="7445706" cy="1427075"/>
          </a:xfrm>
        </p:spPr>
        <p:txBody>
          <a:bodyPr anchor="t">
            <a:noAutofit/>
          </a:bodyPr>
          <a:lstStyle>
            <a:lvl1pPr marL="0" indent="0">
              <a:defRPr sz="4500" b="1" spc="-15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the </a:t>
            </a:r>
            <a:r>
              <a:rPr lang="pl-PL" err="1"/>
              <a:t>subsection</a:t>
            </a:r>
            <a:endParaRPr lang="pl-PL"/>
          </a:p>
        </p:txBody>
      </p:sp>
      <p:sp>
        <p:nvSpPr>
          <p:cNvPr id="8" name="Symbol zastępczy tekstu 2">
            <a:extLst>
              <a:ext uri="{FF2B5EF4-FFF2-40B4-BE49-F238E27FC236}">
                <a16:creationId xmlns:a16="http://schemas.microsoft.com/office/drawing/2014/main" id="{DE84C607-4416-4B4B-A202-D2C611F34803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74712" y="3073673"/>
            <a:ext cx="1274722" cy="744868"/>
          </a:xfrm>
        </p:spPr>
        <p:txBody>
          <a:bodyPr>
            <a:norm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4500" b="1" kern="1200" spc="-15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1.1.</a:t>
            </a:r>
          </a:p>
        </p:txBody>
      </p:sp>
      <p:pic>
        <p:nvPicPr>
          <p:cNvPr id="11" name="Obraz 6" descr="Obraz zawierający znak, zegar&#10;&#10;Opis wygenerowany automatycznie">
            <a:extLst>
              <a:ext uri="{FF2B5EF4-FFF2-40B4-BE49-F238E27FC236}">
                <a16:creationId xmlns:a16="http://schemas.microsoft.com/office/drawing/2014/main" id="{B6A82EE5-A60A-1C4C-9292-45FD9C01B1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622" y="289845"/>
            <a:ext cx="1885007" cy="103252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5DC5B69-E947-B54F-97EA-30FA1441E251}"/>
              </a:ext>
            </a:extLst>
          </p:cNvPr>
          <p:cNvSpPr/>
          <p:nvPr userDrawn="1"/>
        </p:nvSpPr>
        <p:spPr>
          <a:xfrm>
            <a:off x="11201400" y="0"/>
            <a:ext cx="990600" cy="6858000"/>
          </a:xfrm>
          <a:prstGeom prst="rect">
            <a:avLst/>
          </a:prstGeom>
          <a:solidFill>
            <a:srgbClr val="29A4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723528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ce Column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43F52C0-FDC1-D54C-94B2-7FC551F1EA3E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2" name="Obraz 3" descr="Obraz zawierający znak, zegar&#10;&#10;Opis wygenerowany automatycznie">
            <a:extLst>
              <a:ext uri="{FF2B5EF4-FFF2-40B4-BE49-F238E27FC236}">
                <a16:creationId xmlns:a16="http://schemas.microsoft.com/office/drawing/2014/main" id="{DF856BA4-CF54-3941-AE63-3FD4310F1C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914B2FF-DA8D-EF4D-9FA7-3F6D6C7AFA2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6359" y="2537783"/>
            <a:ext cx="10499281" cy="348201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err="1"/>
              <a:t>Proin</a:t>
            </a:r>
            <a:r>
              <a:rPr lang="pl-PL"/>
              <a:t> vitae </a:t>
            </a:r>
            <a:r>
              <a:rPr lang="pl-PL" err="1"/>
              <a:t>odio</a:t>
            </a:r>
            <a:r>
              <a:rPr lang="pl-PL"/>
              <a:t>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auctor</a:t>
            </a:r>
            <a:r>
              <a:rPr lang="pl-PL"/>
              <a:t> </a:t>
            </a:r>
            <a:r>
              <a:rPr lang="pl-PL" err="1"/>
              <a:t>faucibus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7AE6B6A5-9D9B-AB44-A0F3-A27659F33151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359" y="906011"/>
            <a:ext cx="6275388" cy="568080"/>
          </a:xfrm>
        </p:spPr>
        <p:txBody>
          <a:bodyPr anchor="ctr"/>
          <a:lstStyle>
            <a:lvl1pPr>
              <a:buNone/>
              <a:defRPr sz="4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Header</a:t>
            </a:r>
          </a:p>
        </p:txBody>
      </p:sp>
      <p:sp>
        <p:nvSpPr>
          <p:cNvPr id="11" name="Tytuł 1">
            <a:extLst>
              <a:ext uri="{FF2B5EF4-FFF2-40B4-BE49-F238E27FC236}">
                <a16:creationId xmlns:a16="http://schemas.microsoft.com/office/drawing/2014/main" id="{A172CC45-3276-3F4E-A9C0-D704064674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0" y="1477266"/>
            <a:ext cx="627538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1251879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 header text +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raz 3" descr="Obraz zawierający znak, zegar&#10;&#10;Opis wygenerowany automatycznie">
            <a:extLst>
              <a:ext uri="{FF2B5EF4-FFF2-40B4-BE49-F238E27FC236}">
                <a16:creationId xmlns:a16="http://schemas.microsoft.com/office/drawing/2014/main" id="{DF856BA4-CF54-3941-AE63-3FD4310F1C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D6D80644-70EE-D34C-B87A-124771E0E8F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50350" y="0"/>
            <a:ext cx="3041650" cy="6858000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5F57BE6-B600-354D-9B64-75400268325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6359" y="2840349"/>
            <a:ext cx="7770561" cy="317944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sp>
        <p:nvSpPr>
          <p:cNvPr id="6" name="Tytuł 1">
            <a:extLst>
              <a:ext uri="{FF2B5EF4-FFF2-40B4-BE49-F238E27FC236}">
                <a16:creationId xmlns:a16="http://schemas.microsoft.com/office/drawing/2014/main" id="{5FAE0D19-6EFC-9E45-B463-20EE5A6968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0" y="1875246"/>
            <a:ext cx="627538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pic>
        <p:nvPicPr>
          <p:cNvPr id="8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F865A51D-BC70-F348-93D7-1567EE43B1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53927"/>
            <a:ext cx="1473637" cy="807195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C0940ED-56AB-1142-AD34-EF7C479A2FC1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187A321-5533-854C-B184-C8A8CF8435C4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359" y="1303101"/>
            <a:ext cx="6275388" cy="568080"/>
          </a:xfrm>
        </p:spPr>
        <p:txBody>
          <a:bodyPr anchor="ctr"/>
          <a:lstStyle>
            <a:lvl1pPr>
              <a:buNone/>
              <a:defRPr sz="4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7557771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09CDA287-2F51-C44F-906F-40C0F2EAB51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3214" y="0"/>
            <a:ext cx="3048000" cy="3429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55D721E8-2AC1-BE47-B1DC-36E50A54AC1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3048000" cy="3429000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84A8273B-924D-C547-8599-F6BCE006CC6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043214" y="3429000"/>
            <a:ext cx="3048000" cy="3429000"/>
          </a:xfr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3AA8EB3C-ECAF-C04A-A642-3B64FF3A2B5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3429000"/>
            <a:ext cx="3048000" cy="3429000"/>
          </a:xfrm>
          <a:blipFill>
            <a:blip r:embed="rId5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29" name="Symbol zastępczy numeru slajdu 5">
            <a:extLst>
              <a:ext uri="{FF2B5EF4-FFF2-40B4-BE49-F238E27FC236}">
                <a16:creationId xmlns:a16="http://schemas.microsoft.com/office/drawing/2014/main" id="{B159822D-D2DA-F443-A6FF-501D1E387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32" name="Tytuł 1">
            <a:extLst>
              <a:ext uri="{FF2B5EF4-FFF2-40B4-BE49-F238E27FC236}">
                <a16:creationId xmlns:a16="http://schemas.microsoft.com/office/drawing/2014/main" id="{6766530A-D4D5-C947-85CC-5E3A5C954B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6178" y="1470931"/>
            <a:ext cx="4692204" cy="829418"/>
          </a:xfrm>
        </p:spPr>
        <p:txBody>
          <a:bodyPr anchor="b">
            <a:normAutofit/>
          </a:bodyPr>
          <a:lstStyle>
            <a:lvl1pPr>
              <a:defRPr sz="3000" b="1" spc="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</a:t>
            </a:r>
            <a:r>
              <a:rPr lang="pl-PL" err="1"/>
              <a:t>paragraph</a:t>
            </a:r>
            <a:endParaRPr lang="pl-PL"/>
          </a:p>
        </p:txBody>
      </p:sp>
      <p:sp>
        <p:nvSpPr>
          <p:cNvPr id="12" name="Text Placeholder 60">
            <a:extLst>
              <a:ext uri="{FF2B5EF4-FFF2-40B4-BE49-F238E27FC236}">
                <a16:creationId xmlns:a16="http://schemas.microsoft.com/office/drawing/2014/main" id="{BEACCA14-3DF5-8246-84FC-44E498EF399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633442" y="4283358"/>
            <a:ext cx="4684940" cy="1697375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5" name="Text Placeholder 60">
            <a:extLst>
              <a:ext uri="{FF2B5EF4-FFF2-40B4-BE49-F238E27FC236}">
                <a16:creationId xmlns:a16="http://schemas.microsoft.com/office/drawing/2014/main" id="{A85EFFF3-C3D2-A744-976F-EF9324FD8C4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629810" y="2545889"/>
            <a:ext cx="4684940" cy="1547139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9" name="Tytuł 1">
            <a:extLst>
              <a:ext uri="{FF2B5EF4-FFF2-40B4-BE49-F238E27FC236}">
                <a16:creationId xmlns:a16="http://schemas.microsoft.com/office/drawing/2014/main" id="{2165ED40-2432-654A-B40F-E50040420E25}"/>
              </a:ext>
            </a:extLst>
          </p:cNvPr>
          <p:cNvSpPr txBox="1">
            <a:spLocks/>
          </p:cNvSpPr>
          <p:nvPr userDrawn="1"/>
        </p:nvSpPr>
        <p:spPr>
          <a:xfrm>
            <a:off x="867428" y="1470931"/>
            <a:ext cx="4684939" cy="82941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 spc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/>
              <a:t>Title of paragraph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49776CBF-0E36-4DA0-BF40-3309DB47D18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570479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 text +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raz 3" descr="Obraz zawierający znak, zegar&#10;&#10;Opis wygenerowany automatycznie">
            <a:extLst>
              <a:ext uri="{FF2B5EF4-FFF2-40B4-BE49-F238E27FC236}">
                <a16:creationId xmlns:a16="http://schemas.microsoft.com/office/drawing/2014/main" id="{DF856BA4-CF54-3941-AE63-3FD4310F1C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D6D80644-70EE-D34C-B87A-124771E0E8F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50350" y="0"/>
            <a:ext cx="3041650" cy="6858000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VN"/>
          </a:p>
        </p:txBody>
      </p:sp>
      <p:pic>
        <p:nvPicPr>
          <p:cNvPr id="20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8F16DBD9-B9CB-B643-9018-95D4B12E07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53927"/>
            <a:ext cx="1473637" cy="807195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8F9CF8E-AEEA-B44D-929D-2A300A0EBE8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6359" y="1280598"/>
            <a:ext cx="7770561" cy="47392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err="1"/>
              <a:t>Proin</a:t>
            </a:r>
            <a:r>
              <a:rPr lang="pl-PL"/>
              <a:t> vitae </a:t>
            </a:r>
            <a:r>
              <a:rPr lang="pl-PL" err="1"/>
              <a:t>odio</a:t>
            </a:r>
            <a:r>
              <a:rPr lang="pl-PL"/>
              <a:t>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auctor</a:t>
            </a:r>
            <a:r>
              <a:rPr lang="pl-PL"/>
              <a:t> </a:t>
            </a:r>
            <a:r>
              <a:rPr lang="pl-PL" err="1"/>
              <a:t>faucibus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CB5BD0-B4B4-4A40-B9C4-4E11A0138EA4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707089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 header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43F52C0-FDC1-D54C-94B2-7FC551F1EA3E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2" name="Obraz 3" descr="Obraz zawierający znak, zegar&#10;&#10;Opis wygenerowany automatycznie">
            <a:extLst>
              <a:ext uri="{FF2B5EF4-FFF2-40B4-BE49-F238E27FC236}">
                <a16:creationId xmlns:a16="http://schemas.microsoft.com/office/drawing/2014/main" id="{DF856BA4-CF54-3941-AE63-3FD4310F1C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5F843180-AFB0-7547-980D-40BB8D3AFF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15749" y="2690183"/>
            <a:ext cx="3162299" cy="3477123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39E2ED1-6A48-E749-9BC1-B668B697942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18048" y="2690183"/>
            <a:ext cx="3162299" cy="3477123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21DBF813-84A2-D849-BE03-EEC576A242B1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359" y="906659"/>
            <a:ext cx="6275388" cy="568080"/>
          </a:xfrm>
        </p:spPr>
        <p:txBody>
          <a:bodyPr anchor="ctr"/>
          <a:lstStyle>
            <a:lvl1pPr>
              <a:buNone/>
              <a:defRPr sz="4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Header</a:t>
            </a:r>
          </a:p>
        </p:txBody>
      </p:sp>
      <p:sp>
        <p:nvSpPr>
          <p:cNvPr id="13" name="Tytuł 1">
            <a:extLst>
              <a:ext uri="{FF2B5EF4-FFF2-40B4-BE49-F238E27FC236}">
                <a16:creationId xmlns:a16="http://schemas.microsoft.com/office/drawing/2014/main" id="{A561118A-A2AA-854F-B349-CEF53FC96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0" y="1477266"/>
            <a:ext cx="627538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57306942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43F52C0-FDC1-D54C-94B2-7FC551F1EA3E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2" name="Obraz 3" descr="Obraz zawierający znak, zegar&#10;&#10;Opis wygenerowany automatycznie">
            <a:extLst>
              <a:ext uri="{FF2B5EF4-FFF2-40B4-BE49-F238E27FC236}">
                <a16:creationId xmlns:a16="http://schemas.microsoft.com/office/drawing/2014/main" id="{DF856BA4-CF54-3941-AE63-3FD4310F1C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3C9A2C6-C517-D043-91FD-5B42D783402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249" y="1280598"/>
            <a:ext cx="4952420" cy="47392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8626FE-8D05-A048-93C3-8E90C7AA21C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66331" y="1280598"/>
            <a:ext cx="4952420" cy="47392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591388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43F52C0-FDC1-D54C-94B2-7FC551F1EA3E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2" name="Obraz 3" descr="Obraz zawierający znak, zegar&#10;&#10;Opis wygenerowany automatycznie">
            <a:extLst>
              <a:ext uri="{FF2B5EF4-FFF2-40B4-BE49-F238E27FC236}">
                <a16:creationId xmlns:a16="http://schemas.microsoft.com/office/drawing/2014/main" id="{DF856BA4-CF54-3941-AE63-3FD4310F1C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EF89E3C8-71E7-5F4D-AE6D-0D094D7EBE9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73060" y="0"/>
            <a:ext cx="2171700" cy="6858000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5FE3954-D4B0-3E43-9D69-0BABB7FF270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84760" y="1280598"/>
            <a:ext cx="4333662" cy="4739200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imperdiet</a:t>
            </a:r>
            <a:r>
              <a:rPr lang="pl-PL"/>
              <a:t> </a:t>
            </a:r>
            <a:r>
              <a:rPr lang="pl-PL" err="1"/>
              <a:t>aliquet</a:t>
            </a:r>
            <a:r>
              <a:rPr lang="pl-PL"/>
              <a:t>. In </a:t>
            </a:r>
            <a:r>
              <a:rPr lang="pl-PL" err="1"/>
              <a:t>sodales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ultricies</a:t>
            </a:r>
            <a:r>
              <a:rPr lang="pl-PL"/>
              <a:t>.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E2AB7084-E3DA-4641-8077-10E29158E7DC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359" y="906011"/>
            <a:ext cx="3146801" cy="568080"/>
          </a:xfrm>
        </p:spPr>
        <p:txBody>
          <a:bodyPr anchor="ctr"/>
          <a:lstStyle>
            <a:lvl1pPr>
              <a:buNone/>
              <a:defRPr sz="4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Slim</a:t>
            </a:r>
          </a:p>
        </p:txBody>
      </p:sp>
      <p:sp>
        <p:nvSpPr>
          <p:cNvPr id="10" name="Tytuł 1">
            <a:extLst>
              <a:ext uri="{FF2B5EF4-FFF2-40B4-BE49-F238E27FC236}">
                <a16:creationId xmlns:a16="http://schemas.microsoft.com/office/drawing/2014/main" id="{C67A29C9-B5B3-DC4C-97C8-CACEAF74A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0" y="1477266"/>
            <a:ext cx="3146800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5387435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Poi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43F52C0-FDC1-D54C-94B2-7FC551F1EA3E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2" name="Obraz 3" descr="Obraz zawierający znak, zegar&#10;&#10;Opis wygenerowany automatycznie">
            <a:extLst>
              <a:ext uri="{FF2B5EF4-FFF2-40B4-BE49-F238E27FC236}">
                <a16:creationId xmlns:a16="http://schemas.microsoft.com/office/drawing/2014/main" id="{DF856BA4-CF54-3941-AE63-3FD4310F1C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  <p:sp>
        <p:nvSpPr>
          <p:cNvPr id="8" name="Tytuł 1">
            <a:extLst>
              <a:ext uri="{FF2B5EF4-FFF2-40B4-BE49-F238E27FC236}">
                <a16:creationId xmlns:a16="http://schemas.microsoft.com/office/drawing/2014/main" id="{B604D023-42BC-B04F-82BF-BF6EEDD7B7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8754" y="528300"/>
            <a:ext cx="4098471" cy="617802"/>
          </a:xfrm>
        </p:spPr>
        <p:txBody>
          <a:bodyPr anchor="b">
            <a:noAutofit/>
          </a:bodyPr>
          <a:lstStyle>
            <a:lvl1pPr>
              <a:defRPr sz="3000" b="1" spc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btitle</a:t>
            </a:r>
            <a:endParaRPr lang="pl-PL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AB8F36B-27F4-C540-B29D-3FD1C07C535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448300" y="1326100"/>
            <a:ext cx="4098471" cy="1922902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CCC5541F-9944-1A44-9019-77A3DD9563C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448300" y="3429000"/>
            <a:ext cx="4098925" cy="2590800"/>
          </a:xfrm>
        </p:spPr>
        <p:txBody>
          <a:bodyPr/>
          <a:lstStyle>
            <a:lvl1pPr>
              <a:defRPr sz="240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240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 sz="240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240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First level of bullet poi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438C9E7A-5316-564B-935D-B6631E204A8F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359" y="528299"/>
            <a:ext cx="4304481" cy="1258554"/>
          </a:xfrm>
        </p:spPr>
        <p:txBody>
          <a:bodyPr anchor="ctr"/>
          <a:lstStyle>
            <a:lvl1pPr>
              <a:buNone/>
              <a:defRPr sz="4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Bullet</a:t>
            </a:r>
          </a:p>
          <a:p>
            <a:pPr lvl="0"/>
            <a:r>
              <a:rPr lang="en-GB"/>
              <a:t>points</a:t>
            </a:r>
          </a:p>
        </p:txBody>
      </p:sp>
    </p:spTree>
    <p:extLst>
      <p:ext uri="{BB962C8B-B14F-4D97-AF65-F5344CB8AC3E}">
        <p14:creationId xmlns:p14="http://schemas.microsoft.com/office/powerpoint/2010/main" val="173333047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half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F865A51D-BC70-F348-93D7-1567EE43B1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53927"/>
            <a:ext cx="1473637" cy="807195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C0940ED-56AB-1142-AD34-EF7C479A2FC1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E129793F-546F-5C4C-84DD-9CF590EAB2C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25" name="Tytuł 1">
            <a:extLst>
              <a:ext uri="{FF2B5EF4-FFF2-40B4-BE49-F238E27FC236}">
                <a16:creationId xmlns:a16="http://schemas.microsoft.com/office/drawing/2014/main" id="{A9ADF81F-8EEA-2F4E-9219-6873F3905F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2427936"/>
            <a:ext cx="4992379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565166F-D887-EF45-B58F-E381D282832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6359" y="4599733"/>
            <a:ext cx="4682421" cy="121515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CAFE633-9761-914A-BEE8-8B6E0CD9D0E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6359" y="3386917"/>
            <a:ext cx="4682421" cy="1015246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6B761248-02E0-5947-8EAE-A6BF17B0E37B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359" y="1855958"/>
            <a:ext cx="4992379" cy="568080"/>
          </a:xfrm>
        </p:spPr>
        <p:txBody>
          <a:bodyPr anchor="ctr"/>
          <a:lstStyle>
            <a:lvl1pPr>
              <a:buNone/>
              <a:defRPr sz="4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147662555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half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1C2D5C7F-5948-9F46-B9B1-99EC0E48E24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-1"/>
            <a:ext cx="6096000" cy="685800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C0940ED-56AB-1142-AD34-EF7C479A2FC1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565166F-D887-EF45-B58F-E381D282832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20905" y="4599733"/>
            <a:ext cx="4682421" cy="121515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CAFE633-9761-914A-BEE8-8B6E0CD9D0E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20905" y="3386917"/>
            <a:ext cx="4682421" cy="1015246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pic>
        <p:nvPicPr>
          <p:cNvPr id="10" name="Obraz 3" descr="Obraz zawierający znak, zegar&#10;&#10;Opis wygenerowany automatycznie">
            <a:extLst>
              <a:ext uri="{FF2B5EF4-FFF2-40B4-BE49-F238E27FC236}">
                <a16:creationId xmlns:a16="http://schemas.microsoft.com/office/drawing/2014/main" id="{1E547447-09C4-3E43-BEF5-F3C384CA5E5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9647" y="253927"/>
            <a:ext cx="1473637" cy="807195"/>
          </a:xfrm>
          <a:prstGeom prst="rect">
            <a:avLst/>
          </a:prstGeom>
        </p:spPr>
      </p:pic>
      <p:sp>
        <p:nvSpPr>
          <p:cNvPr id="17" name="Tytuł 1">
            <a:extLst>
              <a:ext uri="{FF2B5EF4-FFF2-40B4-BE49-F238E27FC236}">
                <a16:creationId xmlns:a16="http://schemas.microsoft.com/office/drawing/2014/main" id="{110D9E58-AC67-B741-80F5-11498FE73E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0905" y="2427936"/>
            <a:ext cx="4992379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6C24D47E-9D0E-344D-9AF2-2F36526980A7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6620905" y="1855958"/>
            <a:ext cx="4992379" cy="568080"/>
          </a:xfrm>
        </p:spPr>
        <p:txBody>
          <a:bodyPr anchor="ctr"/>
          <a:lstStyle>
            <a:lvl1pPr>
              <a:buNone/>
              <a:defRPr sz="4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268967858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C55E8D53-C49D-DA4F-B739-70416869945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3962778" cy="4434114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12" name="Prostokąt 3">
            <a:extLst>
              <a:ext uri="{FF2B5EF4-FFF2-40B4-BE49-F238E27FC236}">
                <a16:creationId xmlns:a16="http://schemas.microsoft.com/office/drawing/2014/main" id="{B9F74032-A3E0-7140-971A-29F567704659}"/>
              </a:ext>
            </a:extLst>
          </p:cNvPr>
          <p:cNvSpPr/>
          <p:nvPr userDrawn="1"/>
        </p:nvSpPr>
        <p:spPr>
          <a:xfrm>
            <a:off x="1" y="4434114"/>
            <a:ext cx="3962778" cy="2423886"/>
          </a:xfrm>
          <a:prstGeom prst="rect">
            <a:avLst/>
          </a:prstGeom>
          <a:solidFill>
            <a:srgbClr val="29A4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C0940ED-56AB-1142-AD34-EF7C479A2FC1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" name="Tytuł 1">
            <a:extLst>
              <a:ext uri="{FF2B5EF4-FFF2-40B4-BE49-F238E27FC236}">
                <a16:creationId xmlns:a16="http://schemas.microsoft.com/office/drawing/2014/main" id="{A9ADF81F-8EEA-2F4E-9219-6873F3905F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87683" y="2410466"/>
            <a:ext cx="6825850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pic>
        <p:nvPicPr>
          <p:cNvPr id="10" name="Obraz 3" descr="Obraz zawierający znak, zegar&#10;&#10;Opis wygenerowany automatycznie">
            <a:extLst>
              <a:ext uri="{FF2B5EF4-FFF2-40B4-BE49-F238E27FC236}">
                <a16:creationId xmlns:a16="http://schemas.microsoft.com/office/drawing/2014/main" id="{1E547447-09C4-3E43-BEF5-F3C384CA5E5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9647" y="253927"/>
            <a:ext cx="1473637" cy="807195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EFBB1D5-03FA-E84B-BF90-8003FDD605C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61665" y="4820501"/>
            <a:ext cx="3223583" cy="119929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49063B9-AB0B-B44E-81EB-7E543A6EB1D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87684" y="3382851"/>
            <a:ext cx="6825850" cy="227132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imperdiet</a:t>
            </a:r>
            <a:r>
              <a:rPr lang="pl-PL"/>
              <a:t> </a:t>
            </a:r>
            <a:r>
              <a:rPr lang="pl-PL" err="1"/>
              <a:t>aliquet</a:t>
            </a:r>
            <a:r>
              <a:rPr lang="pl-PL"/>
              <a:t>. In </a:t>
            </a:r>
            <a:r>
              <a:rPr lang="pl-PL" err="1"/>
              <a:t>sodales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ultricies</a:t>
            </a:r>
            <a:r>
              <a:rPr lang="pl-PL"/>
              <a:t>.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C8BDC356-A874-5E44-B3A3-6CD6AB032B1F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4487683" y="1834457"/>
            <a:ext cx="5719288" cy="568080"/>
          </a:xfrm>
        </p:spPr>
        <p:txBody>
          <a:bodyPr anchor="ctr"/>
          <a:lstStyle>
            <a:lvl1pPr>
              <a:buNone/>
              <a:defRPr sz="4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158034958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hoto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rostokąt 3">
            <a:extLst>
              <a:ext uri="{FF2B5EF4-FFF2-40B4-BE49-F238E27FC236}">
                <a16:creationId xmlns:a16="http://schemas.microsoft.com/office/drawing/2014/main" id="{B9F74032-A3E0-7140-971A-29F567704659}"/>
              </a:ext>
            </a:extLst>
          </p:cNvPr>
          <p:cNvSpPr/>
          <p:nvPr userDrawn="1"/>
        </p:nvSpPr>
        <p:spPr>
          <a:xfrm>
            <a:off x="8253193" y="4434114"/>
            <a:ext cx="3962778" cy="2423886"/>
          </a:xfrm>
          <a:prstGeom prst="rect">
            <a:avLst/>
          </a:prstGeom>
          <a:solidFill>
            <a:srgbClr val="29A4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C0940ED-56AB-1142-AD34-EF7C479A2FC1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EFBB1D5-03FA-E84B-BF90-8003FDD605C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14857" y="4820501"/>
            <a:ext cx="3223583" cy="119929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49063B9-AB0B-B44E-81EB-7E543A6EB1D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249" y="3382851"/>
            <a:ext cx="6825850" cy="227132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imperdiet</a:t>
            </a:r>
            <a:r>
              <a:rPr lang="pl-PL"/>
              <a:t> </a:t>
            </a:r>
            <a:r>
              <a:rPr lang="pl-PL" err="1"/>
              <a:t>aliquet</a:t>
            </a:r>
            <a:r>
              <a:rPr lang="pl-PL"/>
              <a:t>. In </a:t>
            </a:r>
            <a:r>
              <a:rPr lang="pl-PL" err="1"/>
              <a:t>sodales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ultricies</a:t>
            </a:r>
            <a:r>
              <a:rPr lang="pl-PL"/>
              <a:t>.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12E37651-0BFC-F449-80FF-6BD63C1B25E1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245084" y="0"/>
            <a:ext cx="3946915" cy="4434114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VN"/>
          </a:p>
        </p:txBody>
      </p:sp>
      <p:pic>
        <p:nvPicPr>
          <p:cNvPr id="24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78A28D46-92BD-7346-BA6B-772F06740D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53927"/>
            <a:ext cx="1473637" cy="807195"/>
          </a:xfrm>
          <a:prstGeom prst="rect">
            <a:avLst/>
          </a:prstGeom>
        </p:spPr>
      </p:pic>
      <p:sp>
        <p:nvSpPr>
          <p:cNvPr id="30" name="Tytuł 1">
            <a:extLst>
              <a:ext uri="{FF2B5EF4-FFF2-40B4-BE49-F238E27FC236}">
                <a16:creationId xmlns:a16="http://schemas.microsoft.com/office/drawing/2014/main" id="{E371269E-6493-DA4F-83FF-E9A334F109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2408908"/>
            <a:ext cx="571928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DAEA472-4951-8A4A-B560-D8891B86B944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359" y="1834457"/>
            <a:ext cx="5719288" cy="568080"/>
          </a:xfrm>
        </p:spPr>
        <p:txBody>
          <a:bodyPr anchor="ctr"/>
          <a:lstStyle>
            <a:lvl1pPr>
              <a:buNone/>
              <a:defRPr sz="4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498854859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F865A51D-BC70-F348-93D7-1567EE43B1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53927"/>
            <a:ext cx="1473637" cy="807195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C0940ED-56AB-1142-AD34-EF7C479A2FC1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085E86D4-7AC9-E745-85A2-0AA34A4599E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105650" y="0"/>
            <a:ext cx="5086350" cy="6858000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DF927E3-F29F-434B-BEBC-C6479A7E36F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72849" y="1455708"/>
            <a:ext cx="3023471" cy="245939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i="1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None/>
            </a:pPr>
            <a:r>
              <a:rPr lang="it-IT" err="1"/>
              <a:t>Suspendisse</a:t>
            </a:r>
            <a:r>
              <a:rPr lang="it-IT"/>
              <a:t> </a:t>
            </a:r>
            <a:r>
              <a:rPr lang="it-IT" err="1"/>
              <a:t>nec</a:t>
            </a:r>
            <a:r>
              <a:rPr lang="it-IT"/>
              <a:t> </a:t>
            </a:r>
            <a:r>
              <a:rPr lang="it-IT" err="1"/>
              <a:t>risus</a:t>
            </a:r>
            <a:r>
              <a:rPr lang="it-IT"/>
              <a:t> et </a:t>
            </a:r>
            <a:r>
              <a:rPr lang="it-IT" err="1"/>
              <a:t>risus</a:t>
            </a:r>
            <a:r>
              <a:rPr lang="it-IT"/>
              <a:t> gravida </a:t>
            </a:r>
            <a:r>
              <a:rPr lang="it-IT" err="1"/>
              <a:t>condimentum</a:t>
            </a:r>
            <a:r>
              <a:rPr lang="it-IT"/>
              <a:t> non </a:t>
            </a:r>
            <a:r>
              <a:rPr lang="it-IT" err="1"/>
              <a:t>at</a:t>
            </a:r>
            <a:r>
              <a:rPr lang="it-IT"/>
              <a:t> </a:t>
            </a:r>
            <a:r>
              <a:rPr lang="it-IT" err="1"/>
              <a:t>nunc</a:t>
            </a:r>
            <a:r>
              <a:rPr lang="it-IT"/>
              <a:t>. Nulla in libero odio.</a:t>
            </a:r>
            <a:r>
              <a:rPr lang="pl-PL"/>
              <a:t>”</a:t>
            </a:r>
            <a:r>
              <a:rPr lang="it-IT"/>
              <a:t> </a:t>
            </a:r>
            <a:endParaRPr lang="pl-PL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B67E7A7-56B0-BE42-962E-88AB88C24F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32846" y="1403017"/>
            <a:ext cx="831145" cy="2459397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5000" b="1" i="1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None/>
            </a:pPr>
            <a:r>
              <a:rPr lang="en-US"/>
              <a:t>“</a:t>
            </a:r>
            <a:endParaRPr lang="pl-PL"/>
          </a:p>
        </p:txBody>
      </p:sp>
      <p:sp>
        <p:nvSpPr>
          <p:cNvPr id="30" name="Tytuł 1">
            <a:extLst>
              <a:ext uri="{FF2B5EF4-FFF2-40B4-BE49-F238E27FC236}">
                <a16:creationId xmlns:a16="http://schemas.microsoft.com/office/drawing/2014/main" id="{AE4D9409-7696-8147-A6D6-58A67EFA6B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2408908"/>
            <a:ext cx="571928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2875E0C9-D188-F14A-8944-98D1082C595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6359" y="3290080"/>
            <a:ext cx="5692071" cy="245971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imperdiet</a:t>
            </a:r>
            <a:r>
              <a:rPr lang="pl-PL"/>
              <a:t> </a:t>
            </a:r>
            <a:r>
              <a:rPr lang="pl-PL" err="1"/>
              <a:t>aliquet</a:t>
            </a:r>
            <a:r>
              <a:rPr lang="pl-PL"/>
              <a:t>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D779C23-498E-874D-AA15-01C410CED245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359" y="1834457"/>
            <a:ext cx="5719288" cy="568080"/>
          </a:xfrm>
        </p:spPr>
        <p:txBody>
          <a:bodyPr anchor="ctr"/>
          <a:lstStyle>
            <a:lvl1pPr>
              <a:buNone/>
              <a:defRPr sz="4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7113350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ipes_green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312A978-7A74-4A48-9A0E-3CF19ADCC2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577D3F5B-30C0-8347-BB91-74311F200E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-4" y="4807504"/>
            <a:ext cx="6994355" cy="100266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VN"/>
              <a:t> 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E3FB6C64-106C-CF47-AE35-AF5DFCFEF35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-4" y="3575519"/>
            <a:ext cx="6994355" cy="100266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VN"/>
              <a:t>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600E447-2B35-F143-A598-31157DA1326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0" y="2347984"/>
            <a:ext cx="6994355" cy="1002664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VN"/>
              <a:t> </a:t>
            </a:r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7" name="Tytuł 1">
            <a:extLst>
              <a:ext uri="{FF2B5EF4-FFF2-40B4-BE49-F238E27FC236}">
                <a16:creationId xmlns:a16="http://schemas.microsoft.com/office/drawing/2014/main" id="{F28C8F42-AD4C-C54F-8161-D0D6DEB164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0" y="1342966"/>
            <a:ext cx="4716942" cy="712900"/>
          </a:xfrm>
        </p:spPr>
        <p:txBody>
          <a:bodyPr anchor="b">
            <a:normAutofit/>
          </a:bodyPr>
          <a:lstStyle>
            <a:lvl1pPr>
              <a:defRPr sz="3000" b="1" spc="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</a:t>
            </a:r>
            <a:r>
              <a:rPr lang="pl-PL" err="1"/>
              <a:t>paragraph</a:t>
            </a:r>
            <a:endParaRPr lang="pl-PL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F6560EC-AA04-BE4D-A40F-A1DB489AC4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95345" y="2508417"/>
            <a:ext cx="579892" cy="567285"/>
          </a:xfr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9" name="Picture Placeholder 5">
            <a:extLst>
              <a:ext uri="{FF2B5EF4-FFF2-40B4-BE49-F238E27FC236}">
                <a16:creationId xmlns:a16="http://schemas.microsoft.com/office/drawing/2014/main" id="{8BE5CB42-C968-8C42-AE01-15CBF9806CF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95345" y="3796949"/>
            <a:ext cx="579892" cy="567285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D6C14DA-307E-D64B-9347-9D7DB1D07AE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70819" y="3684381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7738FA18-177C-A54E-8923-24A61CCF5F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670819" y="4921446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DF4272C-ECE7-1845-AAB1-9CD4240F15A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70819" y="2456846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2C3F7D50-94BC-F74E-B66E-C737B24F24D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7100" y="5024094"/>
            <a:ext cx="756379" cy="567285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C317104C-3940-47E9-B463-BCBC13CD473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47862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oto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F865A51D-BC70-F348-93D7-1567EE43B1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53927"/>
            <a:ext cx="1473637" cy="807195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C0940ED-56AB-1142-AD34-EF7C479A2FC1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2875E0C9-D188-F14A-8944-98D1082C595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250" y="3028075"/>
            <a:ext cx="2655040" cy="245971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1137D242-C157-804D-985A-A6701F077BD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51299" y="0"/>
            <a:ext cx="8140701" cy="6858000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5467A1B-E929-B642-B61A-75F906D94AEB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73250" y="2288713"/>
            <a:ext cx="2655040" cy="616507"/>
          </a:xfrm>
        </p:spPr>
        <p:txBody>
          <a:bodyPr anchor="ctr"/>
          <a:lstStyle>
            <a:lvl1pPr>
              <a:buNone/>
              <a:defRPr sz="4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08955751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oto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1A075BF4-B098-1A43-8182-6D4886513A2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8140701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C0940ED-56AB-1142-AD34-EF7C479A2FC1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0" name="Obraz 3" descr="Obraz zawierający znak, zegar&#10;&#10;Opis wygenerowany automatycznie">
            <a:extLst>
              <a:ext uri="{FF2B5EF4-FFF2-40B4-BE49-F238E27FC236}">
                <a16:creationId xmlns:a16="http://schemas.microsoft.com/office/drawing/2014/main" id="{1E547447-09C4-3E43-BEF5-F3C384CA5E5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9647" y="253927"/>
            <a:ext cx="1473637" cy="807195"/>
          </a:xfrm>
          <a:prstGeom prst="rect">
            <a:avLst/>
          </a:prstGeom>
        </p:spPr>
      </p:pic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E575453-946F-C340-8C52-09D5DD9D1E0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69999" y="3028075"/>
            <a:ext cx="2655040" cy="245971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88977E34-44C8-944B-A144-592E4C0FCF7B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669999" y="2288713"/>
            <a:ext cx="2655040" cy="616507"/>
          </a:xfrm>
        </p:spPr>
        <p:txBody>
          <a:bodyPr anchor="ctr"/>
          <a:lstStyle>
            <a:lvl1pPr>
              <a:buNone/>
              <a:defRPr sz="4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241718611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photo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CEF00F4E-6B0F-1C42-961D-AFD653CE28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44001" y="0"/>
            <a:ext cx="3048000" cy="3429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3346597C-A57E-DE40-9180-995370670E2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00787" y="0"/>
            <a:ext cx="3048000" cy="3429000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0F51F3DF-773E-A74A-8D65-6C4C36E35E5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144001" y="3429000"/>
            <a:ext cx="3048000" cy="3429000"/>
          </a:xfrm>
          <a:blipFill>
            <a:blip r:embed="rId4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D44509B4-C87F-EF49-8633-78254A1BBF8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00787" y="3429000"/>
            <a:ext cx="3048000" cy="3429000"/>
          </a:xfrm>
          <a:blipFill>
            <a:blip r:embed="rId5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VN"/>
          </a:p>
        </p:txBody>
      </p:sp>
      <p:pic>
        <p:nvPicPr>
          <p:cNvPr id="24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78A28D46-92BD-7346-BA6B-772F06740D6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53927"/>
            <a:ext cx="1473637" cy="80719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AF48A8-1917-C14B-8D19-8576AD4B952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46357" y="1709051"/>
            <a:ext cx="4765878" cy="544512"/>
          </a:xfrm>
        </p:spPr>
        <p:txBody>
          <a:bodyPr/>
          <a:lstStyle>
            <a:lvl1pPr>
              <a:buNone/>
              <a:defRPr sz="30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GB"/>
              <a:t>Title of paragraph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A90B2FB-5385-A243-B5CC-772C1BD2B6D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3796" y="2538449"/>
            <a:ext cx="4748439" cy="1697376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455598A8-515C-6144-A67A-0142E150240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63796" y="4308526"/>
            <a:ext cx="4748439" cy="1697376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C0940ED-56AB-1142-AD34-EF7C479A2FC1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987029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photo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B1338906-DE57-C342-B57B-042ECD5B501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043214" y="3429000"/>
            <a:ext cx="3048000" cy="3429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4625BFEB-7856-5A4E-8593-D2C9DF5909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3048000" cy="3429000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82817EF3-4723-1048-B9DE-2706076E155D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043214" y="0"/>
            <a:ext cx="3048000" cy="3429000"/>
          </a:xfrm>
          <a:blipFill>
            <a:blip r:embed="rId4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8BABD45C-0E6F-BD41-9A49-26A5CD0E79F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3429000"/>
            <a:ext cx="3048000" cy="3429000"/>
          </a:xfrm>
          <a:blipFill>
            <a:blip r:embed="rId5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C0940ED-56AB-1142-AD34-EF7C479A2FC1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0" name="Obraz 3" descr="Obraz zawierający znak, zegar&#10;&#10;Opis wygenerowany automatycznie">
            <a:extLst>
              <a:ext uri="{FF2B5EF4-FFF2-40B4-BE49-F238E27FC236}">
                <a16:creationId xmlns:a16="http://schemas.microsoft.com/office/drawing/2014/main" id="{1E547447-09C4-3E43-BEF5-F3C384CA5E5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9647" y="253927"/>
            <a:ext cx="1473637" cy="807195"/>
          </a:xfrm>
          <a:prstGeom prst="rect">
            <a:avLst/>
          </a:prstGeom>
        </p:spPr>
      </p:pic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6EBE7E1A-3729-8D4F-9E11-6D91B6FC31D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620905" y="1709051"/>
            <a:ext cx="4765878" cy="544512"/>
          </a:xfrm>
        </p:spPr>
        <p:txBody>
          <a:bodyPr/>
          <a:lstStyle>
            <a:lvl1pPr>
              <a:buNone/>
              <a:defRPr sz="30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GB"/>
              <a:t>Title of paragraph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006AB892-1917-C84A-93F2-5A32237D62C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38344" y="2538449"/>
            <a:ext cx="4748439" cy="1697376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4170A9D5-9BC9-EC4F-A3FB-B4FAB057FE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638344" y="4308526"/>
            <a:ext cx="4748439" cy="1697376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6888437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strip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78A28D46-92BD-7346-BA6B-772F06740D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53927"/>
            <a:ext cx="1473637" cy="80719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AF48A8-1917-C14B-8D19-8576AD4B952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46357" y="1516667"/>
            <a:ext cx="4765878" cy="544512"/>
          </a:xfrm>
        </p:spPr>
        <p:txBody>
          <a:bodyPr/>
          <a:lstStyle>
            <a:lvl1pPr>
              <a:buNone/>
              <a:defRPr sz="30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GB"/>
              <a:t>Title of paragraph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C0940ED-56AB-1142-AD34-EF7C479A2FC1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AACD3C18-3E2C-5A41-8741-15A00C4B523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C718C3E2-4093-7243-9582-CB7ABFB4A1D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-4" y="4807504"/>
            <a:ext cx="6994355" cy="100266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VN"/>
              <a:t> 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8DD7B00-9C36-3E42-AF53-3775F91A1DB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-4" y="3575519"/>
            <a:ext cx="6994355" cy="1002664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VN"/>
              <a:t> 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925C35E9-40F2-B84A-ACD1-3276741696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0" y="2347984"/>
            <a:ext cx="6994355" cy="1002664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VN"/>
              <a:t> </a:t>
            </a:r>
          </a:p>
        </p:txBody>
      </p:sp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6A596FD2-A3CA-DD4E-9C77-ADD5C68D4E6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95345" y="2508417"/>
            <a:ext cx="579892" cy="567285"/>
          </a:xfr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40F9EB04-15BC-F34C-84D7-AA4FD1A98F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95345" y="3796949"/>
            <a:ext cx="579892" cy="567285"/>
          </a:xfr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4C04504-1FC2-9449-BC84-C512C29EA6E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70819" y="3684381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A83137E5-4AF0-154A-8AE3-F7D6474FA66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670819" y="4921446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848A5B0-00BA-394D-BDF1-F307A44DBA4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70819" y="2456846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</a:t>
            </a:r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715BE9E9-2C72-1746-B331-E9C18B502F7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7100" y="5024094"/>
            <a:ext cx="756379" cy="567285"/>
          </a:xfr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46249313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Strip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D1ACE4C7-4EFF-3640-B0F7-5835E864EC1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6096000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C0940ED-56AB-1142-AD34-EF7C479A2FC1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B7A2E874-D404-E94D-B741-40F5A2197DB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572299" y="4921446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C08FADB0-AE67-6B4F-9D0F-D4FA7D65A00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72299" y="2456846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FA254F6F-A27F-C24F-8F8A-92C54AF4CB5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572299" y="3684381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</a:t>
            </a:r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1E6BBDBA-0A0F-4F42-B582-09A8E476AF6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552234" y="3803471"/>
            <a:ext cx="579892" cy="567285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218BD389-3F04-8E4F-B4B1-111BE01DEE4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552234" y="2576338"/>
            <a:ext cx="579892" cy="567285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16" name="Picture Placeholder 5">
            <a:extLst>
              <a:ext uri="{FF2B5EF4-FFF2-40B4-BE49-F238E27FC236}">
                <a16:creationId xmlns:a16="http://schemas.microsoft.com/office/drawing/2014/main" id="{1A137DDF-ED8C-F143-B7D5-9078334A8AD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463990" y="5024347"/>
            <a:ext cx="756380" cy="567285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pic>
        <p:nvPicPr>
          <p:cNvPr id="10" name="Obraz 3" descr="Obraz zawierający znak, zegar&#10;&#10;Opis wygenerowany automatycznie">
            <a:extLst>
              <a:ext uri="{FF2B5EF4-FFF2-40B4-BE49-F238E27FC236}">
                <a16:creationId xmlns:a16="http://schemas.microsoft.com/office/drawing/2014/main" id="{1E547447-09C4-3E43-BEF5-F3C384CA5E5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9647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96446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- 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78">
            <a:extLst>
              <a:ext uri="{FF2B5EF4-FFF2-40B4-BE49-F238E27FC236}">
                <a16:creationId xmlns:a16="http://schemas.microsoft.com/office/drawing/2014/main" id="{AC329EA1-CFC3-564C-B003-3C7836EF26F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222717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16</a:t>
            </a:r>
          </a:p>
        </p:txBody>
      </p:sp>
      <p:sp>
        <p:nvSpPr>
          <p:cNvPr id="24" name="Text Placeholder 78">
            <a:extLst>
              <a:ext uri="{FF2B5EF4-FFF2-40B4-BE49-F238E27FC236}">
                <a16:creationId xmlns:a16="http://schemas.microsoft.com/office/drawing/2014/main" id="{6B9A4B24-3CC9-C74D-A75B-143FE4A35B8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028835" y="4733750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0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5" name="Text Placeholder 78">
            <a:extLst>
              <a:ext uri="{FF2B5EF4-FFF2-40B4-BE49-F238E27FC236}">
                <a16:creationId xmlns:a16="http://schemas.microsoft.com/office/drawing/2014/main" id="{3EC85A26-19E5-084A-9785-3A42CE7AD5C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028607" y="3678479"/>
            <a:ext cx="1817884" cy="967838"/>
          </a:xfrm>
        </p:spPr>
        <p:txBody>
          <a:bodyPr anchor="ctr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18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28" name="Text Placeholder 78">
            <a:extLst>
              <a:ext uri="{FF2B5EF4-FFF2-40B4-BE49-F238E27FC236}">
                <a16:creationId xmlns:a16="http://schemas.microsoft.com/office/drawing/2014/main" id="{C3D0A6B3-C817-434F-9152-40E5AE455FB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187284" y="4733750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0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9" name="Text Placeholder 78">
            <a:extLst>
              <a:ext uri="{FF2B5EF4-FFF2-40B4-BE49-F238E27FC236}">
                <a16:creationId xmlns:a16="http://schemas.microsoft.com/office/drawing/2014/main" id="{9120FE86-0194-9440-AE8D-CFF51FC0506C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187056" y="3678479"/>
            <a:ext cx="1817884" cy="967838"/>
          </a:xfrm>
        </p:spPr>
        <p:txBody>
          <a:bodyPr anchor="ctr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18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30" name="Text Placeholder 78">
            <a:extLst>
              <a:ext uri="{FF2B5EF4-FFF2-40B4-BE49-F238E27FC236}">
                <a16:creationId xmlns:a16="http://schemas.microsoft.com/office/drawing/2014/main" id="{50D00AE0-5473-3A49-B11B-0168B65C539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345506" y="4733750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0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2" name="Text Placeholder 78">
            <a:extLst>
              <a:ext uri="{FF2B5EF4-FFF2-40B4-BE49-F238E27FC236}">
                <a16:creationId xmlns:a16="http://schemas.microsoft.com/office/drawing/2014/main" id="{F116EE32-7A27-BF46-9724-55A425EE4FE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345278" y="3678479"/>
            <a:ext cx="1817884" cy="967838"/>
          </a:xfrm>
        </p:spPr>
        <p:txBody>
          <a:bodyPr anchor="ctr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18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35" name="Text Placeholder 78">
            <a:extLst>
              <a:ext uri="{FF2B5EF4-FFF2-40B4-BE49-F238E27FC236}">
                <a16:creationId xmlns:a16="http://schemas.microsoft.com/office/drawing/2014/main" id="{E3766CE7-8CB0-5247-AF43-4CC04A013B1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503728" y="4733750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0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7" name="Text Placeholder 78">
            <a:extLst>
              <a:ext uri="{FF2B5EF4-FFF2-40B4-BE49-F238E27FC236}">
                <a16:creationId xmlns:a16="http://schemas.microsoft.com/office/drawing/2014/main" id="{598C48B3-E61E-FA46-95D7-DEC6808EB0D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503500" y="3678479"/>
            <a:ext cx="1817884" cy="967838"/>
          </a:xfrm>
        </p:spPr>
        <p:txBody>
          <a:bodyPr anchor="ctr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18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45" name="Text Placeholder 78">
            <a:extLst>
              <a:ext uri="{FF2B5EF4-FFF2-40B4-BE49-F238E27FC236}">
                <a16:creationId xmlns:a16="http://schemas.microsoft.com/office/drawing/2014/main" id="{834D2166-2659-9C4A-A5DB-69AFF004D2DF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70386" y="4731603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0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.</a:t>
            </a:r>
            <a:endParaRPr lang="en-VN"/>
          </a:p>
        </p:txBody>
      </p:sp>
      <p:sp>
        <p:nvSpPr>
          <p:cNvPr id="47" name="Text Placeholder 78">
            <a:extLst>
              <a:ext uri="{FF2B5EF4-FFF2-40B4-BE49-F238E27FC236}">
                <a16:creationId xmlns:a16="http://schemas.microsoft.com/office/drawing/2014/main" id="{F2169C62-C6B3-AD44-96BE-CF171C282F95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70158" y="3676332"/>
            <a:ext cx="1817884" cy="967838"/>
          </a:xfrm>
        </p:spPr>
        <p:txBody>
          <a:bodyPr anchor="ctr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18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48" name="Text Placeholder 78">
            <a:extLst>
              <a:ext uri="{FF2B5EF4-FFF2-40B4-BE49-F238E27FC236}">
                <a16:creationId xmlns:a16="http://schemas.microsoft.com/office/drawing/2014/main" id="{F3B34CE6-6E96-BB45-ABC0-94A7CD775FEA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3376842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17</a:t>
            </a:r>
          </a:p>
        </p:txBody>
      </p:sp>
      <p:sp>
        <p:nvSpPr>
          <p:cNvPr id="49" name="Text Placeholder 78">
            <a:extLst>
              <a:ext uri="{FF2B5EF4-FFF2-40B4-BE49-F238E27FC236}">
                <a16:creationId xmlns:a16="http://schemas.microsoft.com/office/drawing/2014/main" id="{0906E27C-AA1B-C64F-B84A-815CA8396B86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5533228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18</a:t>
            </a:r>
          </a:p>
        </p:txBody>
      </p:sp>
      <p:sp>
        <p:nvSpPr>
          <p:cNvPr id="50" name="Text Placeholder 78">
            <a:extLst>
              <a:ext uri="{FF2B5EF4-FFF2-40B4-BE49-F238E27FC236}">
                <a16:creationId xmlns:a16="http://schemas.microsoft.com/office/drawing/2014/main" id="{3B078F6D-5FBC-1549-BB9A-E40865E592DB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7689614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19</a:t>
            </a:r>
          </a:p>
        </p:txBody>
      </p:sp>
      <p:sp>
        <p:nvSpPr>
          <p:cNvPr id="53" name="Text Placeholder 78">
            <a:extLst>
              <a:ext uri="{FF2B5EF4-FFF2-40B4-BE49-F238E27FC236}">
                <a16:creationId xmlns:a16="http://schemas.microsoft.com/office/drawing/2014/main" id="{5CCBD9F1-A751-3940-9721-5C18015C2F7D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9846000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56" name="Tytuł 1">
            <a:extLst>
              <a:ext uri="{FF2B5EF4-FFF2-40B4-BE49-F238E27FC236}">
                <a16:creationId xmlns:a16="http://schemas.microsoft.com/office/drawing/2014/main" id="{405D75D6-C37C-EF45-BFF2-C0B6273C77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7" y="1477266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pic>
        <p:nvPicPr>
          <p:cNvPr id="58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96130742-E0C1-D143-B93F-982D355C85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0263" y="335280"/>
            <a:ext cx="1137014" cy="622808"/>
          </a:xfrm>
          <a:prstGeom prst="rect">
            <a:avLst/>
          </a:prstGeom>
        </p:spPr>
      </p:pic>
      <p:sp>
        <p:nvSpPr>
          <p:cNvPr id="43" name="Slide Number Placeholder 5">
            <a:extLst>
              <a:ext uri="{FF2B5EF4-FFF2-40B4-BE49-F238E27FC236}">
                <a16:creationId xmlns:a16="http://schemas.microsoft.com/office/drawing/2014/main" id="{F0F0E282-8D80-E549-BDBD-D17E8A75AD18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219CF6FB-C83F-414C-A2FB-BF4D12BADDED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138" y="856893"/>
            <a:ext cx="8805862" cy="616507"/>
          </a:xfrm>
        </p:spPr>
        <p:txBody>
          <a:bodyPr anchor="ctr"/>
          <a:lstStyle>
            <a:lvl1pPr>
              <a:buNone/>
              <a:defRPr sz="4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Timeline</a:t>
            </a:r>
          </a:p>
        </p:txBody>
      </p:sp>
    </p:spTree>
    <p:extLst>
      <p:ext uri="{BB962C8B-B14F-4D97-AF65-F5344CB8AC3E}">
        <p14:creationId xmlns:p14="http://schemas.microsoft.com/office/powerpoint/2010/main" val="29329955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- 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77D4DF0A-3B17-CD4A-AFC5-CD25F565E4FC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73465" y="2533179"/>
            <a:ext cx="3225573" cy="362877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FF636FEF-9B78-E44A-9A6C-EEBB57DEBB0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092735" y="2533179"/>
            <a:ext cx="3225573" cy="362877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62" name="Picture Placeholder 11">
            <a:extLst>
              <a:ext uri="{FF2B5EF4-FFF2-40B4-BE49-F238E27FC236}">
                <a16:creationId xmlns:a16="http://schemas.microsoft.com/office/drawing/2014/main" id="{23D6CF3F-FE3E-064D-A657-4FAA9F757E51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092507" y="4128562"/>
            <a:ext cx="3226028" cy="2033162"/>
          </a:xfrm>
          <a:gradFill flip="none" rotWithShape="1">
            <a:gsLst>
              <a:gs pos="0">
                <a:srgbClr val="000000">
                  <a:alpha val="0"/>
                </a:srgbClr>
              </a:gs>
              <a:gs pos="46000">
                <a:srgbClr val="056E3E">
                  <a:alpha val="40000"/>
                </a:srgbClr>
              </a:gs>
              <a:gs pos="80000">
                <a:srgbClr val="056E3E">
                  <a:alpha val="80000"/>
                </a:srgbClr>
              </a:gs>
              <a:gs pos="97000">
                <a:srgbClr val="056E3E"/>
              </a:gs>
            </a:gsLst>
            <a:lin ang="5400000" scaled="1"/>
            <a:tileRect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54" name="Picture Placeholder 11">
            <a:extLst>
              <a:ext uri="{FF2B5EF4-FFF2-40B4-BE49-F238E27FC236}">
                <a16:creationId xmlns:a16="http://schemas.microsoft.com/office/drawing/2014/main" id="{3658F892-3B86-014C-AC98-9FBDC77E6A4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73464" y="4128562"/>
            <a:ext cx="3225573" cy="2033162"/>
          </a:xfrm>
          <a:gradFill flip="none" rotWithShape="1">
            <a:gsLst>
              <a:gs pos="0">
                <a:srgbClr val="000000">
                  <a:alpha val="0"/>
                </a:srgbClr>
              </a:gs>
              <a:gs pos="46000">
                <a:srgbClr val="056E3E">
                  <a:alpha val="40000"/>
                </a:srgbClr>
              </a:gs>
              <a:gs pos="80000">
                <a:srgbClr val="056E3E">
                  <a:alpha val="80000"/>
                </a:srgbClr>
              </a:gs>
              <a:gs pos="97000">
                <a:srgbClr val="056E3E"/>
              </a:gs>
            </a:gsLst>
            <a:lin ang="5400000" scaled="1"/>
            <a:tileRect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49" name="Picture Placeholder 4">
            <a:extLst>
              <a:ext uri="{FF2B5EF4-FFF2-40B4-BE49-F238E27FC236}">
                <a16:creationId xmlns:a16="http://schemas.microsoft.com/office/drawing/2014/main" id="{5835D3BB-545F-9D43-BD37-01B58E3F0681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483213" y="2533179"/>
            <a:ext cx="3225573" cy="362877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175E377-6F5E-9340-BB06-7AF6E8DF96E4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482986" y="4128562"/>
            <a:ext cx="3225573" cy="2033387"/>
          </a:xfrm>
          <a:gradFill flip="none" rotWithShape="1">
            <a:gsLst>
              <a:gs pos="0">
                <a:srgbClr val="000000">
                  <a:alpha val="0"/>
                </a:srgbClr>
              </a:gs>
              <a:gs pos="46000">
                <a:srgbClr val="056E3E">
                  <a:alpha val="40000"/>
                </a:srgbClr>
              </a:gs>
              <a:gs pos="80000">
                <a:srgbClr val="056E3E">
                  <a:alpha val="80000"/>
                </a:srgbClr>
              </a:gs>
              <a:gs pos="97000">
                <a:srgbClr val="056E3E"/>
              </a:gs>
            </a:gsLst>
            <a:lin ang="5400000" scaled="1"/>
            <a:tileRect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80" name="Text Placeholder 78">
            <a:extLst>
              <a:ext uri="{FF2B5EF4-FFF2-40B4-BE49-F238E27FC236}">
                <a16:creationId xmlns:a16="http://schemas.microsoft.com/office/drawing/2014/main" id="{6288EA3E-4CDA-E94A-AFD8-12B9E08949B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22455" y="5005685"/>
            <a:ext cx="2547646" cy="1016326"/>
          </a:xfrm>
        </p:spPr>
        <p:txBody>
          <a:bodyPr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18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2" name="Text Placeholder 78">
            <a:extLst>
              <a:ext uri="{FF2B5EF4-FFF2-40B4-BE49-F238E27FC236}">
                <a16:creationId xmlns:a16="http://schemas.microsoft.com/office/drawing/2014/main" id="{FD8D786A-E851-6844-AE06-40D72BC31AE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22227" y="4276150"/>
            <a:ext cx="2547646" cy="671666"/>
          </a:xfrm>
        </p:spPr>
        <p:txBody>
          <a:bodyPr anchor="b"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0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24" name="Text Placeholder 78">
            <a:extLst>
              <a:ext uri="{FF2B5EF4-FFF2-40B4-BE49-F238E27FC236}">
                <a16:creationId xmlns:a16="http://schemas.microsoft.com/office/drawing/2014/main" id="{58246A4B-8C63-0F45-BC7B-80F79F76291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632204" y="5005685"/>
            <a:ext cx="2547646" cy="1016326"/>
          </a:xfrm>
        </p:spPr>
        <p:txBody>
          <a:bodyPr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18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7" name="Text Placeholder 78">
            <a:extLst>
              <a:ext uri="{FF2B5EF4-FFF2-40B4-BE49-F238E27FC236}">
                <a16:creationId xmlns:a16="http://schemas.microsoft.com/office/drawing/2014/main" id="{F052F1B8-FD88-8845-BDE3-3FEBBD92713B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631976" y="4276150"/>
            <a:ext cx="2547646" cy="671666"/>
          </a:xfrm>
        </p:spPr>
        <p:txBody>
          <a:bodyPr anchor="b"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0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28" name="Text Placeholder 78">
            <a:extLst>
              <a:ext uri="{FF2B5EF4-FFF2-40B4-BE49-F238E27FC236}">
                <a16:creationId xmlns:a16="http://schemas.microsoft.com/office/drawing/2014/main" id="{E58311E6-82D8-2342-B0FE-F8FC5543917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241953" y="5005685"/>
            <a:ext cx="2547646" cy="1016326"/>
          </a:xfrm>
        </p:spPr>
        <p:txBody>
          <a:bodyPr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18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2" name="Text Placeholder 78">
            <a:extLst>
              <a:ext uri="{FF2B5EF4-FFF2-40B4-BE49-F238E27FC236}">
                <a16:creationId xmlns:a16="http://schemas.microsoft.com/office/drawing/2014/main" id="{86B75E0E-378E-C547-8E4A-0E77E24EC88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241725" y="4276150"/>
            <a:ext cx="2547646" cy="671666"/>
          </a:xfrm>
        </p:spPr>
        <p:txBody>
          <a:bodyPr anchor="b"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0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3D376FE8-EB6A-44C0-BD1A-AFABAF24FB97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1022227" y="2992835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44" name="Text Placeholder 78">
            <a:extLst>
              <a:ext uri="{FF2B5EF4-FFF2-40B4-BE49-F238E27FC236}">
                <a16:creationId xmlns:a16="http://schemas.microsoft.com/office/drawing/2014/main" id="{41EA5F8B-06BA-4C51-B4D4-E3F77861A05C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4631976" y="2992835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45" name="Text Placeholder 78">
            <a:extLst>
              <a:ext uri="{FF2B5EF4-FFF2-40B4-BE49-F238E27FC236}">
                <a16:creationId xmlns:a16="http://schemas.microsoft.com/office/drawing/2014/main" id="{30BCE74D-FFB5-4C0B-9C49-FF69BA995287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241725" y="2992835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pic>
        <p:nvPicPr>
          <p:cNvPr id="4" name="Obraz 3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8DC80185-3761-4FDC-8206-2A1270E7896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  <p:sp>
        <p:nvSpPr>
          <p:cNvPr id="25" name="Tytuł 1">
            <a:extLst>
              <a:ext uri="{FF2B5EF4-FFF2-40B4-BE49-F238E27FC236}">
                <a16:creationId xmlns:a16="http://schemas.microsoft.com/office/drawing/2014/main" id="{C13DCCC6-F343-FF42-95E6-71AF2A8434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7" y="1477266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E5E9EDB5-E674-E248-9BE8-7355237B5742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6452062F-B167-1A4C-A9E3-D027B134FD1A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138" y="856893"/>
            <a:ext cx="8805862" cy="616507"/>
          </a:xfrm>
        </p:spPr>
        <p:txBody>
          <a:bodyPr anchor="ctr"/>
          <a:lstStyle>
            <a:lvl1pPr>
              <a:buNone/>
              <a:defRPr sz="4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Timeline</a:t>
            </a:r>
          </a:p>
        </p:txBody>
      </p:sp>
    </p:spTree>
    <p:extLst>
      <p:ext uri="{BB962C8B-B14F-4D97-AF65-F5344CB8AC3E}">
        <p14:creationId xmlns:p14="http://schemas.microsoft.com/office/powerpoint/2010/main" val="3174087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- 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77D4DF0A-3B17-CD4A-AFC5-CD25F565E4FC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73465" y="2533179"/>
            <a:ext cx="1955169" cy="362877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FF636FEF-9B78-E44A-9A6C-EEBB57DEBB0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092735" y="2533179"/>
            <a:ext cx="1955169" cy="362877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49" name="Picture Placeholder 4">
            <a:extLst>
              <a:ext uri="{FF2B5EF4-FFF2-40B4-BE49-F238E27FC236}">
                <a16:creationId xmlns:a16="http://schemas.microsoft.com/office/drawing/2014/main" id="{5835D3BB-545F-9D43-BD37-01B58E3F0681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483213" y="2533179"/>
            <a:ext cx="1955169" cy="362877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54" name="Picture Placeholder 11">
            <a:extLst>
              <a:ext uri="{FF2B5EF4-FFF2-40B4-BE49-F238E27FC236}">
                <a16:creationId xmlns:a16="http://schemas.microsoft.com/office/drawing/2014/main" id="{3658F892-3B86-014C-AC98-9FBDC77E6A4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73465" y="3886206"/>
            <a:ext cx="1955169" cy="2275518"/>
          </a:xfrm>
          <a:gradFill flip="none" rotWithShape="1">
            <a:gsLst>
              <a:gs pos="0">
                <a:srgbClr val="000000">
                  <a:alpha val="0"/>
                </a:srgbClr>
              </a:gs>
              <a:gs pos="46000">
                <a:srgbClr val="056E3E">
                  <a:alpha val="40000"/>
                </a:srgbClr>
              </a:gs>
              <a:gs pos="80000">
                <a:srgbClr val="056E3E">
                  <a:alpha val="80000"/>
                </a:srgbClr>
              </a:gs>
              <a:gs pos="97000">
                <a:srgbClr val="056E3E"/>
              </a:gs>
            </a:gsLst>
            <a:lin ang="5400000" scaled="1"/>
            <a:tileRect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80" name="Text Placeholder 78">
            <a:extLst>
              <a:ext uri="{FF2B5EF4-FFF2-40B4-BE49-F238E27FC236}">
                <a16:creationId xmlns:a16="http://schemas.microsoft.com/office/drawing/2014/main" id="{6288EA3E-4CDA-E94A-AFD8-12B9E08949B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437391" y="5005685"/>
            <a:ext cx="2132710" cy="1016326"/>
          </a:xfrm>
        </p:spPr>
        <p:txBody>
          <a:bodyPr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18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2" name="Text Placeholder 78">
            <a:extLst>
              <a:ext uri="{FF2B5EF4-FFF2-40B4-BE49-F238E27FC236}">
                <a16:creationId xmlns:a16="http://schemas.microsoft.com/office/drawing/2014/main" id="{FD8D786A-E851-6844-AE06-40D72BC31AE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37163" y="4276150"/>
            <a:ext cx="2132710" cy="671666"/>
          </a:xfrm>
        </p:spPr>
        <p:txBody>
          <a:bodyPr anchor="b"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0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35" name="Text Placeholder 78">
            <a:extLst>
              <a:ext uri="{FF2B5EF4-FFF2-40B4-BE49-F238E27FC236}">
                <a16:creationId xmlns:a16="http://schemas.microsoft.com/office/drawing/2014/main" id="{4F9F41A7-C8DB-DB40-8F1D-DF4E34A18A6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1022227" y="2992835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37" name="Text Placeholder 78">
            <a:extLst>
              <a:ext uri="{FF2B5EF4-FFF2-40B4-BE49-F238E27FC236}">
                <a16:creationId xmlns:a16="http://schemas.microsoft.com/office/drawing/2014/main" id="{93C96D09-B104-8246-AB35-F2C637F9CC91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4631976" y="2992835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F76529C6-5B56-A046-A5BC-FBD15D44EB08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241725" y="2992835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25" name="Picture Placeholder 11">
            <a:extLst>
              <a:ext uri="{FF2B5EF4-FFF2-40B4-BE49-F238E27FC236}">
                <a16:creationId xmlns:a16="http://schemas.microsoft.com/office/drawing/2014/main" id="{04ABCCAF-4380-844C-8C74-EEE8ABBBEDD1}"/>
              </a:ext>
            </a:extLst>
          </p:cNvPr>
          <p:cNvSpPr>
            <a:spLocks noGrp="1"/>
          </p:cNvSpPr>
          <p:nvPr>
            <p:ph type="pic" sz="quarter" idx="79" hasCustomPrompt="1"/>
          </p:nvPr>
        </p:nvSpPr>
        <p:spPr>
          <a:xfrm>
            <a:off x="4482987" y="3886206"/>
            <a:ext cx="1955169" cy="2275518"/>
          </a:xfrm>
          <a:gradFill flip="none" rotWithShape="1">
            <a:gsLst>
              <a:gs pos="0">
                <a:srgbClr val="000000">
                  <a:alpha val="0"/>
                </a:srgbClr>
              </a:gs>
              <a:gs pos="46000">
                <a:srgbClr val="056E3E">
                  <a:alpha val="40000"/>
                </a:srgbClr>
              </a:gs>
              <a:gs pos="80000">
                <a:srgbClr val="056E3E">
                  <a:alpha val="80000"/>
                </a:srgbClr>
              </a:gs>
              <a:gs pos="97000">
                <a:srgbClr val="056E3E"/>
              </a:gs>
            </a:gsLst>
            <a:lin ang="5400000" scaled="1"/>
            <a:tileRect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53E26D6-AC11-6F42-A2AA-2A7B4D8DD84D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5046912" y="5005685"/>
            <a:ext cx="2132710" cy="1016326"/>
          </a:xfrm>
        </p:spPr>
        <p:txBody>
          <a:bodyPr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18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0" name="Text Placeholder 78">
            <a:extLst>
              <a:ext uri="{FF2B5EF4-FFF2-40B4-BE49-F238E27FC236}">
                <a16:creationId xmlns:a16="http://schemas.microsoft.com/office/drawing/2014/main" id="{415F11DF-0FF1-DE4B-8F88-129F882DA378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5046684" y="4276150"/>
            <a:ext cx="2132710" cy="671666"/>
          </a:xfrm>
        </p:spPr>
        <p:txBody>
          <a:bodyPr anchor="b"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0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31" name="Picture Placeholder 11">
            <a:extLst>
              <a:ext uri="{FF2B5EF4-FFF2-40B4-BE49-F238E27FC236}">
                <a16:creationId xmlns:a16="http://schemas.microsoft.com/office/drawing/2014/main" id="{C4C0F5D3-8EB7-DA4C-A552-3268EE883FCD}"/>
              </a:ext>
            </a:extLst>
          </p:cNvPr>
          <p:cNvSpPr>
            <a:spLocks noGrp="1"/>
          </p:cNvSpPr>
          <p:nvPr>
            <p:ph type="pic" sz="quarter" idx="82" hasCustomPrompt="1"/>
          </p:nvPr>
        </p:nvSpPr>
        <p:spPr>
          <a:xfrm>
            <a:off x="8092963" y="3886206"/>
            <a:ext cx="1954941" cy="2275518"/>
          </a:xfrm>
          <a:gradFill flip="none" rotWithShape="1">
            <a:gsLst>
              <a:gs pos="0">
                <a:srgbClr val="000000">
                  <a:alpha val="0"/>
                </a:srgbClr>
              </a:gs>
              <a:gs pos="46000">
                <a:srgbClr val="056E3E">
                  <a:alpha val="40000"/>
                </a:srgbClr>
              </a:gs>
              <a:gs pos="80000">
                <a:srgbClr val="056E3E">
                  <a:alpha val="80000"/>
                </a:srgbClr>
              </a:gs>
              <a:gs pos="97000">
                <a:srgbClr val="056E3E"/>
              </a:gs>
            </a:gsLst>
            <a:lin ang="5400000" scaled="1"/>
            <a:tileRect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39" name="Text Placeholder 78">
            <a:extLst>
              <a:ext uri="{FF2B5EF4-FFF2-40B4-BE49-F238E27FC236}">
                <a16:creationId xmlns:a16="http://schemas.microsoft.com/office/drawing/2014/main" id="{63C380DC-73A1-EB44-8D5C-10B04279CD82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8804933" y="5005798"/>
            <a:ext cx="2132710" cy="1016326"/>
          </a:xfrm>
        </p:spPr>
        <p:txBody>
          <a:bodyPr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18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40" name="Text Placeholder 78">
            <a:extLst>
              <a:ext uri="{FF2B5EF4-FFF2-40B4-BE49-F238E27FC236}">
                <a16:creationId xmlns:a16="http://schemas.microsoft.com/office/drawing/2014/main" id="{7B4AD03E-7FBC-F144-8C91-CF545BF60E66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8804705" y="4276263"/>
            <a:ext cx="2132710" cy="671666"/>
          </a:xfrm>
        </p:spPr>
        <p:txBody>
          <a:bodyPr anchor="b"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0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pic>
        <p:nvPicPr>
          <p:cNvPr id="3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8A333359-947F-4FCD-8334-060F02F9892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  <p:sp>
        <p:nvSpPr>
          <p:cNvPr id="22" name="Tytuł 1">
            <a:extLst>
              <a:ext uri="{FF2B5EF4-FFF2-40B4-BE49-F238E27FC236}">
                <a16:creationId xmlns:a16="http://schemas.microsoft.com/office/drawing/2014/main" id="{8F702650-F5F7-A64C-9E49-B70A8C3D8C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7" y="1477266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1EE22A29-29A3-494B-AAF5-86A1BA537A0E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E47876D8-6441-8141-8515-3481B103DD5F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138" y="856893"/>
            <a:ext cx="8805862" cy="616507"/>
          </a:xfrm>
        </p:spPr>
        <p:txBody>
          <a:bodyPr anchor="ctr"/>
          <a:lstStyle>
            <a:lvl1pPr>
              <a:buNone/>
              <a:defRPr sz="4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Timeline</a:t>
            </a:r>
          </a:p>
        </p:txBody>
      </p:sp>
    </p:spTree>
    <p:extLst>
      <p:ext uri="{BB962C8B-B14F-4D97-AF65-F5344CB8AC3E}">
        <p14:creationId xmlns:p14="http://schemas.microsoft.com/office/powerpoint/2010/main" val="4132959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- 4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FFAD60F4-ACCD-4639-B663-4D424DF1863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  <p:sp>
        <p:nvSpPr>
          <p:cNvPr id="6" name="Tytuł 1">
            <a:extLst>
              <a:ext uri="{FF2B5EF4-FFF2-40B4-BE49-F238E27FC236}">
                <a16:creationId xmlns:a16="http://schemas.microsoft.com/office/drawing/2014/main" id="{B7F5003A-5726-4C45-8CFA-6A9310038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7266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25D7C37-FF15-364D-94FB-1D3E96E7397A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FA9741C-EEFF-724D-9763-916CF2BED03D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138" y="856893"/>
            <a:ext cx="8805862" cy="616507"/>
          </a:xfrm>
        </p:spPr>
        <p:txBody>
          <a:bodyPr anchor="ctr"/>
          <a:lstStyle>
            <a:lvl1pPr>
              <a:buNone/>
              <a:defRPr sz="4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Timeline</a:t>
            </a:r>
          </a:p>
        </p:txBody>
      </p:sp>
    </p:spTree>
    <p:extLst>
      <p:ext uri="{BB962C8B-B14F-4D97-AF65-F5344CB8AC3E}">
        <p14:creationId xmlns:p14="http://schemas.microsoft.com/office/powerpoint/2010/main" val="2136673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ripes_green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312A978-7A74-4A48-9A0E-3CF19ADCC2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3886" y="0"/>
            <a:ext cx="6096000" cy="685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b="0"/>
            </a:lvl1pPr>
          </a:lstStyle>
          <a:p>
            <a:endParaRPr lang="en-VN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A4E6CDD7-E2B3-0D40-AA32-D9366218B37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97644" y="2347338"/>
            <a:ext cx="6994358" cy="1011710"/>
          </a:xfrm>
          <a:solidFill>
            <a:schemeClr val="bg1"/>
          </a:solidFill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1000"/>
              </a:spcBef>
              <a:buFont typeface="System Font Regular"/>
              <a:buNone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indent="0">
              <a:buNone/>
            </a:pPr>
            <a:r>
              <a:rPr lang="en-VN"/>
              <a:t>  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0EB6AF7A-5344-4049-B287-59B87E011FC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97642" y="3581260"/>
            <a:ext cx="6994359" cy="1011710"/>
          </a:xfrm>
          <a:solidFill>
            <a:schemeClr val="bg1"/>
          </a:solidFill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1000"/>
              </a:spcBef>
              <a:buFont typeface="System Font Regular"/>
              <a:buNone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VN"/>
              <a:t>  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9DF55C36-FE57-3648-B310-BD3559A715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97642" y="4802135"/>
            <a:ext cx="6994358" cy="1011710"/>
          </a:xfrm>
          <a:solidFill>
            <a:schemeClr val="bg1"/>
          </a:solidFill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1000"/>
              </a:spcBef>
              <a:buFont typeface="System Font Regular"/>
              <a:buNone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VN"/>
              <a:t>  </a:t>
            </a:r>
          </a:p>
        </p:txBody>
      </p:sp>
      <p:sp>
        <p:nvSpPr>
          <p:cNvPr id="51" name="Picture Placeholder 5">
            <a:extLst>
              <a:ext uri="{FF2B5EF4-FFF2-40B4-BE49-F238E27FC236}">
                <a16:creationId xmlns:a16="http://schemas.microsoft.com/office/drawing/2014/main" id="{1B6D52F7-F4D8-8540-A2A7-468C40471A5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463990" y="5024347"/>
            <a:ext cx="756380" cy="567285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67" name="Picture Placeholder 5">
            <a:extLst>
              <a:ext uri="{FF2B5EF4-FFF2-40B4-BE49-F238E27FC236}">
                <a16:creationId xmlns:a16="http://schemas.microsoft.com/office/drawing/2014/main" id="{2ACC7F8B-0883-F84A-8471-9CC95C57EB4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552234" y="2576338"/>
            <a:ext cx="579892" cy="56728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AEF35F9-0DC5-BE4B-96F3-67A5BE706D8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572299" y="2462244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>
                <a:solidFill>
                  <a:schemeClr val="tx2"/>
                </a:solidFill>
              </a:rPr>
              <a:t>risus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gravida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condimentum</a:t>
            </a:r>
            <a:r>
              <a:rPr lang="pl-PL">
                <a:solidFill>
                  <a:schemeClr val="tx2"/>
                </a:solidFill>
              </a:rPr>
              <a:t> non </a:t>
            </a:r>
            <a:r>
              <a:rPr lang="pl-PL" err="1">
                <a:solidFill>
                  <a:schemeClr val="tx2"/>
                </a:solidFill>
              </a:rPr>
              <a:t>at</a:t>
            </a:r>
            <a:r>
              <a:rPr lang="pl-PL">
                <a:solidFill>
                  <a:schemeClr val="tx2"/>
                </a:solidFill>
              </a:rPr>
              <a:t> nunc.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BC4AC382-608D-C146-ADFD-F4CDB1BB678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552234" y="3803471"/>
            <a:ext cx="579892" cy="567285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10261F7-52F2-A140-8A58-8E840D865C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72299" y="3694643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>
                <a:solidFill>
                  <a:schemeClr val="tx2"/>
                </a:solidFill>
              </a:rPr>
              <a:t>risus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gravida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condimentum</a:t>
            </a:r>
            <a:r>
              <a:rPr lang="pl-PL">
                <a:solidFill>
                  <a:schemeClr val="tx2"/>
                </a:solidFill>
              </a:rPr>
              <a:t> non </a:t>
            </a:r>
            <a:r>
              <a:rPr lang="pl-PL" err="1">
                <a:solidFill>
                  <a:schemeClr val="tx2"/>
                </a:solidFill>
              </a:rPr>
              <a:t>at</a:t>
            </a:r>
            <a:r>
              <a:rPr lang="pl-PL">
                <a:solidFill>
                  <a:schemeClr val="tx2"/>
                </a:solidFill>
              </a:rPr>
              <a:t> nunc.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14F417C-24E8-3246-8919-7383A6EBCCD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72299" y="4914132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>
                <a:solidFill>
                  <a:schemeClr val="tx2"/>
                </a:solidFill>
              </a:rPr>
              <a:t>risus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gravida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condimentum</a:t>
            </a:r>
            <a:r>
              <a:rPr lang="pl-PL">
                <a:solidFill>
                  <a:schemeClr val="tx2"/>
                </a:solidFill>
              </a:rPr>
              <a:t> non </a:t>
            </a:r>
            <a:r>
              <a:rPr lang="pl-PL" err="1">
                <a:solidFill>
                  <a:schemeClr val="tx2"/>
                </a:solidFill>
              </a:rPr>
              <a:t>at</a:t>
            </a:r>
            <a:r>
              <a:rPr lang="pl-PL">
                <a:solidFill>
                  <a:schemeClr val="tx2"/>
                </a:solidFill>
              </a:rPr>
              <a:t> nunc.</a:t>
            </a:r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31374420-E582-4C80-AE43-4E5EB4C06DF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488518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ytuł 1">
            <a:extLst>
              <a:ext uri="{FF2B5EF4-FFF2-40B4-BE49-F238E27FC236}">
                <a16:creationId xmlns:a16="http://schemas.microsoft.com/office/drawing/2014/main" id="{46B78CD4-6DC0-104F-B4BD-0566E5541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7266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D7E5FB14-933E-4364-B3D1-C09D685904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1AF8FAC6-5691-8F44-A736-3C3F681BB4E3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1169357" y="3818051"/>
            <a:ext cx="3081485" cy="544512"/>
          </a:xfrm>
        </p:spPr>
        <p:txBody>
          <a:bodyPr/>
          <a:lstStyle>
            <a:lvl1pPr>
              <a:buNone/>
              <a:defRPr sz="3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GB"/>
              <a:t>Headlin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022AB283-5E32-4048-AEF7-1DEE3227C5FD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8212436" y="3818051"/>
            <a:ext cx="3081485" cy="544512"/>
          </a:xfrm>
        </p:spPr>
        <p:txBody>
          <a:bodyPr/>
          <a:lstStyle>
            <a:lvl1pPr>
              <a:buNone/>
              <a:defRPr sz="3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GB"/>
              <a:t>Headline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CFF5452E-0EAC-DB4E-8F5E-13F670AEB30E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798871" y="2613943"/>
            <a:ext cx="1498600" cy="941258"/>
          </a:xfrm>
        </p:spPr>
        <p:txBody>
          <a:bodyPr anchor="ctr"/>
          <a:lstStyle>
            <a:lvl1pPr algn="r">
              <a:buNone/>
              <a:defRPr sz="50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50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 sz="50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50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 sz="50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GB"/>
              <a:t>90%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92874513-9B3E-3443-A9D1-EAC431491685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4332912" y="2613943"/>
            <a:ext cx="1498600" cy="941258"/>
          </a:xfrm>
        </p:spPr>
        <p:txBody>
          <a:bodyPr anchor="ctr"/>
          <a:lstStyle>
            <a:lvl1pPr algn="r">
              <a:buNone/>
              <a:defRPr sz="50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50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 sz="50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50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 sz="50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GB"/>
              <a:t>70%</a:t>
            </a:r>
          </a:p>
        </p:txBody>
      </p:sp>
      <p:sp>
        <p:nvSpPr>
          <p:cNvPr id="45" name="Text Placeholder 8">
            <a:extLst>
              <a:ext uri="{FF2B5EF4-FFF2-40B4-BE49-F238E27FC236}">
                <a16:creationId xmlns:a16="http://schemas.microsoft.com/office/drawing/2014/main" id="{F9E006D5-2167-8747-920B-DB99BBF690F6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7866953" y="2613943"/>
            <a:ext cx="1498600" cy="941258"/>
          </a:xfrm>
        </p:spPr>
        <p:txBody>
          <a:bodyPr anchor="ctr"/>
          <a:lstStyle>
            <a:lvl1pPr algn="r">
              <a:buNone/>
              <a:defRPr sz="50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50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 sz="50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50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 sz="50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GB"/>
              <a:t>50%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35DB30B-36B6-5843-AB9E-501EB97C4E11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138" y="856893"/>
            <a:ext cx="8805862" cy="616507"/>
          </a:xfrm>
        </p:spPr>
        <p:txBody>
          <a:bodyPr anchor="ctr"/>
          <a:lstStyle>
            <a:lvl1pPr>
              <a:buNone/>
              <a:defRPr sz="4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Statistics</a:t>
            </a:r>
          </a:p>
        </p:txBody>
      </p:sp>
      <p:sp>
        <p:nvSpPr>
          <p:cNvPr id="49" name="Slide Number Placeholder 5">
            <a:extLst>
              <a:ext uri="{FF2B5EF4-FFF2-40B4-BE49-F238E27FC236}">
                <a16:creationId xmlns:a16="http://schemas.microsoft.com/office/drawing/2014/main" id="{637270DB-8053-A049-B4D8-EA7BB028A4DD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88B1464B-D1F3-D54A-B488-0A4E7355228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169357" y="4620078"/>
            <a:ext cx="3081485" cy="1381026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.</a:t>
            </a: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346F57C2-7DC1-5349-BC36-60CB1D6B8529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4690909" y="4620078"/>
            <a:ext cx="3081485" cy="1381026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.</a:t>
            </a: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6F4BF61D-9AE6-8540-97BD-E11C6ED6722D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8212436" y="4620078"/>
            <a:ext cx="3081485" cy="1381026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.</a:t>
            </a:r>
          </a:p>
        </p:txBody>
      </p:sp>
      <p:sp>
        <p:nvSpPr>
          <p:cNvPr id="81" name="Text Placeholder 3">
            <a:extLst>
              <a:ext uri="{FF2B5EF4-FFF2-40B4-BE49-F238E27FC236}">
                <a16:creationId xmlns:a16="http://schemas.microsoft.com/office/drawing/2014/main" id="{670B3358-2106-7848-A321-74D4D598E333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4690909" y="3818051"/>
            <a:ext cx="3081485" cy="544512"/>
          </a:xfrm>
        </p:spPr>
        <p:txBody>
          <a:bodyPr/>
          <a:lstStyle>
            <a:lvl1pPr>
              <a:buNone/>
              <a:defRPr sz="3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GB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27475597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hart Placeholder 2">
            <a:extLst>
              <a:ext uri="{FF2B5EF4-FFF2-40B4-BE49-F238E27FC236}">
                <a16:creationId xmlns:a16="http://schemas.microsoft.com/office/drawing/2014/main" id="{164FAD95-5B35-C04C-960B-FF68DB61F234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3840187" y="2553992"/>
            <a:ext cx="7505451" cy="3452807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VN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C99B4826-B08E-408F-B8D3-9A05CF3AA0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  <p:sp>
        <p:nvSpPr>
          <p:cNvPr id="12" name="Tytuł 1">
            <a:extLst>
              <a:ext uri="{FF2B5EF4-FFF2-40B4-BE49-F238E27FC236}">
                <a16:creationId xmlns:a16="http://schemas.microsoft.com/office/drawing/2014/main" id="{B1A44B65-860C-514C-987D-CDE7EB3B13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7266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B20AB871-7C86-2C41-A81A-DF61DC55D00B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138" y="856893"/>
            <a:ext cx="8805862" cy="616507"/>
          </a:xfrm>
        </p:spPr>
        <p:txBody>
          <a:bodyPr anchor="ctr"/>
          <a:lstStyle>
            <a:lvl1pPr>
              <a:buNone/>
              <a:defRPr sz="4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Pie Chart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F7A9E528-62BA-F04E-812B-07006A0D5E09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D7CCBEA-7862-E942-A16D-9D1AB9185BF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73575" y="2553991"/>
            <a:ext cx="2429131" cy="3447115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.</a:t>
            </a:r>
          </a:p>
        </p:txBody>
      </p:sp>
    </p:spTree>
    <p:extLst>
      <p:ext uri="{BB962C8B-B14F-4D97-AF65-F5344CB8AC3E}">
        <p14:creationId xmlns:p14="http://schemas.microsoft.com/office/powerpoint/2010/main" val="4204699254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C99B4826-B08E-408F-B8D3-9A05CF3AA0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  <p:sp>
        <p:nvSpPr>
          <p:cNvPr id="12" name="Tytuł 1">
            <a:extLst>
              <a:ext uri="{FF2B5EF4-FFF2-40B4-BE49-F238E27FC236}">
                <a16:creationId xmlns:a16="http://schemas.microsoft.com/office/drawing/2014/main" id="{B1A44B65-860C-514C-987D-CDE7EB3B13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7266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B20AB871-7C86-2C41-A81A-DF61DC55D00B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138" y="856893"/>
            <a:ext cx="8805862" cy="616507"/>
          </a:xfrm>
        </p:spPr>
        <p:txBody>
          <a:bodyPr anchor="ctr"/>
          <a:lstStyle>
            <a:lvl1pPr>
              <a:buNone/>
              <a:defRPr sz="4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Bar Chart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F7A9E528-62BA-F04E-812B-07006A0D5E09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Chart Placeholder 2">
            <a:extLst>
              <a:ext uri="{FF2B5EF4-FFF2-40B4-BE49-F238E27FC236}">
                <a16:creationId xmlns:a16="http://schemas.microsoft.com/office/drawing/2014/main" id="{7CAAFC51-14E2-CF46-82C9-D0CD3F6007DB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873575" y="2537783"/>
            <a:ext cx="7502933" cy="3434392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VN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930ED03-E3B2-6346-8034-3421B6FDD9F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916507" y="2553991"/>
            <a:ext cx="2429131" cy="3447115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.</a:t>
            </a:r>
          </a:p>
        </p:txBody>
      </p:sp>
    </p:spTree>
    <p:extLst>
      <p:ext uri="{BB962C8B-B14F-4D97-AF65-F5344CB8AC3E}">
        <p14:creationId xmlns:p14="http://schemas.microsoft.com/office/powerpoint/2010/main" val="616129765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 Placeholder 60">
            <a:extLst>
              <a:ext uri="{FF2B5EF4-FFF2-40B4-BE49-F238E27FC236}">
                <a16:creationId xmlns:a16="http://schemas.microsoft.com/office/drawing/2014/main" id="{AB50EBF6-5D95-BC45-9C63-954D03F72C5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09031" y="3637944"/>
            <a:ext cx="1881427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1.</a:t>
            </a:r>
          </a:p>
        </p:txBody>
      </p:sp>
      <p:sp>
        <p:nvSpPr>
          <p:cNvPr id="65" name="Text Placeholder 60">
            <a:extLst>
              <a:ext uri="{FF2B5EF4-FFF2-40B4-BE49-F238E27FC236}">
                <a16:creationId xmlns:a16="http://schemas.microsoft.com/office/drawing/2014/main" id="{F720E689-39B1-9245-AB65-DD6F312DBB6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09031" y="4124820"/>
            <a:ext cx="1881427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graphicFrame>
        <p:nvGraphicFramePr>
          <p:cNvPr id="36" name="Diagram 35">
            <a:extLst>
              <a:ext uri="{FF2B5EF4-FFF2-40B4-BE49-F238E27FC236}">
                <a16:creationId xmlns:a16="http://schemas.microsoft.com/office/drawing/2014/main" id="{CD23FAA5-A7A5-8C49-8E0D-F024CE455463}"/>
              </a:ext>
            </a:extLst>
          </p:cNvPr>
          <p:cNvGraphicFramePr/>
          <p:nvPr userDrawn="1"/>
        </p:nvGraphicFramePr>
        <p:xfrm>
          <a:off x="868137" y="2328182"/>
          <a:ext cx="10477501" cy="7565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60C20CF-B865-8B44-BD36-17589A21A6C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209031" y="2326909"/>
            <a:ext cx="1645549" cy="756558"/>
          </a:xfrm>
        </p:spPr>
        <p:txBody>
          <a:bodyPr anchor="ctr"/>
          <a:lstStyle>
            <a:lvl1pPr marL="17100" indent="0" algn="l">
              <a:buNone/>
              <a:defRPr sz="24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16181BA-1FC1-E741-B679-9810D1ECAB6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68870" y="2328182"/>
            <a:ext cx="1645549" cy="756558"/>
          </a:xfrm>
        </p:spPr>
        <p:txBody>
          <a:bodyPr anchor="ctr"/>
          <a:lstStyle>
            <a:lvl1pPr marL="17100" indent="0" algn="l">
              <a:buNone/>
              <a:defRPr sz="24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FE33DAE9-07C3-DB48-897C-2C0141E4A66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91486" y="2326909"/>
            <a:ext cx="1645549" cy="756558"/>
          </a:xfrm>
        </p:spPr>
        <p:txBody>
          <a:bodyPr anchor="ctr"/>
          <a:lstStyle>
            <a:lvl1pPr marL="17100" indent="0" algn="l">
              <a:buNone/>
              <a:defRPr sz="24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64B5A0C-DD98-B342-82AE-38923E82673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44177" y="2337820"/>
            <a:ext cx="1645549" cy="756558"/>
          </a:xfrm>
        </p:spPr>
        <p:txBody>
          <a:bodyPr anchor="ctr"/>
          <a:lstStyle>
            <a:lvl1pPr marL="17100" indent="0" algn="l">
              <a:buNone/>
              <a:defRPr sz="24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2081F07E-5101-144B-84C2-23242040AD7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366362" y="2337820"/>
            <a:ext cx="1645549" cy="756558"/>
          </a:xfrm>
        </p:spPr>
        <p:txBody>
          <a:bodyPr anchor="ctr"/>
          <a:lstStyle>
            <a:lvl1pPr marL="17100" indent="0" algn="l">
              <a:buNone/>
              <a:defRPr sz="24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840059F9-9774-47EA-9875-CA53E16FEC2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8532EDB7-E28B-B849-B438-56277E220B89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138" y="856893"/>
            <a:ext cx="8805862" cy="616507"/>
          </a:xfrm>
        </p:spPr>
        <p:txBody>
          <a:bodyPr anchor="ctr"/>
          <a:lstStyle>
            <a:lvl1pPr>
              <a:buNone/>
              <a:defRPr sz="4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Process</a:t>
            </a:r>
          </a:p>
        </p:txBody>
      </p:sp>
      <p:sp>
        <p:nvSpPr>
          <p:cNvPr id="34" name="Slide Number Placeholder 5">
            <a:extLst>
              <a:ext uri="{FF2B5EF4-FFF2-40B4-BE49-F238E27FC236}">
                <a16:creationId xmlns:a16="http://schemas.microsoft.com/office/drawing/2014/main" id="{FD380E55-45E1-4645-9B4D-758630F39E01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9F824E2-B611-E544-933E-BC0484A37538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1210025" y="4502207"/>
            <a:ext cx="1877157" cy="1413239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18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53" name="Text Placeholder 60">
            <a:extLst>
              <a:ext uri="{FF2B5EF4-FFF2-40B4-BE49-F238E27FC236}">
                <a16:creationId xmlns:a16="http://schemas.microsoft.com/office/drawing/2014/main" id="{9A03A800-A292-CF49-B779-156F5F69F936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3268870" y="3637944"/>
            <a:ext cx="1881427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2.</a:t>
            </a:r>
          </a:p>
        </p:txBody>
      </p:sp>
      <p:sp>
        <p:nvSpPr>
          <p:cNvPr id="54" name="Text Placeholder 60">
            <a:extLst>
              <a:ext uri="{FF2B5EF4-FFF2-40B4-BE49-F238E27FC236}">
                <a16:creationId xmlns:a16="http://schemas.microsoft.com/office/drawing/2014/main" id="{F9BAB76C-2BA8-CB48-881C-4A4A8AB26E45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3268870" y="4124820"/>
            <a:ext cx="1881427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100BD9E0-B3DE-1544-8C87-AB992C65AB61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3269864" y="4502207"/>
            <a:ext cx="1877157" cy="1413239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18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59" name="Text Placeholder 60">
            <a:extLst>
              <a:ext uri="{FF2B5EF4-FFF2-40B4-BE49-F238E27FC236}">
                <a16:creationId xmlns:a16="http://schemas.microsoft.com/office/drawing/2014/main" id="{0007A5B3-E733-CB43-8AE4-EEA61822E4E5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7344177" y="3637944"/>
            <a:ext cx="1881427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3.</a:t>
            </a:r>
          </a:p>
        </p:txBody>
      </p:sp>
      <p:sp>
        <p:nvSpPr>
          <p:cNvPr id="60" name="Text Placeholder 60">
            <a:extLst>
              <a:ext uri="{FF2B5EF4-FFF2-40B4-BE49-F238E27FC236}">
                <a16:creationId xmlns:a16="http://schemas.microsoft.com/office/drawing/2014/main" id="{CA21098D-F5BE-1946-AFC9-3C51B480FEC5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7344177" y="4124820"/>
            <a:ext cx="1881427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265BBD86-8AB8-1A45-B99B-B16C0D4B39CB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7345171" y="4502207"/>
            <a:ext cx="1877157" cy="1413239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18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63" name="Text Placeholder 60">
            <a:extLst>
              <a:ext uri="{FF2B5EF4-FFF2-40B4-BE49-F238E27FC236}">
                <a16:creationId xmlns:a16="http://schemas.microsoft.com/office/drawing/2014/main" id="{25012C76-B792-7A4B-8253-101BCB38C542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9372456" y="3637944"/>
            <a:ext cx="1881427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3.</a:t>
            </a:r>
          </a:p>
        </p:txBody>
      </p:sp>
      <p:sp>
        <p:nvSpPr>
          <p:cNvPr id="69" name="Text Placeholder 60">
            <a:extLst>
              <a:ext uri="{FF2B5EF4-FFF2-40B4-BE49-F238E27FC236}">
                <a16:creationId xmlns:a16="http://schemas.microsoft.com/office/drawing/2014/main" id="{A082FCDD-E441-FD46-82C9-05B23CE28759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9372456" y="4124820"/>
            <a:ext cx="1881427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BF09DA00-B3B1-E04A-B8D0-D79B0CF05FC1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9373450" y="4502207"/>
            <a:ext cx="1877157" cy="1413239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18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74" name="Text Placeholder 60">
            <a:extLst>
              <a:ext uri="{FF2B5EF4-FFF2-40B4-BE49-F238E27FC236}">
                <a16:creationId xmlns:a16="http://schemas.microsoft.com/office/drawing/2014/main" id="{CBD48E35-21BB-B644-A4B3-84BD5021F5E3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5290996" y="3637944"/>
            <a:ext cx="1881427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3.</a:t>
            </a:r>
          </a:p>
        </p:txBody>
      </p:sp>
      <p:sp>
        <p:nvSpPr>
          <p:cNvPr id="75" name="Text Placeholder 60">
            <a:extLst>
              <a:ext uri="{FF2B5EF4-FFF2-40B4-BE49-F238E27FC236}">
                <a16:creationId xmlns:a16="http://schemas.microsoft.com/office/drawing/2014/main" id="{ACD2A819-F188-344E-A327-C06B01EC36C0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5290996" y="4124820"/>
            <a:ext cx="1881427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19DCD2B9-F0AC-3A4F-825D-2A6927B17135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5291990" y="4502207"/>
            <a:ext cx="1877157" cy="1413239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18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32412886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840059F9-9774-47EA-9875-CA53E16FEC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8532EDB7-E28B-B849-B438-56277E220B89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138" y="856893"/>
            <a:ext cx="8805862" cy="616507"/>
          </a:xfrm>
        </p:spPr>
        <p:txBody>
          <a:bodyPr anchor="ctr"/>
          <a:lstStyle>
            <a:lvl1pPr>
              <a:buNone/>
              <a:defRPr sz="4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Process</a:t>
            </a:r>
          </a:p>
        </p:txBody>
      </p:sp>
      <p:sp>
        <p:nvSpPr>
          <p:cNvPr id="34" name="Slide Number Placeholder 5">
            <a:extLst>
              <a:ext uri="{FF2B5EF4-FFF2-40B4-BE49-F238E27FC236}">
                <a16:creationId xmlns:a16="http://schemas.microsoft.com/office/drawing/2014/main" id="{FD380E55-45E1-4645-9B4D-758630F39E01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82679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Diagram 35">
            <a:extLst>
              <a:ext uri="{FF2B5EF4-FFF2-40B4-BE49-F238E27FC236}">
                <a16:creationId xmlns:a16="http://schemas.microsoft.com/office/drawing/2014/main" id="{CD23FAA5-A7A5-8C49-8E0D-F024CE455463}"/>
              </a:ext>
            </a:extLst>
          </p:cNvPr>
          <p:cNvGraphicFramePr/>
          <p:nvPr userDrawn="1"/>
        </p:nvGraphicFramePr>
        <p:xfrm>
          <a:off x="868137" y="2328182"/>
          <a:ext cx="10477501" cy="7565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60C20CF-B865-8B44-BD36-17589A21A6C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209031" y="2326909"/>
            <a:ext cx="1645549" cy="756558"/>
          </a:xfrm>
        </p:spPr>
        <p:txBody>
          <a:bodyPr anchor="ctr"/>
          <a:lstStyle>
            <a:lvl1pPr marL="17100" indent="0" algn="ctr">
              <a:buNone/>
              <a:defRPr sz="24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/>
              <a:t>01</a:t>
            </a:r>
            <a:endParaRPr lang="en-VN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16181BA-1FC1-E741-B679-9810D1ECAB6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68870" y="2328182"/>
            <a:ext cx="1645549" cy="756558"/>
          </a:xfrm>
        </p:spPr>
        <p:txBody>
          <a:bodyPr anchor="ctr"/>
          <a:lstStyle>
            <a:lvl1pPr marL="17100" indent="0" algn="ctr">
              <a:buNone/>
              <a:defRPr sz="24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/>
              <a:t>02</a:t>
            </a:r>
            <a:endParaRPr lang="en-VN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FE33DAE9-07C3-DB48-897C-2C0141E4A66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91486" y="2326909"/>
            <a:ext cx="1645549" cy="756558"/>
          </a:xfrm>
        </p:spPr>
        <p:txBody>
          <a:bodyPr anchor="ctr"/>
          <a:lstStyle>
            <a:lvl1pPr marL="17100" indent="0" algn="ctr">
              <a:buNone/>
              <a:defRPr sz="24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/>
              <a:t>03</a:t>
            </a:r>
            <a:endParaRPr lang="en-VN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64B5A0C-DD98-B342-82AE-38923E82673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44177" y="2337820"/>
            <a:ext cx="1645549" cy="756558"/>
          </a:xfrm>
        </p:spPr>
        <p:txBody>
          <a:bodyPr anchor="ctr"/>
          <a:lstStyle>
            <a:lvl1pPr marL="17100" indent="0" algn="ctr">
              <a:buNone/>
              <a:defRPr sz="24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/>
              <a:t>04</a:t>
            </a:r>
            <a:endParaRPr lang="en-VN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2081F07E-5101-144B-84C2-23242040AD7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366362" y="2337820"/>
            <a:ext cx="1645549" cy="756558"/>
          </a:xfrm>
        </p:spPr>
        <p:txBody>
          <a:bodyPr anchor="ctr"/>
          <a:lstStyle>
            <a:lvl1pPr marL="17100" indent="0" algn="ctr">
              <a:buNone/>
              <a:defRPr sz="24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/>
              <a:t>05</a:t>
            </a:r>
            <a:endParaRPr lang="en-VN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840059F9-9774-47EA-9875-CA53E16FEC2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8532EDB7-E28B-B849-B438-56277E220B89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138" y="856893"/>
            <a:ext cx="8805862" cy="616507"/>
          </a:xfrm>
        </p:spPr>
        <p:txBody>
          <a:bodyPr anchor="ctr"/>
          <a:lstStyle>
            <a:lvl1pPr>
              <a:buNone/>
              <a:defRPr sz="4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Process</a:t>
            </a:r>
          </a:p>
        </p:txBody>
      </p:sp>
      <p:sp>
        <p:nvSpPr>
          <p:cNvPr id="34" name="Slide Number Placeholder 5">
            <a:extLst>
              <a:ext uri="{FF2B5EF4-FFF2-40B4-BE49-F238E27FC236}">
                <a16:creationId xmlns:a16="http://schemas.microsoft.com/office/drawing/2014/main" id="{FD380E55-45E1-4645-9B4D-758630F39E01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100BD9E0-B3DE-1544-8C87-AB992C65AB61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3269864" y="3637945"/>
            <a:ext cx="1877157" cy="227750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18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265BBD86-8AB8-1A45-B99B-B16C0D4B39CB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7345171" y="3637945"/>
            <a:ext cx="1877157" cy="227750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18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BF09DA00-B3B1-E04A-B8D0-D79B0CF05FC1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9373450" y="3637945"/>
            <a:ext cx="1877157" cy="227750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18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19DCD2B9-F0AC-3A4F-825D-2A6927B17135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5291990" y="3637945"/>
            <a:ext cx="1877157" cy="227750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18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F2934AB9-6D14-4D4F-9DC6-3D965CF8E892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1210025" y="3637945"/>
            <a:ext cx="1877157" cy="227750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18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39577173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sational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840059F9-9774-47EA-9875-CA53E16FEC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8532EDB7-E28B-B849-B438-56277E220B89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138" y="856893"/>
            <a:ext cx="8805862" cy="616507"/>
          </a:xfrm>
        </p:spPr>
        <p:txBody>
          <a:bodyPr anchor="ctr"/>
          <a:lstStyle>
            <a:lvl1pPr>
              <a:buNone/>
              <a:defRPr sz="4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Organisational</a:t>
            </a:r>
          </a:p>
        </p:txBody>
      </p:sp>
      <p:sp>
        <p:nvSpPr>
          <p:cNvPr id="34" name="Slide Number Placeholder 5">
            <a:extLst>
              <a:ext uri="{FF2B5EF4-FFF2-40B4-BE49-F238E27FC236}">
                <a16:creationId xmlns:a16="http://schemas.microsoft.com/office/drawing/2014/main" id="{FD380E55-45E1-4645-9B4D-758630F39E01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SmartArt Placeholder 2">
            <a:extLst>
              <a:ext uri="{FF2B5EF4-FFF2-40B4-BE49-F238E27FC236}">
                <a16:creationId xmlns:a16="http://schemas.microsoft.com/office/drawing/2014/main" id="{6B918FAB-732E-F441-9CCE-4975405C9C85}"/>
              </a:ext>
            </a:extLst>
          </p:cNvPr>
          <p:cNvSpPr>
            <a:spLocks noGrp="1"/>
          </p:cNvSpPr>
          <p:nvPr>
            <p:ph type="dgm" sz="quarter" idx="17"/>
          </p:nvPr>
        </p:nvSpPr>
        <p:spPr>
          <a:xfrm>
            <a:off x="868790" y="2545887"/>
            <a:ext cx="10476847" cy="3434391"/>
          </a:xfrm>
        </p:spPr>
        <p:txBody>
          <a:bodyPr/>
          <a:lstStyle/>
          <a:p>
            <a:r>
              <a:rPr lang="en-US"/>
              <a:t>Click icon to add SmartArt graphic</a:t>
            </a:r>
            <a:endParaRPr lang="en-VN"/>
          </a:p>
        </p:txBody>
      </p:sp>
      <p:sp>
        <p:nvSpPr>
          <p:cNvPr id="20" name="Tytuł 1">
            <a:extLst>
              <a:ext uri="{FF2B5EF4-FFF2-40B4-BE49-F238E27FC236}">
                <a16:creationId xmlns:a16="http://schemas.microsoft.com/office/drawing/2014/main" id="{B3787165-5716-E648-A892-B0ED48E173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7266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/>
              <a:t>Chart</a:t>
            </a:r>
          </a:p>
        </p:txBody>
      </p:sp>
    </p:spTree>
    <p:extLst>
      <p:ext uri="{BB962C8B-B14F-4D97-AF65-F5344CB8AC3E}">
        <p14:creationId xmlns:p14="http://schemas.microsoft.com/office/powerpoint/2010/main" val="18731240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 -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840059F9-9774-47EA-9875-CA53E16FEC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8532EDB7-E28B-B849-B438-56277E220B89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138" y="856893"/>
            <a:ext cx="8805862" cy="616507"/>
          </a:xfrm>
        </p:spPr>
        <p:txBody>
          <a:bodyPr anchor="ctr"/>
          <a:lstStyle>
            <a:lvl1pPr>
              <a:buNone/>
              <a:defRPr sz="4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People</a:t>
            </a:r>
          </a:p>
        </p:txBody>
      </p:sp>
      <p:sp>
        <p:nvSpPr>
          <p:cNvPr id="34" name="Slide Number Placeholder 5">
            <a:extLst>
              <a:ext uri="{FF2B5EF4-FFF2-40B4-BE49-F238E27FC236}">
                <a16:creationId xmlns:a16="http://schemas.microsoft.com/office/drawing/2014/main" id="{FD380E55-45E1-4645-9B4D-758630F39E01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" name="Tytuł 1">
            <a:extLst>
              <a:ext uri="{FF2B5EF4-FFF2-40B4-BE49-F238E27FC236}">
                <a16:creationId xmlns:a16="http://schemas.microsoft.com/office/drawing/2014/main" id="{B3787165-5716-E648-A892-B0ED48E173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7266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b="1" i="0" spc="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A9E3370-7483-DC4B-AB2B-5F5F777EE6F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398814" y="2422338"/>
            <a:ext cx="1303338" cy="1303338"/>
          </a:xfrm>
          <a:prstGeom prst="ellips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VN"/>
              <a:t> 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5804AF41-A552-D94A-BE44-A1267D0530C9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843730" y="2435390"/>
            <a:ext cx="1303338" cy="1303338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VN"/>
              <a:t> 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85D07917-57D9-5B41-8D7C-1AF2E8BC11F6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2937265" y="2430860"/>
            <a:ext cx="2951004" cy="836176"/>
          </a:xfrm>
        </p:spPr>
        <p:txBody>
          <a:bodyPr anchor="ctr"/>
          <a:lstStyle>
            <a:lvl1pPr>
              <a:buNone/>
              <a:defRPr sz="3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E000A793-BDC3-F34E-A890-D25BD85888F0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8393685" y="2430860"/>
            <a:ext cx="2951004" cy="836176"/>
          </a:xfrm>
        </p:spPr>
        <p:txBody>
          <a:bodyPr anchor="ctr"/>
          <a:lstStyle>
            <a:lvl1pPr>
              <a:buNone/>
              <a:defRPr sz="3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6F6CC33-192A-E44A-891D-72259FF03B9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408790" y="3937958"/>
            <a:ext cx="4479480" cy="191275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425BE9F-F3EB-A448-ABA9-CA986AF05D62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6850219" y="3937958"/>
            <a:ext cx="4479480" cy="191275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0BF124-C727-AD4C-BA4F-CD03E1E52A75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2936875" y="3267075"/>
            <a:ext cx="2951163" cy="577850"/>
          </a:xfrm>
        </p:spPr>
        <p:txBody>
          <a:bodyPr/>
          <a:lstStyle>
            <a:lvl1pPr>
              <a:buNone/>
              <a:defRPr sz="24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buNone/>
              <a:defRPr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buNone/>
              <a:defRPr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buNone/>
              <a:defRPr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buNone/>
              <a:defRPr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GB"/>
              <a:t>Job position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EE78CBC9-6D71-1349-9B57-360F7A91130A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8393685" y="3267075"/>
            <a:ext cx="2951163" cy="577850"/>
          </a:xfrm>
        </p:spPr>
        <p:txBody>
          <a:bodyPr/>
          <a:lstStyle>
            <a:lvl1pPr>
              <a:buNone/>
              <a:defRPr sz="24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buNone/>
              <a:defRPr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buNone/>
              <a:defRPr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buNone/>
              <a:defRPr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buNone/>
              <a:defRPr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GB"/>
              <a:t>Job position</a:t>
            </a:r>
          </a:p>
        </p:txBody>
      </p:sp>
    </p:spTree>
    <p:extLst>
      <p:ext uri="{BB962C8B-B14F-4D97-AF65-F5344CB8AC3E}">
        <p14:creationId xmlns:p14="http://schemas.microsoft.com/office/powerpoint/2010/main" val="2604872521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 -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840059F9-9774-47EA-9875-CA53E16FEC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8532EDB7-E28B-B849-B438-56277E220B89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138" y="856893"/>
            <a:ext cx="8805862" cy="616507"/>
          </a:xfrm>
        </p:spPr>
        <p:txBody>
          <a:bodyPr anchor="ctr"/>
          <a:lstStyle>
            <a:lvl1pPr>
              <a:buNone/>
              <a:defRPr sz="4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People</a:t>
            </a:r>
          </a:p>
        </p:txBody>
      </p:sp>
      <p:sp>
        <p:nvSpPr>
          <p:cNvPr id="34" name="Slide Number Placeholder 5">
            <a:extLst>
              <a:ext uri="{FF2B5EF4-FFF2-40B4-BE49-F238E27FC236}">
                <a16:creationId xmlns:a16="http://schemas.microsoft.com/office/drawing/2014/main" id="{FD380E55-45E1-4645-9B4D-758630F39E01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" name="Tytuł 1">
            <a:extLst>
              <a:ext uri="{FF2B5EF4-FFF2-40B4-BE49-F238E27FC236}">
                <a16:creationId xmlns:a16="http://schemas.microsoft.com/office/drawing/2014/main" id="{B3787165-5716-E648-A892-B0ED48E173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7266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b="1" i="0" spc="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A9E3370-7483-DC4B-AB2B-5F5F777EE6F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398814" y="2422338"/>
            <a:ext cx="1303338" cy="1303338"/>
          </a:xfrm>
          <a:prstGeom prst="ellips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VN"/>
              <a:t> 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5804AF41-A552-D94A-BE44-A1267D0530C9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843730" y="2435390"/>
            <a:ext cx="1303338" cy="1303338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VN"/>
              <a:t> 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85D07917-57D9-5B41-8D7C-1AF2E8BC11F6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2937265" y="2430860"/>
            <a:ext cx="2951004" cy="489182"/>
          </a:xfrm>
        </p:spPr>
        <p:txBody>
          <a:bodyPr anchor="t"/>
          <a:lstStyle>
            <a:lvl1pPr>
              <a:buNone/>
              <a:defRPr sz="26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6F6CC33-192A-E44A-891D-72259FF03B9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936874" y="3398669"/>
            <a:ext cx="2951395" cy="74646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0BF124-C727-AD4C-BA4F-CD03E1E52A75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2936875" y="2930745"/>
            <a:ext cx="2951163" cy="467924"/>
          </a:xfrm>
        </p:spPr>
        <p:txBody>
          <a:bodyPr anchor="t"/>
          <a:lstStyle>
            <a:lvl1pPr>
              <a:buNone/>
              <a:defRPr sz="24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buNone/>
              <a:defRPr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buNone/>
              <a:defRPr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buNone/>
              <a:defRPr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buNone/>
              <a:defRPr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GB"/>
              <a:t>Job position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E11E0F77-5EEC-384C-A422-8E1B78C59CA5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98814" y="4530841"/>
            <a:ext cx="1303338" cy="1303338"/>
          </a:xfrm>
          <a:prstGeom prst="ellipse">
            <a:avLst/>
          </a:prstGeo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E29A5E62-4435-764B-8C94-630475554478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843730" y="4543893"/>
            <a:ext cx="1303338" cy="1303338"/>
          </a:xfrm>
          <a:prstGeom prst="ellipse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78" name="Text Placeholder 10">
            <a:extLst>
              <a:ext uri="{FF2B5EF4-FFF2-40B4-BE49-F238E27FC236}">
                <a16:creationId xmlns:a16="http://schemas.microsoft.com/office/drawing/2014/main" id="{B022E20E-7F57-CA47-A43D-8D63A57D93BF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8386189" y="2430860"/>
            <a:ext cx="2951004" cy="489182"/>
          </a:xfrm>
        </p:spPr>
        <p:txBody>
          <a:bodyPr anchor="t"/>
          <a:lstStyle>
            <a:lvl1pPr>
              <a:buNone/>
              <a:defRPr sz="26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1D730AF0-26CF-D947-B379-5FFB176D79F7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8385798" y="3398669"/>
            <a:ext cx="2951395" cy="74646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0" name="Text Placeholder 3">
            <a:extLst>
              <a:ext uri="{FF2B5EF4-FFF2-40B4-BE49-F238E27FC236}">
                <a16:creationId xmlns:a16="http://schemas.microsoft.com/office/drawing/2014/main" id="{5B382389-22AA-8443-ACA2-8C70476178D2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8385799" y="2930745"/>
            <a:ext cx="2951163" cy="467924"/>
          </a:xfrm>
        </p:spPr>
        <p:txBody>
          <a:bodyPr anchor="t"/>
          <a:lstStyle>
            <a:lvl1pPr>
              <a:buNone/>
              <a:defRPr sz="24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buNone/>
              <a:defRPr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buNone/>
              <a:defRPr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buNone/>
              <a:defRPr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buNone/>
              <a:defRPr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GB"/>
              <a:t>Job position</a:t>
            </a:r>
          </a:p>
        </p:txBody>
      </p:sp>
      <p:sp>
        <p:nvSpPr>
          <p:cNvPr id="81" name="Text Placeholder 10">
            <a:extLst>
              <a:ext uri="{FF2B5EF4-FFF2-40B4-BE49-F238E27FC236}">
                <a16:creationId xmlns:a16="http://schemas.microsoft.com/office/drawing/2014/main" id="{089EAFAD-0426-6D43-8761-0AF724374E64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2937265" y="4543893"/>
            <a:ext cx="2951004" cy="489182"/>
          </a:xfrm>
        </p:spPr>
        <p:txBody>
          <a:bodyPr anchor="t"/>
          <a:lstStyle>
            <a:lvl1pPr>
              <a:buNone/>
              <a:defRPr sz="26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AF5A60A2-B974-FB42-BB6C-3863F334FC2A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2936874" y="5511702"/>
            <a:ext cx="2951395" cy="74646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3" name="Text Placeholder 3">
            <a:extLst>
              <a:ext uri="{FF2B5EF4-FFF2-40B4-BE49-F238E27FC236}">
                <a16:creationId xmlns:a16="http://schemas.microsoft.com/office/drawing/2014/main" id="{9903301E-6C15-A942-A9A5-8619F2B441A8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2936875" y="5043778"/>
            <a:ext cx="2951163" cy="467924"/>
          </a:xfrm>
        </p:spPr>
        <p:txBody>
          <a:bodyPr anchor="t"/>
          <a:lstStyle>
            <a:lvl1pPr>
              <a:buNone/>
              <a:defRPr sz="24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buNone/>
              <a:defRPr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buNone/>
              <a:defRPr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buNone/>
              <a:defRPr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buNone/>
              <a:defRPr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GB"/>
              <a:t>Job position</a:t>
            </a:r>
          </a:p>
        </p:txBody>
      </p:sp>
      <p:sp>
        <p:nvSpPr>
          <p:cNvPr id="84" name="Text Placeholder 10">
            <a:extLst>
              <a:ext uri="{FF2B5EF4-FFF2-40B4-BE49-F238E27FC236}">
                <a16:creationId xmlns:a16="http://schemas.microsoft.com/office/drawing/2014/main" id="{174FD240-AF34-1545-BC06-2B4763FEA990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8386189" y="4543893"/>
            <a:ext cx="2951004" cy="489182"/>
          </a:xfrm>
        </p:spPr>
        <p:txBody>
          <a:bodyPr anchor="t"/>
          <a:lstStyle>
            <a:lvl1pPr>
              <a:buNone/>
              <a:defRPr sz="26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375873CF-C79E-2D4F-95D0-3995E8CDE397}"/>
              </a:ext>
            </a:extLst>
          </p:cNvPr>
          <p:cNvSpPr>
            <a:spLocks noGrp="1"/>
          </p:cNvSpPr>
          <p:nvPr>
            <p:ph type="body" sz="quarter" idx="108" hasCustomPrompt="1"/>
          </p:nvPr>
        </p:nvSpPr>
        <p:spPr>
          <a:xfrm>
            <a:off x="8385798" y="5511702"/>
            <a:ext cx="2951395" cy="74646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6" name="Text Placeholder 3">
            <a:extLst>
              <a:ext uri="{FF2B5EF4-FFF2-40B4-BE49-F238E27FC236}">
                <a16:creationId xmlns:a16="http://schemas.microsoft.com/office/drawing/2014/main" id="{842265F2-2824-0540-8148-9E4357A86345}"/>
              </a:ext>
            </a:extLst>
          </p:cNvPr>
          <p:cNvSpPr>
            <a:spLocks noGrp="1"/>
          </p:cNvSpPr>
          <p:nvPr>
            <p:ph type="body" sz="quarter" idx="109" hasCustomPrompt="1"/>
          </p:nvPr>
        </p:nvSpPr>
        <p:spPr>
          <a:xfrm>
            <a:off x="8385799" y="5043778"/>
            <a:ext cx="2951163" cy="467924"/>
          </a:xfrm>
        </p:spPr>
        <p:txBody>
          <a:bodyPr anchor="t"/>
          <a:lstStyle>
            <a:lvl1pPr>
              <a:buNone/>
              <a:defRPr sz="24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buNone/>
              <a:defRPr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buNone/>
              <a:defRPr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buNone/>
              <a:defRPr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buNone/>
              <a:defRPr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GB"/>
              <a:t>Job position</a:t>
            </a:r>
          </a:p>
        </p:txBody>
      </p:sp>
    </p:spTree>
    <p:extLst>
      <p:ext uri="{BB962C8B-B14F-4D97-AF65-F5344CB8AC3E}">
        <p14:creationId xmlns:p14="http://schemas.microsoft.com/office/powerpoint/2010/main" val="173674033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78A28D46-92BD-7346-BA6B-772F06740D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53927"/>
            <a:ext cx="1473637" cy="80719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AF48A8-1917-C14B-8D19-8576AD4B952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46357" y="1709051"/>
            <a:ext cx="4765878" cy="544512"/>
          </a:xfrm>
        </p:spPr>
        <p:txBody>
          <a:bodyPr/>
          <a:lstStyle>
            <a:lvl1pPr>
              <a:buNone/>
              <a:defRPr sz="40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GB"/>
              <a:t>Title of paragraph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A90B2FB-5385-A243-B5CC-772C1BD2B6D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3796" y="2538449"/>
            <a:ext cx="4748439" cy="1697376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455598A8-515C-6144-A67A-0142E150240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63796" y="4308526"/>
            <a:ext cx="4748439" cy="1697376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C0940ED-56AB-1142-AD34-EF7C479A2FC1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07441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ymbol zastępczy numeru slajdu 5">
            <a:extLst>
              <a:ext uri="{FF2B5EF4-FFF2-40B4-BE49-F238E27FC236}">
                <a16:creationId xmlns:a16="http://schemas.microsoft.com/office/drawing/2014/main" id="{D526C90E-13B5-4D95-8BE9-03ED11780FC9}"/>
              </a:ext>
            </a:extLst>
          </p:cNvPr>
          <p:cNvSpPr>
            <a:spLocks noGrp="1"/>
          </p:cNvSpPr>
          <p:nvPr userDrawn="1">
            <p:ph type="sldNum" sz="quarter" idx="19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31" name="Text Placeholder 78">
            <a:extLst>
              <a:ext uri="{FF2B5EF4-FFF2-40B4-BE49-F238E27FC236}">
                <a16:creationId xmlns:a16="http://schemas.microsoft.com/office/drawing/2014/main" id="{53991EA8-1DE2-B04F-947B-B0DC9489981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222719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16</a:t>
            </a:r>
          </a:p>
        </p:txBody>
      </p:sp>
      <p:sp>
        <p:nvSpPr>
          <p:cNvPr id="39" name="Text Placeholder 78">
            <a:extLst>
              <a:ext uri="{FF2B5EF4-FFF2-40B4-BE49-F238E27FC236}">
                <a16:creationId xmlns:a16="http://schemas.microsoft.com/office/drawing/2014/main" id="{153D7BBB-71C9-CA45-88F7-0AE8F2F3713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028837" y="4733750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40" name="Text Placeholder 78">
            <a:extLst>
              <a:ext uri="{FF2B5EF4-FFF2-40B4-BE49-F238E27FC236}">
                <a16:creationId xmlns:a16="http://schemas.microsoft.com/office/drawing/2014/main" id="{4EB89907-6B4C-9542-8101-8B2FB45E100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028609" y="3678479"/>
            <a:ext cx="1817884" cy="967838"/>
          </a:xfrm>
        </p:spPr>
        <p:txBody>
          <a:bodyPr anchor="b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41" name="Text Placeholder 78">
            <a:extLst>
              <a:ext uri="{FF2B5EF4-FFF2-40B4-BE49-F238E27FC236}">
                <a16:creationId xmlns:a16="http://schemas.microsoft.com/office/drawing/2014/main" id="{26B9FE68-8C91-2645-B8C3-1AAA6AEFCE4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187286" y="4733750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42" name="Text Placeholder 78">
            <a:extLst>
              <a:ext uri="{FF2B5EF4-FFF2-40B4-BE49-F238E27FC236}">
                <a16:creationId xmlns:a16="http://schemas.microsoft.com/office/drawing/2014/main" id="{18E955D3-BF1F-F448-BC17-A37BB123719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187058" y="3678479"/>
            <a:ext cx="1817884" cy="967838"/>
          </a:xfrm>
        </p:spPr>
        <p:txBody>
          <a:bodyPr anchor="b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3B2A8A9C-6F4F-0045-A89D-D0743E068F6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345508" y="4733750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44" name="Text Placeholder 78">
            <a:extLst>
              <a:ext uri="{FF2B5EF4-FFF2-40B4-BE49-F238E27FC236}">
                <a16:creationId xmlns:a16="http://schemas.microsoft.com/office/drawing/2014/main" id="{EEE1401C-8217-E04A-9A37-26BE6028B96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345280" y="3678479"/>
            <a:ext cx="1817884" cy="967838"/>
          </a:xfrm>
        </p:spPr>
        <p:txBody>
          <a:bodyPr anchor="b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51" name="Text Placeholder 78">
            <a:extLst>
              <a:ext uri="{FF2B5EF4-FFF2-40B4-BE49-F238E27FC236}">
                <a16:creationId xmlns:a16="http://schemas.microsoft.com/office/drawing/2014/main" id="{A105B319-A7C3-C641-A304-CB2D4A1E928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503730" y="4733750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52" name="Text Placeholder 78">
            <a:extLst>
              <a:ext uri="{FF2B5EF4-FFF2-40B4-BE49-F238E27FC236}">
                <a16:creationId xmlns:a16="http://schemas.microsoft.com/office/drawing/2014/main" id="{801F9EA7-5570-F543-BF0B-FB16CA448C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503502" y="3678479"/>
            <a:ext cx="1817884" cy="967838"/>
          </a:xfrm>
        </p:spPr>
        <p:txBody>
          <a:bodyPr anchor="b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74" name="Text Placeholder 78">
            <a:extLst>
              <a:ext uri="{FF2B5EF4-FFF2-40B4-BE49-F238E27FC236}">
                <a16:creationId xmlns:a16="http://schemas.microsoft.com/office/drawing/2014/main" id="{21E92614-1F2A-AD47-AA40-C80F1B33118D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70388" y="4731603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.</a:t>
            </a:r>
            <a:endParaRPr lang="en-VN"/>
          </a:p>
        </p:txBody>
      </p:sp>
      <p:sp>
        <p:nvSpPr>
          <p:cNvPr id="75" name="Text Placeholder 78">
            <a:extLst>
              <a:ext uri="{FF2B5EF4-FFF2-40B4-BE49-F238E27FC236}">
                <a16:creationId xmlns:a16="http://schemas.microsoft.com/office/drawing/2014/main" id="{F85A0D46-AE83-704C-8143-860288B971D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70160" y="3676332"/>
            <a:ext cx="1817884" cy="967838"/>
          </a:xfrm>
        </p:spPr>
        <p:txBody>
          <a:bodyPr anchor="b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33" name="Text Placeholder 78">
            <a:extLst>
              <a:ext uri="{FF2B5EF4-FFF2-40B4-BE49-F238E27FC236}">
                <a16:creationId xmlns:a16="http://schemas.microsoft.com/office/drawing/2014/main" id="{74CCB615-9E6A-FC48-9CA9-1D2C5AF7A891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3376844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17</a:t>
            </a:r>
          </a:p>
        </p:txBody>
      </p:sp>
      <p:sp>
        <p:nvSpPr>
          <p:cNvPr id="34" name="Text Placeholder 78">
            <a:extLst>
              <a:ext uri="{FF2B5EF4-FFF2-40B4-BE49-F238E27FC236}">
                <a16:creationId xmlns:a16="http://schemas.microsoft.com/office/drawing/2014/main" id="{31235041-E1E2-6844-B06D-4B8C8B2C9F15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5533230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18</a:t>
            </a:r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C6394014-B288-094A-AF03-5BDB43D8E39D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7689616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19</a:t>
            </a:r>
          </a:p>
        </p:txBody>
      </p:sp>
      <p:sp>
        <p:nvSpPr>
          <p:cNvPr id="46" name="Text Placeholder 78">
            <a:extLst>
              <a:ext uri="{FF2B5EF4-FFF2-40B4-BE49-F238E27FC236}">
                <a16:creationId xmlns:a16="http://schemas.microsoft.com/office/drawing/2014/main" id="{FE6C76C7-00D0-D543-A9D5-697ACE8E498E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9846002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26" name="Tytuł 1">
            <a:extLst>
              <a:ext uri="{FF2B5EF4-FFF2-40B4-BE49-F238E27FC236}">
                <a16:creationId xmlns:a16="http://schemas.microsoft.com/office/drawing/2014/main" id="{A8B49C75-881C-054D-96A0-4E70170D1F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5D994EA-5467-B240-9B14-C688E2DBCDF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Timeline</a:t>
            </a:r>
            <a:endParaRPr lang="pl-PL"/>
          </a:p>
        </p:txBody>
      </p:sp>
      <p:pic>
        <p:nvPicPr>
          <p:cNvPr id="2" name="Obraz 1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7D614EB5-9AC5-4AA1-81FE-60CDD1930D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862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- 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AF80F354-D608-42B7-8D08-E64354FDE8F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4ECA71-2FE1-C343-B737-724A29C63640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6159081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- 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4ECA71-2FE1-C343-B737-724A29C63640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7284277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AF80F354-D608-42B7-8D08-E64354FDE8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4ECA71-2FE1-C343-B737-724A29C63640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D6103D5-F37F-DE4F-86C0-9DAB645989B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46357" y="1171162"/>
            <a:ext cx="4765878" cy="544512"/>
          </a:xfrm>
        </p:spPr>
        <p:txBody>
          <a:bodyPr/>
          <a:lstStyle>
            <a:lvl1pPr>
              <a:buNone/>
              <a:defRPr sz="22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buNone/>
              <a:defRPr sz="5500" b="1">
                <a:solidFill>
                  <a:srgbClr val="52525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GB"/>
              <a:t>Icons</a:t>
            </a:r>
          </a:p>
        </p:txBody>
      </p:sp>
    </p:spTree>
    <p:extLst>
      <p:ext uri="{BB962C8B-B14F-4D97-AF65-F5344CB8AC3E}">
        <p14:creationId xmlns:p14="http://schemas.microsoft.com/office/powerpoint/2010/main" val="191314522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_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2">
            <a:extLst>
              <a:ext uri="{FF2B5EF4-FFF2-40B4-BE49-F238E27FC236}">
                <a16:creationId xmlns:a16="http://schemas.microsoft.com/office/drawing/2014/main" id="{8420CF63-BCBF-DD47-94BE-F5E550B49AE6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2600960" y="1660071"/>
            <a:ext cx="6990080" cy="3931920"/>
          </a:xfrm>
        </p:spPr>
      </p:sp>
      <p:pic>
        <p:nvPicPr>
          <p:cNvPr id="2" name="Obraz 1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54CFD476-AD99-4BA6-8E9B-509B5FA299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5A68ED-F49B-4C41-A78C-ED5D577EBFAA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893974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_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54CFD476-AD99-4BA6-8E9B-509B5FA299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5A68ED-F49B-4C41-A78C-ED5D577EBFAA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761325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_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5A68ED-F49B-4C41-A78C-ED5D577EBFAA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45327823-F787-B540-8FFC-EA00EFD5140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7737" y="2745152"/>
            <a:ext cx="2796526" cy="1531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74264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99D49-E9B0-4648-A2A0-22D531008F3A}" type="slidenum">
              <a:rPr kumimoji="0" lang="pl-PL" sz="1200" b="1" i="1" u="none" strike="noStrike" kern="1200" cap="none" spc="0" normalizeH="0" baseline="0" noProof="0" smtClean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pl-PL" sz="1200" b="1" i="1" u="none" strike="noStrike" kern="1200" cap="none" spc="0" normalizeH="0" baseline="0" noProof="0">
              <a:ln>
                <a:noFill/>
              </a:ln>
              <a:solidFill>
                <a:srgbClr val="29A457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7" name="Tytuł 1">
            <a:extLst>
              <a:ext uri="{FF2B5EF4-FFF2-40B4-BE49-F238E27FC236}">
                <a16:creationId xmlns:a16="http://schemas.microsoft.com/office/drawing/2014/main" id="{929E80EC-ABB5-FC47-BF91-33C7057C3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2220840-5540-F14A-BC1E-444C1BD005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253927"/>
            <a:ext cx="8806338" cy="679767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44329518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_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5A68ED-F49B-4C41-A78C-ED5D577EBFAA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A35F58E-1B8E-D14A-E85D-8EAFC5F8D5E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6299" y="3109186"/>
            <a:ext cx="2142783" cy="931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749531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30693327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6E60419D-35A4-4C8B-90E1-C7CFD3AEA4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347" y="335280"/>
            <a:ext cx="1820897" cy="997410"/>
          </a:xfrm>
          <a:prstGeom prst="rect">
            <a:avLst/>
          </a:prstGeom>
        </p:spPr>
      </p:pic>
      <p:sp>
        <p:nvSpPr>
          <p:cNvPr id="12" name="Podtytuł 2">
            <a:extLst>
              <a:ext uri="{FF2B5EF4-FFF2-40B4-BE49-F238E27FC236}">
                <a16:creationId xmlns:a16="http://schemas.microsoft.com/office/drawing/2014/main" id="{79EEAF39-E7D1-914B-88A8-7FB94096E83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8048" y="3602038"/>
            <a:ext cx="10107562" cy="1655762"/>
          </a:xfrm>
        </p:spPr>
        <p:txBody>
          <a:bodyPr/>
          <a:lstStyle>
            <a:lvl1pPr marL="0" indent="0" algn="l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err="1"/>
              <a:t>This</a:t>
            </a:r>
            <a:r>
              <a:rPr lang="pl-PL"/>
              <a:t> </a:t>
            </a:r>
            <a:r>
              <a:rPr lang="pl-PL" err="1"/>
              <a:t>is</a:t>
            </a:r>
            <a:r>
              <a:rPr lang="pl-PL"/>
              <a:t> </a:t>
            </a:r>
            <a:r>
              <a:rPr lang="pl-PL" err="1"/>
              <a:t>template</a:t>
            </a:r>
            <a:r>
              <a:rPr lang="pl-PL"/>
              <a:t> of Presentation. </a:t>
            </a:r>
            <a:r>
              <a:rPr lang="pl-PL" err="1"/>
              <a:t>Let’s</a:t>
            </a:r>
            <a:r>
              <a:rPr lang="pl-PL"/>
              <a:t> </a:t>
            </a:r>
            <a:r>
              <a:rPr lang="pl-PL" err="1"/>
              <a:t>Create</a:t>
            </a:r>
            <a:r>
              <a:rPr lang="pl-PL"/>
              <a:t>!</a:t>
            </a:r>
          </a:p>
        </p:txBody>
      </p:sp>
      <p:sp>
        <p:nvSpPr>
          <p:cNvPr id="14" name="Tytuł 1">
            <a:extLst>
              <a:ext uri="{FF2B5EF4-FFF2-40B4-BE49-F238E27FC236}">
                <a16:creationId xmlns:a16="http://schemas.microsoft.com/office/drawing/2014/main" id="{96148336-9628-9245-9708-3F0C8DFF3E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8048" y="1332689"/>
            <a:ext cx="10447652" cy="2177274"/>
          </a:xfrm>
        </p:spPr>
        <p:txBody>
          <a:bodyPr anchor="b">
            <a:normAutofit/>
          </a:bodyPr>
          <a:lstStyle>
            <a:lvl1pPr algn="l">
              <a:defRPr sz="5500" b="1" spc="-150">
                <a:solidFill>
                  <a:schemeClr val="bg1"/>
                </a:solidFill>
              </a:defRPr>
            </a:lvl1pPr>
          </a:lstStyle>
          <a:p>
            <a:r>
              <a:rPr lang="pl-PL"/>
              <a:t>Hello World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91FB4A8-DA88-1540-9DB5-7DB2123BBE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8047" y="5788505"/>
            <a:ext cx="5396457" cy="4875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eneva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day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6 </a:t>
            </a: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une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020</a:t>
            </a:r>
          </a:p>
        </p:txBody>
      </p:sp>
    </p:spTree>
    <p:extLst>
      <p:ext uri="{BB962C8B-B14F-4D97-AF65-F5344CB8AC3E}">
        <p14:creationId xmlns:p14="http://schemas.microsoft.com/office/powerpoint/2010/main" val="27883399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FF636FEF-9B78-E44A-9A6C-EEBB57DEBB0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092735" y="2533179"/>
            <a:ext cx="3225573" cy="362877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algn="r">
              <a:defRPr/>
            </a:lvl1pPr>
          </a:lstStyle>
          <a:p>
            <a:endParaRPr lang="en-VN"/>
          </a:p>
        </p:txBody>
      </p:sp>
      <p:sp>
        <p:nvSpPr>
          <p:cNvPr id="62" name="Picture Placeholder 11">
            <a:extLst>
              <a:ext uri="{FF2B5EF4-FFF2-40B4-BE49-F238E27FC236}">
                <a16:creationId xmlns:a16="http://schemas.microsoft.com/office/drawing/2014/main" id="{23D6CF3F-FE3E-064D-A657-4FAA9F757E51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092507" y="4128562"/>
            <a:ext cx="3226028" cy="2033162"/>
          </a:xfrm>
          <a:gradFill flip="none" rotWithShape="1">
            <a:gsLst>
              <a:gs pos="0">
                <a:srgbClr val="000000">
                  <a:alpha val="0"/>
                </a:srgbClr>
              </a:gs>
              <a:gs pos="46000">
                <a:srgbClr val="056E3E">
                  <a:alpha val="40000"/>
                </a:srgbClr>
              </a:gs>
              <a:gs pos="80000">
                <a:srgbClr val="056E3E">
                  <a:alpha val="80000"/>
                </a:srgbClr>
              </a:gs>
              <a:gs pos="97000">
                <a:srgbClr val="056E3E"/>
              </a:gs>
            </a:gsLst>
            <a:lin ang="5400000" scaled="1"/>
            <a:tileRect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77D4DF0A-3B17-CD4A-AFC5-CD25F565E4FC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73465" y="2533179"/>
            <a:ext cx="3225573" cy="362877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algn="r">
              <a:defRPr/>
            </a:lvl1pPr>
          </a:lstStyle>
          <a:p>
            <a:endParaRPr lang="en-VN"/>
          </a:p>
        </p:txBody>
      </p:sp>
      <p:sp>
        <p:nvSpPr>
          <p:cNvPr id="54" name="Picture Placeholder 11">
            <a:extLst>
              <a:ext uri="{FF2B5EF4-FFF2-40B4-BE49-F238E27FC236}">
                <a16:creationId xmlns:a16="http://schemas.microsoft.com/office/drawing/2014/main" id="{3658F892-3B86-014C-AC98-9FBDC77E6A4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73464" y="4128562"/>
            <a:ext cx="3225573" cy="2033162"/>
          </a:xfrm>
          <a:gradFill flip="none" rotWithShape="1">
            <a:gsLst>
              <a:gs pos="0">
                <a:srgbClr val="000000">
                  <a:alpha val="0"/>
                </a:srgbClr>
              </a:gs>
              <a:gs pos="46000">
                <a:srgbClr val="056E3E">
                  <a:alpha val="40000"/>
                </a:srgbClr>
              </a:gs>
              <a:gs pos="80000">
                <a:srgbClr val="056E3E">
                  <a:alpha val="80000"/>
                </a:srgbClr>
              </a:gs>
              <a:gs pos="97000">
                <a:srgbClr val="056E3E"/>
              </a:gs>
            </a:gsLst>
            <a:lin ang="5400000" scaled="1"/>
            <a:tileRect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49" name="Picture Placeholder 4">
            <a:extLst>
              <a:ext uri="{FF2B5EF4-FFF2-40B4-BE49-F238E27FC236}">
                <a16:creationId xmlns:a16="http://schemas.microsoft.com/office/drawing/2014/main" id="{5835D3BB-545F-9D43-BD37-01B58E3F0681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483213" y="2533179"/>
            <a:ext cx="3225573" cy="362877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algn="r">
              <a:defRPr/>
            </a:lvl1pPr>
          </a:lstStyle>
          <a:p>
            <a:endParaRPr lang="en-VN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175E377-6F5E-9340-BB06-7AF6E8DF96E4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482986" y="4128562"/>
            <a:ext cx="3225573" cy="2033387"/>
          </a:xfrm>
          <a:gradFill flip="none" rotWithShape="1">
            <a:gsLst>
              <a:gs pos="0">
                <a:srgbClr val="000000">
                  <a:alpha val="0"/>
                </a:srgbClr>
              </a:gs>
              <a:gs pos="46000">
                <a:srgbClr val="056E3E">
                  <a:alpha val="40000"/>
                </a:srgbClr>
              </a:gs>
              <a:gs pos="80000">
                <a:srgbClr val="056E3E">
                  <a:alpha val="80000"/>
                </a:srgbClr>
              </a:gs>
              <a:gs pos="97000">
                <a:srgbClr val="056E3E"/>
              </a:gs>
            </a:gsLst>
            <a:lin ang="5400000" scaled="1"/>
            <a:tileRect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36" name="Symbol zastępczy numeru slajdu 5">
            <a:extLst>
              <a:ext uri="{FF2B5EF4-FFF2-40B4-BE49-F238E27FC236}">
                <a16:creationId xmlns:a16="http://schemas.microsoft.com/office/drawing/2014/main" id="{D526C90E-13B5-4D95-8BE9-03ED11780FC9}"/>
              </a:ext>
            </a:extLst>
          </p:cNvPr>
          <p:cNvSpPr>
            <a:spLocks noGrp="1"/>
          </p:cNvSpPr>
          <p:nvPr userDrawn="1">
            <p:ph type="sldNum" sz="quarter" idx="19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80" name="Text Placeholder 78">
            <a:extLst>
              <a:ext uri="{FF2B5EF4-FFF2-40B4-BE49-F238E27FC236}">
                <a16:creationId xmlns:a16="http://schemas.microsoft.com/office/drawing/2014/main" id="{6288EA3E-4CDA-E94A-AFD8-12B9E08949B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022455" y="5005685"/>
            <a:ext cx="2547646" cy="1016326"/>
          </a:xfrm>
        </p:spPr>
        <p:txBody>
          <a:bodyPr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2" name="Text Placeholder 78">
            <a:extLst>
              <a:ext uri="{FF2B5EF4-FFF2-40B4-BE49-F238E27FC236}">
                <a16:creationId xmlns:a16="http://schemas.microsoft.com/office/drawing/2014/main" id="{FD8D786A-E851-6844-AE06-40D72BC31AE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22227" y="4276150"/>
            <a:ext cx="2547646" cy="671666"/>
          </a:xfrm>
        </p:spPr>
        <p:txBody>
          <a:bodyPr anchor="b"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24" name="Text Placeholder 78">
            <a:extLst>
              <a:ext uri="{FF2B5EF4-FFF2-40B4-BE49-F238E27FC236}">
                <a16:creationId xmlns:a16="http://schemas.microsoft.com/office/drawing/2014/main" id="{58246A4B-8C63-0F45-BC7B-80F79F76291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632204" y="5005685"/>
            <a:ext cx="2547646" cy="1016326"/>
          </a:xfrm>
        </p:spPr>
        <p:txBody>
          <a:bodyPr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7" name="Text Placeholder 78">
            <a:extLst>
              <a:ext uri="{FF2B5EF4-FFF2-40B4-BE49-F238E27FC236}">
                <a16:creationId xmlns:a16="http://schemas.microsoft.com/office/drawing/2014/main" id="{F052F1B8-FD88-8845-BDE3-3FEBBD92713B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631976" y="4276150"/>
            <a:ext cx="2547646" cy="671666"/>
          </a:xfrm>
        </p:spPr>
        <p:txBody>
          <a:bodyPr anchor="b"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28" name="Text Placeholder 78">
            <a:extLst>
              <a:ext uri="{FF2B5EF4-FFF2-40B4-BE49-F238E27FC236}">
                <a16:creationId xmlns:a16="http://schemas.microsoft.com/office/drawing/2014/main" id="{E58311E6-82D8-2342-B0FE-F8FC5543917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241953" y="5005685"/>
            <a:ext cx="2547646" cy="1016326"/>
          </a:xfrm>
        </p:spPr>
        <p:txBody>
          <a:bodyPr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2" name="Text Placeholder 78">
            <a:extLst>
              <a:ext uri="{FF2B5EF4-FFF2-40B4-BE49-F238E27FC236}">
                <a16:creationId xmlns:a16="http://schemas.microsoft.com/office/drawing/2014/main" id="{86B75E0E-378E-C547-8E4A-0E77E24EC88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241725" y="4276150"/>
            <a:ext cx="2547646" cy="671666"/>
          </a:xfrm>
        </p:spPr>
        <p:txBody>
          <a:bodyPr anchor="b"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21" name="Tytuł 1">
            <a:extLst>
              <a:ext uri="{FF2B5EF4-FFF2-40B4-BE49-F238E27FC236}">
                <a16:creationId xmlns:a16="http://schemas.microsoft.com/office/drawing/2014/main" id="{E483A55E-99F0-564C-B886-7FA64CCB85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6AFB9C2-FA15-C745-BF2C-DB3BC77DC2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Timeline</a:t>
            </a:r>
            <a:endParaRPr lang="pl-PL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3D376FE8-EB6A-44C0-BD1A-AFABAF24FB97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1022227" y="2992835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44" name="Text Placeholder 78">
            <a:extLst>
              <a:ext uri="{FF2B5EF4-FFF2-40B4-BE49-F238E27FC236}">
                <a16:creationId xmlns:a16="http://schemas.microsoft.com/office/drawing/2014/main" id="{41EA5F8B-06BA-4C51-B4D4-E3F77861A05C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4631976" y="2992835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45" name="Text Placeholder 78">
            <a:extLst>
              <a:ext uri="{FF2B5EF4-FFF2-40B4-BE49-F238E27FC236}">
                <a16:creationId xmlns:a16="http://schemas.microsoft.com/office/drawing/2014/main" id="{30BCE74D-FFB5-4C0B-9C49-FF69BA995287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241725" y="2992835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pic>
        <p:nvPicPr>
          <p:cNvPr id="4" name="Obraz 3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8DC80185-3761-4FDC-8206-2A1270E7896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1454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hoto_half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64661CB-423A-5E45-B58A-9C739FBCE5E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2" name="Tytuł 1">
            <a:extLst>
              <a:ext uri="{FF2B5EF4-FFF2-40B4-BE49-F238E27FC236}">
                <a16:creationId xmlns:a16="http://schemas.microsoft.com/office/drawing/2014/main" id="{B7F482A2-531E-BB4D-BD3D-FFAF891C6D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249" y="2415141"/>
            <a:ext cx="4682421" cy="43177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985AE5C-CEED-704C-9F59-D34509271E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249" y="1467165"/>
            <a:ext cx="4682421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A224EE3-8E13-1445-8C1E-7D484F612A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249" y="4557650"/>
            <a:ext cx="4682421" cy="121515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6696BEB-0B93-7541-893D-B1E11196EDF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3249" y="3386917"/>
            <a:ext cx="4682421" cy="1015246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172632EE-5F54-4FEC-A8D0-15A69CBD03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995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880998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C0B482C-0237-2740-B4BE-16951D83A5D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4126" y="0"/>
            <a:ext cx="12196126" cy="6858000"/>
          </a:xfrm>
          <a:prstGeom prst="rect">
            <a:avLst/>
          </a:prstGeom>
          <a:blipFill dpi="0" rotWithShape="1">
            <a:blip r:embed="rId3">
              <a:alphaModFix amt="20000"/>
            </a:blip>
            <a:srcRect/>
            <a:stretch>
              <a:fillRect/>
            </a:stretch>
          </a:blipFill>
          <a:effectLst>
            <a:outerShdw sx="1000" sy="1000" algn="ctr" rotWithShape="0">
              <a:srgbClr val="000000"/>
            </a:outerShdw>
          </a:effectLst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  <a:endParaRPr lang="en-VN"/>
          </a:p>
        </p:txBody>
      </p:sp>
      <p:sp>
        <p:nvSpPr>
          <p:cNvPr id="12" name="Tytuł 1">
            <a:extLst>
              <a:ext uri="{FF2B5EF4-FFF2-40B4-BE49-F238E27FC236}">
                <a16:creationId xmlns:a16="http://schemas.microsoft.com/office/drawing/2014/main" id="{F4EAC152-F372-4816-A602-00DBD66C95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8048" y="1332689"/>
            <a:ext cx="10447652" cy="2177274"/>
          </a:xfrm>
        </p:spPr>
        <p:txBody>
          <a:bodyPr anchor="b">
            <a:normAutofit/>
          </a:bodyPr>
          <a:lstStyle>
            <a:lvl1pPr algn="l">
              <a:defRPr sz="5500" b="1" spc="-150">
                <a:solidFill>
                  <a:schemeClr val="bg1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the Presentation</a:t>
            </a:r>
          </a:p>
        </p:txBody>
      </p:sp>
      <p:sp>
        <p:nvSpPr>
          <p:cNvPr id="13" name="Podtytuł 2">
            <a:extLst>
              <a:ext uri="{FF2B5EF4-FFF2-40B4-BE49-F238E27FC236}">
                <a16:creationId xmlns:a16="http://schemas.microsoft.com/office/drawing/2014/main" id="{EDB4A035-E21E-4EC5-9789-42558FE880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8048" y="3602038"/>
            <a:ext cx="10107562" cy="1655762"/>
          </a:xfrm>
        </p:spPr>
        <p:txBody>
          <a:bodyPr/>
          <a:lstStyle>
            <a:lvl1pPr marL="0" indent="0" algn="l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err="1"/>
              <a:t>Subtitle</a:t>
            </a:r>
            <a:r>
              <a:rPr lang="pl-PL"/>
              <a:t> and a </a:t>
            </a:r>
            <a:r>
              <a:rPr lang="pl-PL" err="1"/>
              <a:t>short</a:t>
            </a:r>
            <a:r>
              <a:rPr lang="pl-PL"/>
              <a:t> </a:t>
            </a:r>
            <a:r>
              <a:rPr lang="pl-PL" err="1"/>
              <a:t>description</a:t>
            </a:r>
            <a:r>
              <a:rPr lang="pl-PL"/>
              <a:t> </a:t>
            </a:r>
            <a:r>
              <a:rPr lang="pl-PL" err="1"/>
              <a:t>if</a:t>
            </a:r>
            <a:r>
              <a:rPr lang="pl-PL"/>
              <a:t> </a:t>
            </a:r>
            <a:r>
              <a:rPr lang="pl-PL" err="1"/>
              <a:t>needed</a:t>
            </a:r>
            <a:endParaRPr lang="pl-PL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63D02DFB-AAE1-FA46-B2A4-ECE431BBD610}"/>
              </a:ext>
            </a:extLst>
          </p:cNvPr>
          <p:cNvSpPr txBox="1">
            <a:spLocks/>
          </p:cNvSpPr>
          <p:nvPr/>
        </p:nvSpPr>
        <p:spPr>
          <a:xfrm>
            <a:off x="4038600" y="560594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l-PL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20E0931-98D8-5D4C-9576-F225FB07B7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8047" y="5788505"/>
            <a:ext cx="5396457" cy="4875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eneva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day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6 </a:t>
            </a: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une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020</a:t>
            </a:r>
          </a:p>
        </p:txBody>
      </p:sp>
      <p:pic>
        <p:nvPicPr>
          <p:cNvPr id="4" name="Obraz 3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2953E1F1-44AD-4567-9B59-548AD9BBE1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347" y="335280"/>
            <a:ext cx="1820897" cy="997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381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_column_text_and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ymbol zastępczy zawartości 3">
            <a:extLst>
              <a:ext uri="{FF2B5EF4-FFF2-40B4-BE49-F238E27FC236}">
                <a16:creationId xmlns:a16="http://schemas.microsoft.com/office/drawing/2014/main" id="{2164D526-DBEC-4475-886A-29FCF5BE807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000500" y="2801030"/>
            <a:ext cx="3162299" cy="3024868"/>
          </a:xfrm>
        </p:spPr>
        <p:txBody>
          <a:bodyPr>
            <a:normAutofit/>
          </a:bodyPr>
          <a:lstStyle>
            <a:lvl1pPr marL="0" indent="0">
              <a:lnSpc>
                <a:spcPts val="180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err="1"/>
              <a:t>Proin</a:t>
            </a:r>
            <a:r>
              <a:rPr lang="pl-PL"/>
              <a:t> vitae </a:t>
            </a:r>
            <a:r>
              <a:rPr lang="pl-PL" err="1"/>
              <a:t>odio</a:t>
            </a:r>
            <a:r>
              <a:rPr lang="pl-PL"/>
              <a:t>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auctor</a:t>
            </a:r>
            <a:r>
              <a:rPr lang="pl-PL"/>
              <a:t> </a:t>
            </a:r>
            <a:r>
              <a:rPr lang="pl-PL" err="1"/>
              <a:t>faucibus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 </a:t>
            </a:r>
            <a:r>
              <a:rPr lang="pl-PL" err="1"/>
              <a:t>Donec</a:t>
            </a:r>
            <a:r>
              <a:rPr lang="pl-PL"/>
              <a:t> et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lacus</a:t>
            </a:r>
            <a:r>
              <a:rPr lang="pl-PL"/>
              <a:t>, vel </a:t>
            </a:r>
            <a:r>
              <a:rPr lang="pl-PL" err="1"/>
              <a:t>ultricies</a:t>
            </a:r>
            <a:r>
              <a:rPr lang="pl-PL"/>
              <a:t> </a:t>
            </a:r>
            <a:r>
              <a:rPr lang="pl-PL" err="1"/>
              <a:t>quam</a:t>
            </a:r>
            <a:r>
              <a:rPr lang="pl-PL"/>
              <a:t>. </a:t>
            </a:r>
            <a:r>
              <a:rPr lang="pl-PL" err="1"/>
              <a:t>Donec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</a:t>
            </a:r>
            <a:r>
              <a:rPr lang="pl-PL" err="1"/>
              <a:t>mauris</a:t>
            </a:r>
            <a:r>
              <a:rPr lang="pl-PL"/>
              <a:t>.</a:t>
            </a:r>
            <a:br>
              <a:rPr lang="pl-PL"/>
            </a:br>
            <a:endParaRPr lang="pl-PL"/>
          </a:p>
          <a:p>
            <a:pPr lvl="0"/>
            <a:endParaRPr lang="pl-PL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8" name="Symbol zastępczy zawartości 3">
            <a:extLst>
              <a:ext uri="{FF2B5EF4-FFF2-40B4-BE49-F238E27FC236}">
                <a16:creationId xmlns:a16="http://schemas.microsoft.com/office/drawing/2014/main" id="{E0DFB4A7-7888-45C4-A03A-EA922A8121B3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022772" y="2801030"/>
            <a:ext cx="3162299" cy="3024868"/>
          </a:xfrm>
        </p:spPr>
        <p:txBody>
          <a:bodyPr>
            <a:normAutofit/>
          </a:bodyPr>
          <a:lstStyle>
            <a:lvl1pPr marL="0" indent="0">
              <a:lnSpc>
                <a:spcPts val="175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err="1"/>
              <a:t>Proin</a:t>
            </a:r>
            <a:r>
              <a:rPr lang="pl-PL"/>
              <a:t> vitae </a:t>
            </a:r>
            <a:r>
              <a:rPr lang="pl-PL" err="1"/>
              <a:t>odio</a:t>
            </a:r>
            <a:r>
              <a:rPr lang="pl-PL"/>
              <a:t>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auctor</a:t>
            </a:r>
            <a:r>
              <a:rPr lang="pl-PL"/>
              <a:t> </a:t>
            </a:r>
            <a:r>
              <a:rPr lang="pl-PL" err="1"/>
              <a:t>faucibus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 </a:t>
            </a:r>
            <a:r>
              <a:rPr lang="pl-PL" err="1"/>
              <a:t>Donec</a:t>
            </a:r>
            <a:r>
              <a:rPr lang="pl-PL"/>
              <a:t> et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lacus</a:t>
            </a:r>
            <a:r>
              <a:rPr lang="pl-PL"/>
              <a:t>, vel </a:t>
            </a:r>
            <a:r>
              <a:rPr lang="pl-PL" err="1"/>
              <a:t>ultricies</a:t>
            </a:r>
            <a:r>
              <a:rPr lang="pl-PL"/>
              <a:t> </a:t>
            </a:r>
            <a:r>
              <a:rPr lang="pl-PL" err="1"/>
              <a:t>quam</a:t>
            </a:r>
            <a:r>
              <a:rPr lang="pl-PL"/>
              <a:t>. </a:t>
            </a:r>
          </a:p>
          <a:p>
            <a:pPr lvl="0"/>
            <a:endParaRPr lang="pl-PL"/>
          </a:p>
        </p:txBody>
      </p:sp>
      <p:sp>
        <p:nvSpPr>
          <p:cNvPr id="9" name="Tytuł 1">
            <a:extLst>
              <a:ext uri="{FF2B5EF4-FFF2-40B4-BE49-F238E27FC236}">
                <a16:creationId xmlns:a16="http://schemas.microsoft.com/office/drawing/2014/main" id="{F0C28228-FDA1-4354-9F59-F2A09FDB0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577" y="1664562"/>
            <a:ext cx="8070676" cy="437803"/>
          </a:xfrm>
        </p:spPr>
        <p:txBody>
          <a:bodyPr anchor="b">
            <a:normAutofit/>
          </a:bodyPr>
          <a:lstStyle>
            <a:lvl1pPr>
              <a:defRPr sz="2000" b="1" spc="0">
                <a:solidFill>
                  <a:schemeClr val="tx2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pl-PL" err="1"/>
              <a:t>Subheading</a:t>
            </a:r>
            <a:endParaRPr lang="pl-PL"/>
          </a:p>
        </p:txBody>
      </p:sp>
      <p:sp>
        <p:nvSpPr>
          <p:cNvPr id="15" name="Symbol zastępczy zawartości 3">
            <a:extLst>
              <a:ext uri="{FF2B5EF4-FFF2-40B4-BE49-F238E27FC236}">
                <a16:creationId xmlns:a16="http://schemas.microsoft.com/office/drawing/2014/main" id="{8A9CE1CF-A141-4DDD-B43D-94ABC3DBDD3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46361" y="528300"/>
            <a:ext cx="8097892" cy="1211680"/>
          </a:xfrm>
        </p:spPr>
        <p:txBody>
          <a:bodyPr anchor="b">
            <a:normAutofit/>
          </a:bodyPr>
          <a:lstStyle>
            <a:lvl1pPr marL="0" indent="0">
              <a:lnSpc>
                <a:spcPts val="1750"/>
              </a:lnSpc>
              <a:buFontTx/>
              <a:buNone/>
              <a:defRPr sz="4000" b="1" spc="-15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pl-PL" err="1"/>
              <a:t>Header</a:t>
            </a:r>
            <a:endParaRPr lang="pl-PL"/>
          </a:p>
        </p:txBody>
      </p:sp>
      <p:pic>
        <p:nvPicPr>
          <p:cNvPr id="16" name="Obraz 15" descr="Obraz zawierający znak, zegar&#10;&#10;Opis wygenerowany automatycznie">
            <a:extLst>
              <a:ext uri="{FF2B5EF4-FFF2-40B4-BE49-F238E27FC236}">
                <a16:creationId xmlns:a16="http://schemas.microsoft.com/office/drawing/2014/main" id="{E3A177E3-573A-4C8E-AE9D-F5999BD516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3647" y="311734"/>
            <a:ext cx="1230566" cy="674051"/>
          </a:xfrm>
          <a:prstGeom prst="rect">
            <a:avLst/>
          </a:prstGeom>
        </p:spPr>
      </p:pic>
      <p:pic>
        <p:nvPicPr>
          <p:cNvPr id="17" name="Grafika 16">
            <a:extLst>
              <a:ext uri="{FF2B5EF4-FFF2-40B4-BE49-F238E27FC236}">
                <a16:creationId xmlns:a16="http://schemas.microsoft.com/office/drawing/2014/main" id="{798F105E-3328-48F8-AD56-C2AD8A1F16C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68325" y="516268"/>
            <a:ext cx="769403" cy="264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50696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meline_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ymbol zastępczy numeru slajdu 5">
            <a:extLst>
              <a:ext uri="{FF2B5EF4-FFF2-40B4-BE49-F238E27FC236}">
                <a16:creationId xmlns:a16="http://schemas.microsoft.com/office/drawing/2014/main" id="{D526C90E-13B5-4D95-8BE9-03ED11780FC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7" name="Tytuł 1">
            <a:extLst>
              <a:ext uri="{FF2B5EF4-FFF2-40B4-BE49-F238E27FC236}">
                <a16:creationId xmlns:a16="http://schemas.microsoft.com/office/drawing/2014/main" id="{1F842593-776B-B443-AD88-08F7296B68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876FF36-F330-A24E-AA7B-14CA144DFC3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Timeline</a:t>
            </a:r>
            <a:endParaRPr lang="pl-PL"/>
          </a:p>
        </p:txBody>
      </p:sp>
      <p:pic>
        <p:nvPicPr>
          <p:cNvPr id="3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FFAD60F4-ACCD-4639-B663-4D424DF186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019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IDEO_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4" name="Tytuł 1">
            <a:extLst>
              <a:ext uri="{FF2B5EF4-FFF2-40B4-BE49-F238E27FC236}">
                <a16:creationId xmlns:a16="http://schemas.microsoft.com/office/drawing/2014/main" id="{84E3662E-028D-2B46-A24D-9D675B2C07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D11E547-AE72-0D40-8BDD-2839E49D6FF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253927"/>
            <a:ext cx="8806338" cy="679767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8481316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7" name="Tytuł 1">
            <a:extLst>
              <a:ext uri="{FF2B5EF4-FFF2-40B4-BE49-F238E27FC236}">
                <a16:creationId xmlns:a16="http://schemas.microsoft.com/office/drawing/2014/main" id="{929E80EC-ABB5-FC47-BF91-33C7057C3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2220840-5540-F14A-BC1E-444C1BD005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253927"/>
            <a:ext cx="8806338" cy="679767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00B4A4B-1AF0-D54E-8D42-FA67C767C2FD}"/>
              </a:ext>
            </a:extLst>
          </p:cNvPr>
          <p:cNvGrpSpPr/>
          <p:nvPr userDrawn="1"/>
        </p:nvGrpSpPr>
        <p:grpSpPr>
          <a:xfrm>
            <a:off x="9613647" y="311734"/>
            <a:ext cx="1924081" cy="674051"/>
            <a:chOff x="9613647" y="311734"/>
            <a:chExt cx="1924081" cy="674051"/>
          </a:xfrm>
        </p:grpSpPr>
        <p:pic>
          <p:nvPicPr>
            <p:cNvPr id="7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96EEA3DA-16DD-824A-87D8-EA24E396523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647" y="311734"/>
              <a:ext cx="1230566" cy="674051"/>
            </a:xfrm>
            <a:prstGeom prst="rect">
              <a:avLst/>
            </a:prstGeom>
          </p:spPr>
        </p:pic>
        <p:pic>
          <p:nvPicPr>
            <p:cNvPr id="9" name="Grafika 11">
              <a:extLst>
                <a:ext uri="{FF2B5EF4-FFF2-40B4-BE49-F238E27FC236}">
                  <a16:creationId xmlns:a16="http://schemas.microsoft.com/office/drawing/2014/main" id="{1C6FFDF8-B119-DD47-8EE2-13A5A2675D7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768325" y="516268"/>
              <a:ext cx="769403" cy="2649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73617439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7" name="Tytuł 1">
            <a:extLst>
              <a:ext uri="{FF2B5EF4-FFF2-40B4-BE49-F238E27FC236}">
                <a16:creationId xmlns:a16="http://schemas.microsoft.com/office/drawing/2014/main" id="{929E80EC-ABB5-FC47-BF91-33C7057C3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2220840-5540-F14A-BC1E-444C1BD005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EA3DE48-E235-B948-82FC-0FD10B1AA6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6359" y="2537783"/>
            <a:ext cx="10499281" cy="348201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err="1"/>
              <a:t>Proin</a:t>
            </a:r>
            <a:r>
              <a:rPr lang="pl-PL"/>
              <a:t> vitae </a:t>
            </a:r>
            <a:r>
              <a:rPr lang="pl-PL" err="1"/>
              <a:t>odio</a:t>
            </a:r>
            <a:r>
              <a:rPr lang="pl-PL"/>
              <a:t>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auctor</a:t>
            </a:r>
            <a:r>
              <a:rPr lang="pl-PL"/>
              <a:t> </a:t>
            </a:r>
            <a:r>
              <a:rPr lang="pl-PL" err="1"/>
              <a:t>faucibus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pic>
        <p:nvPicPr>
          <p:cNvPr id="4" name="Obraz 3" descr="Obraz zawierający znak, zegar&#10;&#10;Opis wygenerowany automatycznie">
            <a:extLst>
              <a:ext uri="{FF2B5EF4-FFF2-40B4-BE49-F238E27FC236}">
                <a16:creationId xmlns:a16="http://schemas.microsoft.com/office/drawing/2014/main" id="{4B9CABC8-B237-46DF-B1EC-029DE6B3F5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23583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meline_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ymbol zastępczy numeru slajdu 5">
            <a:extLst>
              <a:ext uri="{FF2B5EF4-FFF2-40B4-BE49-F238E27FC236}">
                <a16:creationId xmlns:a16="http://schemas.microsoft.com/office/drawing/2014/main" id="{D526C90E-13B5-4D95-8BE9-03ED11780FC9}"/>
              </a:ext>
            </a:extLst>
          </p:cNvPr>
          <p:cNvSpPr>
            <a:spLocks noGrp="1"/>
          </p:cNvSpPr>
          <p:nvPr userDrawn="1">
            <p:ph type="sldNum" sz="quarter" idx="19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7" name="Tytuł 1">
            <a:extLst>
              <a:ext uri="{FF2B5EF4-FFF2-40B4-BE49-F238E27FC236}">
                <a16:creationId xmlns:a16="http://schemas.microsoft.com/office/drawing/2014/main" id="{1F842593-776B-B443-AD88-08F7296B68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876FF36-F330-A24E-AA7B-14CA144DFC3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Timeline</a:t>
            </a:r>
            <a:endParaRPr lang="pl-PL"/>
          </a:p>
        </p:txBody>
      </p:sp>
      <p:pic>
        <p:nvPicPr>
          <p:cNvPr id="3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FFAD60F4-ACCD-4639-B663-4D424DF1863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677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_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5A68ED-F49B-4C41-A78C-ED5D577EBFAA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48910DF-891E-8E7E-BC29-D99471CE9FF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6542" y="3140967"/>
            <a:ext cx="2138915" cy="929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451381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7" name="Tytuł 1">
            <a:extLst>
              <a:ext uri="{FF2B5EF4-FFF2-40B4-BE49-F238E27FC236}">
                <a16:creationId xmlns:a16="http://schemas.microsoft.com/office/drawing/2014/main" id="{929E80EC-ABB5-FC47-BF91-33C7057C3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2220840-5540-F14A-BC1E-444C1BD005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253927"/>
            <a:ext cx="8806338" cy="679767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55835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77D4DF0A-3B17-CD4A-AFC5-CD25F565E4FC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73465" y="2533179"/>
            <a:ext cx="1955169" cy="362877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algn="r">
              <a:defRPr/>
            </a:lvl1pPr>
          </a:lstStyle>
          <a:p>
            <a:endParaRPr lang="en-VN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FF636FEF-9B78-E44A-9A6C-EEBB57DEBB0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092735" y="2533179"/>
            <a:ext cx="1955169" cy="362877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algn="r">
              <a:defRPr/>
            </a:lvl1pPr>
          </a:lstStyle>
          <a:p>
            <a:endParaRPr lang="en-VN"/>
          </a:p>
        </p:txBody>
      </p:sp>
      <p:sp>
        <p:nvSpPr>
          <p:cNvPr id="49" name="Picture Placeholder 4">
            <a:extLst>
              <a:ext uri="{FF2B5EF4-FFF2-40B4-BE49-F238E27FC236}">
                <a16:creationId xmlns:a16="http://schemas.microsoft.com/office/drawing/2014/main" id="{5835D3BB-545F-9D43-BD37-01B58E3F0681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483213" y="2533179"/>
            <a:ext cx="1955169" cy="362877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algn="r">
              <a:defRPr/>
            </a:lvl1pPr>
          </a:lstStyle>
          <a:p>
            <a:endParaRPr lang="en-VN"/>
          </a:p>
        </p:txBody>
      </p:sp>
      <p:sp>
        <p:nvSpPr>
          <p:cNvPr id="54" name="Picture Placeholder 11">
            <a:extLst>
              <a:ext uri="{FF2B5EF4-FFF2-40B4-BE49-F238E27FC236}">
                <a16:creationId xmlns:a16="http://schemas.microsoft.com/office/drawing/2014/main" id="{3658F892-3B86-014C-AC98-9FBDC77E6A4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73465" y="3886206"/>
            <a:ext cx="1955170" cy="2275518"/>
          </a:xfrm>
          <a:gradFill flip="none" rotWithShape="1">
            <a:gsLst>
              <a:gs pos="0">
                <a:srgbClr val="000000">
                  <a:alpha val="0"/>
                </a:srgbClr>
              </a:gs>
              <a:gs pos="46000">
                <a:srgbClr val="056E3E">
                  <a:alpha val="40000"/>
                </a:srgbClr>
              </a:gs>
              <a:gs pos="80000">
                <a:srgbClr val="056E3E">
                  <a:alpha val="80000"/>
                </a:srgbClr>
              </a:gs>
              <a:gs pos="97000">
                <a:srgbClr val="056E3E"/>
              </a:gs>
            </a:gsLst>
            <a:lin ang="5400000" scaled="1"/>
            <a:tileRect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36" name="Symbol zastępczy numeru slajdu 5">
            <a:extLst>
              <a:ext uri="{FF2B5EF4-FFF2-40B4-BE49-F238E27FC236}">
                <a16:creationId xmlns:a16="http://schemas.microsoft.com/office/drawing/2014/main" id="{D526C90E-13B5-4D95-8BE9-03ED11780FC9}"/>
              </a:ext>
            </a:extLst>
          </p:cNvPr>
          <p:cNvSpPr>
            <a:spLocks noGrp="1"/>
          </p:cNvSpPr>
          <p:nvPr userDrawn="1">
            <p:ph type="sldNum" sz="quarter" idx="19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80" name="Text Placeholder 78">
            <a:extLst>
              <a:ext uri="{FF2B5EF4-FFF2-40B4-BE49-F238E27FC236}">
                <a16:creationId xmlns:a16="http://schemas.microsoft.com/office/drawing/2014/main" id="{6288EA3E-4CDA-E94A-AFD8-12B9E08949B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437391" y="5005685"/>
            <a:ext cx="2132710" cy="1016326"/>
          </a:xfrm>
        </p:spPr>
        <p:txBody>
          <a:bodyPr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2" name="Text Placeholder 78">
            <a:extLst>
              <a:ext uri="{FF2B5EF4-FFF2-40B4-BE49-F238E27FC236}">
                <a16:creationId xmlns:a16="http://schemas.microsoft.com/office/drawing/2014/main" id="{FD8D786A-E851-6844-AE06-40D72BC31AE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37163" y="4276150"/>
            <a:ext cx="2132710" cy="671666"/>
          </a:xfrm>
        </p:spPr>
        <p:txBody>
          <a:bodyPr anchor="b"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35" name="Text Placeholder 78">
            <a:extLst>
              <a:ext uri="{FF2B5EF4-FFF2-40B4-BE49-F238E27FC236}">
                <a16:creationId xmlns:a16="http://schemas.microsoft.com/office/drawing/2014/main" id="{4F9F41A7-C8DB-DB40-8F1D-DF4E34A18A6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1022227" y="2992835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37" name="Text Placeholder 78">
            <a:extLst>
              <a:ext uri="{FF2B5EF4-FFF2-40B4-BE49-F238E27FC236}">
                <a16:creationId xmlns:a16="http://schemas.microsoft.com/office/drawing/2014/main" id="{93C96D09-B104-8246-AB35-F2C637F9CC91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4631976" y="2992835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F76529C6-5B56-A046-A5BC-FBD15D44EB08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241725" y="2992835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25" name="Picture Placeholder 11">
            <a:extLst>
              <a:ext uri="{FF2B5EF4-FFF2-40B4-BE49-F238E27FC236}">
                <a16:creationId xmlns:a16="http://schemas.microsoft.com/office/drawing/2014/main" id="{04ABCCAF-4380-844C-8C74-EEE8ABBBEDD1}"/>
              </a:ext>
            </a:extLst>
          </p:cNvPr>
          <p:cNvSpPr>
            <a:spLocks noGrp="1"/>
          </p:cNvSpPr>
          <p:nvPr>
            <p:ph type="pic" sz="quarter" idx="79" hasCustomPrompt="1"/>
          </p:nvPr>
        </p:nvSpPr>
        <p:spPr>
          <a:xfrm>
            <a:off x="4482987" y="3886206"/>
            <a:ext cx="1955169" cy="2275518"/>
          </a:xfrm>
          <a:gradFill flip="none" rotWithShape="1">
            <a:gsLst>
              <a:gs pos="0">
                <a:srgbClr val="000000">
                  <a:alpha val="0"/>
                </a:srgbClr>
              </a:gs>
              <a:gs pos="46000">
                <a:srgbClr val="056E3E">
                  <a:alpha val="40000"/>
                </a:srgbClr>
              </a:gs>
              <a:gs pos="80000">
                <a:srgbClr val="056E3E">
                  <a:alpha val="80000"/>
                </a:srgbClr>
              </a:gs>
              <a:gs pos="97000">
                <a:srgbClr val="056E3E"/>
              </a:gs>
            </a:gsLst>
            <a:lin ang="5400000" scaled="1"/>
            <a:tileRect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53E26D6-AC11-6F42-A2AA-2A7B4D8DD84D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5046912" y="5005685"/>
            <a:ext cx="2132710" cy="1016326"/>
          </a:xfrm>
        </p:spPr>
        <p:txBody>
          <a:bodyPr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0" name="Text Placeholder 78">
            <a:extLst>
              <a:ext uri="{FF2B5EF4-FFF2-40B4-BE49-F238E27FC236}">
                <a16:creationId xmlns:a16="http://schemas.microsoft.com/office/drawing/2014/main" id="{415F11DF-0FF1-DE4B-8F88-129F882DA378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5046684" y="4276150"/>
            <a:ext cx="2132710" cy="671666"/>
          </a:xfrm>
        </p:spPr>
        <p:txBody>
          <a:bodyPr anchor="b"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31" name="Picture Placeholder 11">
            <a:extLst>
              <a:ext uri="{FF2B5EF4-FFF2-40B4-BE49-F238E27FC236}">
                <a16:creationId xmlns:a16="http://schemas.microsoft.com/office/drawing/2014/main" id="{C4C0F5D3-8EB7-DA4C-A552-3268EE883FCD}"/>
              </a:ext>
            </a:extLst>
          </p:cNvPr>
          <p:cNvSpPr>
            <a:spLocks noGrp="1"/>
          </p:cNvSpPr>
          <p:nvPr>
            <p:ph type="pic" sz="quarter" idx="82" hasCustomPrompt="1"/>
          </p:nvPr>
        </p:nvSpPr>
        <p:spPr>
          <a:xfrm>
            <a:off x="8092963" y="3886206"/>
            <a:ext cx="1954941" cy="2275518"/>
          </a:xfrm>
          <a:gradFill flip="none" rotWithShape="1">
            <a:gsLst>
              <a:gs pos="0">
                <a:srgbClr val="000000">
                  <a:alpha val="0"/>
                </a:srgbClr>
              </a:gs>
              <a:gs pos="46000">
                <a:srgbClr val="056E3E">
                  <a:alpha val="40000"/>
                </a:srgbClr>
              </a:gs>
              <a:gs pos="80000">
                <a:srgbClr val="056E3E">
                  <a:alpha val="80000"/>
                </a:srgbClr>
              </a:gs>
              <a:gs pos="97000">
                <a:srgbClr val="056E3E"/>
              </a:gs>
            </a:gsLst>
            <a:lin ang="5400000" scaled="1"/>
            <a:tileRect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39" name="Text Placeholder 78">
            <a:extLst>
              <a:ext uri="{FF2B5EF4-FFF2-40B4-BE49-F238E27FC236}">
                <a16:creationId xmlns:a16="http://schemas.microsoft.com/office/drawing/2014/main" id="{63C380DC-73A1-EB44-8D5C-10B04279CD82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8804933" y="5005798"/>
            <a:ext cx="2132710" cy="1016326"/>
          </a:xfrm>
        </p:spPr>
        <p:txBody>
          <a:bodyPr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40" name="Text Placeholder 78">
            <a:extLst>
              <a:ext uri="{FF2B5EF4-FFF2-40B4-BE49-F238E27FC236}">
                <a16:creationId xmlns:a16="http://schemas.microsoft.com/office/drawing/2014/main" id="{7B4AD03E-7FBC-F144-8C91-CF545BF60E66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8804705" y="4276263"/>
            <a:ext cx="2132710" cy="671666"/>
          </a:xfrm>
        </p:spPr>
        <p:txBody>
          <a:bodyPr anchor="b"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43" name="Tytuł 1">
            <a:extLst>
              <a:ext uri="{FF2B5EF4-FFF2-40B4-BE49-F238E27FC236}">
                <a16:creationId xmlns:a16="http://schemas.microsoft.com/office/drawing/2014/main" id="{5C6CC5B8-EE4D-9D48-B8BD-5C6B56DBFF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E06CFBF1-04D5-0C45-8595-BB96252F3C1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Timeline</a:t>
            </a:r>
            <a:endParaRPr lang="pl-PL"/>
          </a:p>
        </p:txBody>
      </p:sp>
      <p:pic>
        <p:nvPicPr>
          <p:cNvPr id="3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8A333359-947F-4FCD-8334-060F02F9892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333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_colum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1D9E27F-F165-3E44-B3F0-AF418E227E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249" y="1280598"/>
            <a:ext cx="4952420" cy="47392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07F197B-A2B7-804E-A6FD-92D4CE51C21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66331" y="1280598"/>
            <a:ext cx="4952420" cy="47392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223816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 - 4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ytuł 1">
            <a:extLst>
              <a:ext uri="{FF2B5EF4-FFF2-40B4-BE49-F238E27FC236}">
                <a16:creationId xmlns:a16="http://schemas.microsoft.com/office/drawing/2014/main" id="{B7F5003A-5726-4C45-8CFA-6A9310038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7266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25D7C37-FF15-364D-94FB-1D3E96E7397A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AFA9741C-EEFF-724D-9763-916CF2BED03D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138" y="856893"/>
            <a:ext cx="8805862" cy="616507"/>
          </a:xfrm>
        </p:spPr>
        <p:txBody>
          <a:bodyPr anchor="ctr"/>
          <a:lstStyle>
            <a:lvl1pPr>
              <a:buNone/>
              <a:defRPr sz="4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/>
              <a:t>Timeline</a:t>
            </a:r>
          </a:p>
        </p:txBody>
      </p:sp>
    </p:spTree>
    <p:extLst>
      <p:ext uri="{BB962C8B-B14F-4D97-AF65-F5344CB8AC3E}">
        <p14:creationId xmlns:p14="http://schemas.microsoft.com/office/powerpoint/2010/main" val="1852966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_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5A68ED-F49B-4C41-A78C-ED5D577EBFAA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9770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wa elementy zawartości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7" name="Tytuł 1">
            <a:extLst>
              <a:ext uri="{FF2B5EF4-FFF2-40B4-BE49-F238E27FC236}">
                <a16:creationId xmlns:a16="http://schemas.microsoft.com/office/drawing/2014/main" id="{929E80EC-ABB5-FC47-BF91-33C7057C3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08051"/>
            <a:ext cx="8806338" cy="520128"/>
          </a:xfrm>
        </p:spPr>
        <p:txBody>
          <a:bodyPr vert="horz" lIns="0" tIns="45720" rIns="91440" bIns="45720" rtlCol="0" anchor="t">
            <a:normAutofit/>
          </a:bodyPr>
          <a:lstStyle>
            <a:lvl1pPr>
              <a:defRPr lang="pl-PL" sz="1800" b="1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2220840-5540-F14A-BC1E-444C1BD005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253927"/>
            <a:ext cx="8806338" cy="679767"/>
          </a:xfrm>
        </p:spPr>
        <p:txBody>
          <a:bodyPr lIns="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i="0" kern="1200" spc="-15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pic>
        <p:nvPicPr>
          <p:cNvPr id="3" name="Picture 2" descr="A black and white logo&#10;&#10;Description automatically generated">
            <a:extLst>
              <a:ext uri="{FF2B5EF4-FFF2-40B4-BE49-F238E27FC236}">
                <a16:creationId xmlns:a16="http://schemas.microsoft.com/office/drawing/2014/main" id="{7FA09552-AA9D-028E-CFB1-A52EE01D8B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85510" y="448899"/>
            <a:ext cx="1044758" cy="850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25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o_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numeru slajdu 5">
            <a:extLst>
              <a:ext uri="{FF2B5EF4-FFF2-40B4-BE49-F238E27FC236}">
                <a16:creationId xmlns:a16="http://schemas.microsoft.com/office/drawing/2014/main" id="{E92F0D3E-D4CC-7E53-D007-02544BEB80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4" name="Tytuł 1">
            <a:extLst>
              <a:ext uri="{FF2B5EF4-FFF2-40B4-BE49-F238E27FC236}">
                <a16:creationId xmlns:a16="http://schemas.microsoft.com/office/drawing/2014/main" id="{2E22B162-5468-1E21-F625-1BE9C3D00E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08051"/>
            <a:ext cx="8806338" cy="520128"/>
          </a:xfrm>
        </p:spPr>
        <p:txBody>
          <a:bodyPr vert="horz" lIns="0" tIns="45720" rIns="91440" bIns="45720" rtlCol="0" anchor="t">
            <a:normAutofit/>
          </a:bodyPr>
          <a:lstStyle>
            <a:lvl1pPr>
              <a:defRPr lang="pl-PL" sz="1800" b="1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63A9290-20DA-E228-75F3-BEDA153F409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253927"/>
            <a:ext cx="8806338" cy="679767"/>
          </a:xfrm>
        </p:spPr>
        <p:txBody>
          <a:bodyPr lIns="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i="0" kern="1200" spc="-15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pic>
        <p:nvPicPr>
          <p:cNvPr id="7" name="Picture 6" descr="A black and white logo&#10;&#10;Description automatically generated">
            <a:extLst>
              <a:ext uri="{FF2B5EF4-FFF2-40B4-BE49-F238E27FC236}">
                <a16:creationId xmlns:a16="http://schemas.microsoft.com/office/drawing/2014/main" id="{DF230026-D987-9DC5-2C2E-53271A94426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385510" y="448899"/>
            <a:ext cx="1044758" cy="850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699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ec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3FAEAC0-0E6D-444A-95B5-0A3C93C47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46909" y="2970926"/>
            <a:ext cx="6697683" cy="1724480"/>
          </a:xfrm>
        </p:spPr>
        <p:txBody>
          <a:bodyPr anchor="t">
            <a:normAutofit/>
          </a:bodyPr>
          <a:lstStyle>
            <a:lvl1pPr>
              <a:defRPr sz="4400" b="1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3072B88E-60B1-4951-ACB4-62501281AA6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46909" y="5018314"/>
            <a:ext cx="9198015" cy="996592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err="1"/>
              <a:t>Sub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7" name="Symbol zastępczy numeru slajdu 5">
            <a:extLst>
              <a:ext uri="{FF2B5EF4-FFF2-40B4-BE49-F238E27FC236}">
                <a16:creationId xmlns:a16="http://schemas.microsoft.com/office/drawing/2014/main" id="{2BFFDC2F-69F9-4006-A2A6-11998BCE2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C37AD4BE-6D4A-446E-9235-69971E43B1B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172188" y="2970926"/>
            <a:ext cx="1274721" cy="852930"/>
          </a:xfrm>
        </p:spPr>
        <p:txBody>
          <a:bodyPr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4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2911251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BAE40"/>
          </p15:clr>
        </p15:guide>
        <p15:guide id="2" pos="7129">
          <p15:clr>
            <a:srgbClr val="FBAE4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p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1918FE48-EA31-FE17-CBC9-07C1ED4C80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08051"/>
            <a:ext cx="8806338" cy="520128"/>
          </a:xfrm>
        </p:spPr>
        <p:txBody>
          <a:bodyPr vert="horz" lIns="0" tIns="45720" rIns="91440" bIns="45720" rtlCol="0" anchor="t">
            <a:normAutofit/>
          </a:bodyPr>
          <a:lstStyle>
            <a:lvl1pPr>
              <a:defRPr lang="pl-PL" sz="1800" b="1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065AD3F9-E199-B194-BCDE-2133BB5E703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253927"/>
            <a:ext cx="8806338" cy="679767"/>
          </a:xfrm>
        </p:spPr>
        <p:txBody>
          <a:bodyPr lIns="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i="0" kern="1200" spc="-15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E5C02D-56B1-A05F-4001-BB7C3F6A542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385510" y="448899"/>
            <a:ext cx="1044758" cy="850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187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_column_text_and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C781BEA-A0D4-CF4E-8171-90B52C8EBE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63349" y="2537783"/>
            <a:ext cx="3162299" cy="3477123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304D130-51A3-F548-B74D-31E02331B55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65648" y="2537783"/>
            <a:ext cx="3162299" cy="3477123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8" name="Tytuł 1">
            <a:extLst>
              <a:ext uri="{FF2B5EF4-FFF2-40B4-BE49-F238E27FC236}">
                <a16:creationId xmlns:a16="http://schemas.microsoft.com/office/drawing/2014/main" id="{BABF2F3A-98AC-E54A-B8FB-FBABA6A48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A7B1259-50F3-AC40-8743-F5628495C4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74625BDF-1CB1-4C9C-9286-C46C20F1B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55392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83570E-A908-D8DD-9BD1-BE694BEAC4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CC0A0B-16D8-027E-EDEF-AF295358B9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574068-F3EE-270F-8257-CC6047712F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B418E-B225-487C-9756-1E9CD68C504A}" type="datetimeFigureOut">
              <a:rPr lang="en-CH" smtClean="0"/>
              <a:t>10/29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84E760-8084-2A41-E266-6DD374265F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459250-9243-44D6-FF24-4E2912BA23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322E4-72ED-49C0-BA52-D2C54D3F6E75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739374608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een background with a black background&#10;&#10;Description automatically generated">
            <a:extLst>
              <a:ext uri="{FF2B5EF4-FFF2-40B4-BE49-F238E27FC236}">
                <a16:creationId xmlns:a16="http://schemas.microsoft.com/office/drawing/2014/main" id="{C5A15758-18A4-F8B5-8475-885D1E2F41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3"/>
            <a:ext cx="12192000" cy="685689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C2B404-9FBA-1E87-C027-2BB6C644C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110772"/>
            <a:ext cx="6826250" cy="1673731"/>
          </a:xfrm>
        </p:spPr>
        <p:txBody>
          <a:bodyPr anchor="b"/>
          <a:lstStyle>
            <a:lvl1pPr>
              <a:defRPr sz="5000">
                <a:solidFill>
                  <a:schemeClr val="accent2"/>
                </a:solidFill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8598D-4FA6-4246-6447-7B759D632FD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811492"/>
            <a:ext cx="6826250" cy="34727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optional 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B53587-0701-2BC6-CC8A-7319C380CA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849" y="6327552"/>
            <a:ext cx="6868450" cy="347270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optional date</a:t>
            </a:r>
            <a:endParaRPr lang="en-GB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1FCA1F3-62B5-C71B-D135-73E9DB172764}"/>
              </a:ext>
            </a:extLst>
          </p:cNvPr>
          <p:cNvGrpSpPr/>
          <p:nvPr userDrawn="1"/>
        </p:nvGrpSpPr>
        <p:grpSpPr>
          <a:xfrm>
            <a:off x="831850" y="1085024"/>
            <a:ext cx="3353494" cy="825804"/>
            <a:chOff x="13749337" y="746575"/>
            <a:chExt cx="11277504" cy="2777109"/>
          </a:xfrm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5D74723-591C-61E8-9A17-EE9A50999B0E}"/>
                </a:ext>
              </a:extLst>
            </p:cNvPr>
            <p:cNvSpPr/>
            <p:nvPr/>
          </p:nvSpPr>
          <p:spPr>
            <a:xfrm>
              <a:off x="13749337" y="746575"/>
              <a:ext cx="5114450" cy="2777109"/>
            </a:xfrm>
            <a:custGeom>
              <a:avLst/>
              <a:gdLst>
                <a:gd name="connsiteX0" fmla="*/ 5080826 w 5114450"/>
                <a:gd name="connsiteY0" fmla="*/ 664559 h 2777109"/>
                <a:gd name="connsiteX1" fmla="*/ 5114450 w 5114450"/>
                <a:gd name="connsiteY1" fmla="*/ 952786 h 2777109"/>
                <a:gd name="connsiteX2" fmla="*/ 4924234 w 5114450"/>
                <a:gd name="connsiteY2" fmla="*/ 952786 h 2777109"/>
                <a:gd name="connsiteX3" fmla="*/ 4911662 w 5114450"/>
                <a:gd name="connsiteY3" fmla="*/ 812292 h 2777109"/>
                <a:gd name="connsiteX4" fmla="*/ 4562570 w 5114450"/>
                <a:gd name="connsiteY4" fmla="*/ 812292 h 2777109"/>
                <a:gd name="connsiteX5" fmla="*/ 4196906 w 5114450"/>
                <a:gd name="connsiteY5" fmla="*/ 972026 h 2777109"/>
                <a:gd name="connsiteX6" fmla="*/ 4047362 w 5114450"/>
                <a:gd name="connsiteY6" fmla="*/ 952786 h 2777109"/>
                <a:gd name="connsiteX7" fmla="*/ 5080826 w 5114450"/>
                <a:gd name="connsiteY7" fmla="*/ 664559 h 2777109"/>
                <a:gd name="connsiteX8" fmla="*/ 4833462 w 5114450"/>
                <a:gd name="connsiteY8" fmla="*/ 250221 h 2777109"/>
                <a:gd name="connsiteX9" fmla="*/ 5031866 w 5114450"/>
                <a:gd name="connsiteY9" fmla="*/ 250221 h 2777109"/>
                <a:gd name="connsiteX10" fmla="*/ 5076634 w 5114450"/>
                <a:gd name="connsiteY10" fmla="*/ 629697 h 2777109"/>
                <a:gd name="connsiteX11" fmla="*/ 4896516 w 5114450"/>
                <a:gd name="connsiteY11" fmla="*/ 650176 h 2777109"/>
                <a:gd name="connsiteX12" fmla="*/ 4876418 w 5114450"/>
                <a:gd name="connsiteY12" fmla="*/ 423767 h 2777109"/>
                <a:gd name="connsiteX13" fmla="*/ 4658010 w 5114450"/>
                <a:gd name="connsiteY13" fmla="*/ 693610 h 2777109"/>
                <a:gd name="connsiteX14" fmla="*/ 4657914 w 5114450"/>
                <a:gd name="connsiteY14" fmla="*/ 693610 h 2777109"/>
                <a:gd name="connsiteX15" fmla="*/ 4412456 w 5114450"/>
                <a:gd name="connsiteY15" fmla="*/ 758856 h 2777109"/>
                <a:gd name="connsiteX16" fmla="*/ 4833462 w 5114450"/>
                <a:gd name="connsiteY16" fmla="*/ 250221 h 2777109"/>
                <a:gd name="connsiteX17" fmla="*/ 4326922 w 5114450"/>
                <a:gd name="connsiteY17" fmla="*/ 232600 h 2777109"/>
                <a:gd name="connsiteX18" fmla="*/ 4614670 w 5114450"/>
                <a:gd name="connsiteY18" fmla="*/ 329279 h 2777109"/>
                <a:gd name="connsiteX19" fmla="*/ 4508658 w 5114450"/>
                <a:gd name="connsiteY19" fmla="*/ 460438 h 2777109"/>
                <a:gd name="connsiteX20" fmla="*/ 4508658 w 5114450"/>
                <a:gd name="connsiteY20" fmla="*/ 460533 h 2777109"/>
                <a:gd name="connsiteX21" fmla="*/ 4299298 w 5114450"/>
                <a:gd name="connsiteY21" fmla="*/ 376999 h 2777109"/>
                <a:gd name="connsiteX22" fmla="*/ 4010024 w 5114450"/>
                <a:gd name="connsiteY22" fmla="*/ 619887 h 2777109"/>
                <a:gd name="connsiteX23" fmla="*/ 4113466 w 5114450"/>
                <a:gd name="connsiteY23" fmla="*/ 811911 h 2777109"/>
                <a:gd name="connsiteX24" fmla="*/ 4215670 w 5114450"/>
                <a:gd name="connsiteY24" fmla="*/ 826484 h 2777109"/>
                <a:gd name="connsiteX25" fmla="*/ 3928300 w 5114450"/>
                <a:gd name="connsiteY25" fmla="*/ 952881 h 2777109"/>
                <a:gd name="connsiteX26" fmla="*/ 3206400 w 5114450"/>
                <a:gd name="connsiteY26" fmla="*/ 952881 h 2777109"/>
                <a:gd name="connsiteX27" fmla="*/ 3454336 w 5114450"/>
                <a:gd name="connsiteY27" fmla="*/ 250317 h 2777109"/>
                <a:gd name="connsiteX28" fmla="*/ 3987164 w 5114450"/>
                <a:gd name="connsiteY28" fmla="*/ 250317 h 2777109"/>
                <a:gd name="connsiteX29" fmla="*/ 3871626 w 5114450"/>
                <a:gd name="connsiteY29" fmla="*/ 390810 h 2777109"/>
                <a:gd name="connsiteX30" fmla="*/ 3587590 w 5114450"/>
                <a:gd name="connsiteY30" fmla="*/ 390810 h 2777109"/>
                <a:gd name="connsiteX31" fmla="*/ 3544156 w 5114450"/>
                <a:gd name="connsiteY31" fmla="*/ 513683 h 2777109"/>
                <a:gd name="connsiteX32" fmla="*/ 3770470 w 5114450"/>
                <a:gd name="connsiteY32" fmla="*/ 513683 h 2777109"/>
                <a:gd name="connsiteX33" fmla="*/ 3655122 w 5114450"/>
                <a:gd name="connsiteY33" fmla="*/ 653796 h 2777109"/>
                <a:gd name="connsiteX34" fmla="*/ 3494722 w 5114450"/>
                <a:gd name="connsiteY34" fmla="*/ 653796 h 2777109"/>
                <a:gd name="connsiteX35" fmla="*/ 3438810 w 5114450"/>
                <a:gd name="connsiteY35" fmla="*/ 812101 h 2777109"/>
                <a:gd name="connsiteX36" fmla="*/ 3873530 w 5114450"/>
                <a:gd name="connsiteY36" fmla="*/ 812101 h 2777109"/>
                <a:gd name="connsiteX37" fmla="*/ 3829430 w 5114450"/>
                <a:gd name="connsiteY37" fmla="*/ 629793 h 2777109"/>
                <a:gd name="connsiteX38" fmla="*/ 4326922 w 5114450"/>
                <a:gd name="connsiteY38" fmla="*/ 232600 h 2777109"/>
                <a:gd name="connsiteX39" fmla="*/ 1567529 w 5114450"/>
                <a:gd name="connsiteY39" fmla="*/ 0 h 2777109"/>
                <a:gd name="connsiteX40" fmla="*/ 2797397 w 5114450"/>
                <a:gd name="connsiteY40" fmla="*/ 1388555 h 2777109"/>
                <a:gd name="connsiteX41" fmla="*/ 1567529 w 5114450"/>
                <a:gd name="connsiteY41" fmla="*/ 2777109 h 2777109"/>
                <a:gd name="connsiteX42" fmla="*/ 1567529 w 5114450"/>
                <a:gd name="connsiteY42" fmla="*/ 2003965 h 2777109"/>
                <a:gd name="connsiteX43" fmla="*/ 2036921 w 5114450"/>
                <a:gd name="connsiteY43" fmla="*/ 1388555 h 2777109"/>
                <a:gd name="connsiteX44" fmla="*/ 1567529 w 5114450"/>
                <a:gd name="connsiteY44" fmla="*/ 773144 h 2777109"/>
                <a:gd name="connsiteX45" fmla="*/ 1229868 w 5114450"/>
                <a:gd name="connsiteY45" fmla="*/ 0 h 2777109"/>
                <a:gd name="connsiteX46" fmla="*/ 1229868 w 5114450"/>
                <a:gd name="connsiteY46" fmla="*/ 773144 h 2777109"/>
                <a:gd name="connsiteX47" fmla="*/ 760476 w 5114450"/>
                <a:gd name="connsiteY47" fmla="*/ 1388555 h 2777109"/>
                <a:gd name="connsiteX48" fmla="*/ 1229868 w 5114450"/>
                <a:gd name="connsiteY48" fmla="*/ 2003965 h 2777109"/>
                <a:gd name="connsiteX49" fmla="*/ 1229868 w 5114450"/>
                <a:gd name="connsiteY49" fmla="*/ 2777109 h 2777109"/>
                <a:gd name="connsiteX50" fmla="*/ 0 w 5114450"/>
                <a:gd name="connsiteY50" fmla="*/ 1388555 h 2777109"/>
                <a:gd name="connsiteX51" fmla="*/ 1229868 w 5114450"/>
                <a:gd name="connsiteY51" fmla="*/ 0 h 2777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114450" h="2777109">
                  <a:moveTo>
                    <a:pt x="5080826" y="664559"/>
                  </a:moveTo>
                  <a:lnTo>
                    <a:pt x="5114450" y="952786"/>
                  </a:lnTo>
                  <a:lnTo>
                    <a:pt x="4924234" y="952786"/>
                  </a:lnTo>
                  <a:cubicBezTo>
                    <a:pt x="4924234" y="952786"/>
                    <a:pt x="4911662" y="812292"/>
                    <a:pt x="4911662" y="812292"/>
                  </a:cubicBezTo>
                  <a:lnTo>
                    <a:pt x="4562570" y="812292"/>
                  </a:lnTo>
                  <a:cubicBezTo>
                    <a:pt x="4448746" y="938022"/>
                    <a:pt x="4354162" y="972026"/>
                    <a:pt x="4196906" y="972026"/>
                  </a:cubicBezTo>
                  <a:cubicBezTo>
                    <a:pt x="4140136" y="972026"/>
                    <a:pt x="4086892" y="965549"/>
                    <a:pt x="4047362" y="952786"/>
                  </a:cubicBezTo>
                  <a:cubicBezTo>
                    <a:pt x="4047362" y="952786"/>
                    <a:pt x="4500562" y="719233"/>
                    <a:pt x="5080826" y="664559"/>
                  </a:cubicBezTo>
                  <a:close/>
                  <a:moveTo>
                    <a:pt x="4833462" y="250221"/>
                  </a:moveTo>
                  <a:lnTo>
                    <a:pt x="5031866" y="250221"/>
                  </a:lnTo>
                  <a:lnTo>
                    <a:pt x="5076634" y="629697"/>
                  </a:lnTo>
                  <a:cubicBezTo>
                    <a:pt x="5016626" y="636079"/>
                    <a:pt x="4955094" y="641127"/>
                    <a:pt x="4896516" y="650176"/>
                  </a:cubicBezTo>
                  <a:lnTo>
                    <a:pt x="4876418" y="423767"/>
                  </a:lnTo>
                  <a:lnTo>
                    <a:pt x="4658010" y="693610"/>
                  </a:lnTo>
                  <a:lnTo>
                    <a:pt x="4657914" y="693610"/>
                  </a:lnTo>
                  <a:cubicBezTo>
                    <a:pt x="4574094" y="712470"/>
                    <a:pt x="4492274" y="734282"/>
                    <a:pt x="4412456" y="758856"/>
                  </a:cubicBezTo>
                  <a:cubicBezTo>
                    <a:pt x="4412456" y="758856"/>
                    <a:pt x="4833462" y="250221"/>
                    <a:pt x="4833462" y="250221"/>
                  </a:cubicBezTo>
                  <a:close/>
                  <a:moveTo>
                    <a:pt x="4326922" y="232600"/>
                  </a:moveTo>
                  <a:cubicBezTo>
                    <a:pt x="4449222" y="232600"/>
                    <a:pt x="4548090" y="269271"/>
                    <a:pt x="4614670" y="329279"/>
                  </a:cubicBezTo>
                  <a:lnTo>
                    <a:pt x="4508658" y="460438"/>
                  </a:lnTo>
                  <a:lnTo>
                    <a:pt x="4508658" y="460533"/>
                  </a:lnTo>
                  <a:cubicBezTo>
                    <a:pt x="4467130" y="414051"/>
                    <a:pt x="4383498" y="376999"/>
                    <a:pt x="4299298" y="376999"/>
                  </a:cubicBezTo>
                  <a:cubicBezTo>
                    <a:pt x="4128706" y="376999"/>
                    <a:pt x="4021930" y="498538"/>
                    <a:pt x="4010024" y="619887"/>
                  </a:cubicBezTo>
                  <a:cubicBezTo>
                    <a:pt x="3999928" y="723042"/>
                    <a:pt x="4035838" y="785241"/>
                    <a:pt x="4113466" y="811911"/>
                  </a:cubicBezTo>
                  <a:cubicBezTo>
                    <a:pt x="4156518" y="822769"/>
                    <a:pt x="4180902" y="825246"/>
                    <a:pt x="4215670" y="826484"/>
                  </a:cubicBezTo>
                  <a:cubicBezTo>
                    <a:pt x="4030408" y="898017"/>
                    <a:pt x="3928300" y="952881"/>
                    <a:pt x="3928300" y="952881"/>
                  </a:cubicBezTo>
                  <a:lnTo>
                    <a:pt x="3206400" y="952881"/>
                  </a:lnTo>
                  <a:cubicBezTo>
                    <a:pt x="3206400" y="952881"/>
                    <a:pt x="3454336" y="250317"/>
                    <a:pt x="3454336" y="250317"/>
                  </a:cubicBezTo>
                  <a:lnTo>
                    <a:pt x="3987164" y="250317"/>
                  </a:lnTo>
                  <a:cubicBezTo>
                    <a:pt x="3987164" y="250317"/>
                    <a:pt x="3871626" y="390810"/>
                    <a:pt x="3871626" y="390810"/>
                  </a:cubicBezTo>
                  <a:lnTo>
                    <a:pt x="3587590" y="390810"/>
                  </a:lnTo>
                  <a:cubicBezTo>
                    <a:pt x="3587590" y="390810"/>
                    <a:pt x="3544156" y="513683"/>
                    <a:pt x="3544156" y="513683"/>
                  </a:cubicBezTo>
                  <a:lnTo>
                    <a:pt x="3770470" y="513683"/>
                  </a:lnTo>
                  <a:cubicBezTo>
                    <a:pt x="3770470" y="513683"/>
                    <a:pt x="3655122" y="653796"/>
                    <a:pt x="3655122" y="653796"/>
                  </a:cubicBezTo>
                  <a:lnTo>
                    <a:pt x="3494722" y="653796"/>
                  </a:lnTo>
                  <a:cubicBezTo>
                    <a:pt x="3494722" y="653796"/>
                    <a:pt x="3438810" y="812101"/>
                    <a:pt x="3438810" y="812101"/>
                  </a:cubicBezTo>
                  <a:lnTo>
                    <a:pt x="3873530" y="812101"/>
                  </a:lnTo>
                  <a:cubicBezTo>
                    <a:pt x="3837336" y="752284"/>
                    <a:pt x="3826192" y="691610"/>
                    <a:pt x="3829430" y="629793"/>
                  </a:cubicBezTo>
                  <a:cubicBezTo>
                    <a:pt x="3840290" y="425481"/>
                    <a:pt x="4007454" y="232600"/>
                    <a:pt x="4326922" y="232600"/>
                  </a:cubicBezTo>
                  <a:close/>
                  <a:moveTo>
                    <a:pt x="1567529" y="0"/>
                  </a:moveTo>
                  <a:cubicBezTo>
                    <a:pt x="2260473" y="83344"/>
                    <a:pt x="2797397" y="673227"/>
                    <a:pt x="2797397" y="1388555"/>
                  </a:cubicBezTo>
                  <a:cubicBezTo>
                    <a:pt x="2797397" y="2103882"/>
                    <a:pt x="2260378" y="2693765"/>
                    <a:pt x="1567529" y="2777109"/>
                  </a:cubicBezTo>
                  <a:lnTo>
                    <a:pt x="1567529" y="2003965"/>
                  </a:lnTo>
                  <a:cubicBezTo>
                    <a:pt x="1837754" y="1929765"/>
                    <a:pt x="2036921" y="1682020"/>
                    <a:pt x="2036921" y="1388555"/>
                  </a:cubicBezTo>
                  <a:cubicBezTo>
                    <a:pt x="2036921" y="1095089"/>
                    <a:pt x="1837754" y="847344"/>
                    <a:pt x="1567529" y="773144"/>
                  </a:cubicBezTo>
                  <a:close/>
                  <a:moveTo>
                    <a:pt x="1229868" y="0"/>
                  </a:moveTo>
                  <a:lnTo>
                    <a:pt x="1229868" y="773144"/>
                  </a:lnTo>
                  <a:cubicBezTo>
                    <a:pt x="959644" y="847344"/>
                    <a:pt x="760476" y="1095089"/>
                    <a:pt x="760476" y="1388555"/>
                  </a:cubicBezTo>
                  <a:cubicBezTo>
                    <a:pt x="760476" y="1682020"/>
                    <a:pt x="959644" y="1929765"/>
                    <a:pt x="1229868" y="2003965"/>
                  </a:cubicBezTo>
                  <a:lnTo>
                    <a:pt x="1229868" y="2777109"/>
                  </a:lnTo>
                  <a:cubicBezTo>
                    <a:pt x="537020" y="2693765"/>
                    <a:pt x="0" y="2103882"/>
                    <a:pt x="0" y="1388555"/>
                  </a:cubicBezTo>
                  <a:cubicBezTo>
                    <a:pt x="0" y="673227"/>
                    <a:pt x="537020" y="83344"/>
                    <a:pt x="1229868" y="0"/>
                  </a:cubicBezTo>
                  <a:close/>
                </a:path>
              </a:pathLst>
            </a:custGeom>
            <a:solidFill>
              <a:srgbClr val="96F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F748AF8-4448-81DE-F0BA-A520C2A36C79}"/>
                </a:ext>
              </a:extLst>
            </p:cNvPr>
            <p:cNvSpPr/>
            <p:nvPr/>
          </p:nvSpPr>
          <p:spPr>
            <a:xfrm>
              <a:off x="16955738" y="1931294"/>
              <a:ext cx="8071103" cy="1359693"/>
            </a:xfrm>
            <a:custGeom>
              <a:avLst/>
              <a:gdLst>
                <a:gd name="connsiteX0" fmla="*/ 0 w 8071103"/>
                <a:gd name="connsiteY0" fmla="*/ 1074230 h 1359693"/>
                <a:gd name="connsiteX1" fmla="*/ 0 w 8071103"/>
                <a:gd name="connsiteY1" fmla="*/ 283559 h 1359693"/>
                <a:gd name="connsiteX2" fmla="*/ 308038 w 8071103"/>
                <a:gd name="connsiteY2" fmla="*/ 0 h 1359693"/>
                <a:gd name="connsiteX3" fmla="*/ 616077 w 8071103"/>
                <a:gd name="connsiteY3" fmla="*/ 283559 h 1359693"/>
                <a:gd name="connsiteX4" fmla="*/ 616077 w 8071103"/>
                <a:gd name="connsiteY4" fmla="*/ 557784 h 1359693"/>
                <a:gd name="connsiteX5" fmla="*/ 379476 w 8071103"/>
                <a:gd name="connsiteY5" fmla="*/ 557784 h 1359693"/>
                <a:gd name="connsiteX6" fmla="*/ 379476 w 8071103"/>
                <a:gd name="connsiteY6" fmla="*/ 285464 h 1359693"/>
                <a:gd name="connsiteX7" fmla="*/ 308134 w 8071103"/>
                <a:gd name="connsiteY7" fmla="*/ 215932 h 1359693"/>
                <a:gd name="connsiteX8" fmla="*/ 236791 w 8071103"/>
                <a:gd name="connsiteY8" fmla="*/ 285464 h 1359693"/>
                <a:gd name="connsiteX9" fmla="*/ 236791 w 8071103"/>
                <a:gd name="connsiteY9" fmla="*/ 1074230 h 1359693"/>
                <a:gd name="connsiteX10" fmla="*/ 308134 w 8071103"/>
                <a:gd name="connsiteY10" fmla="*/ 1143667 h 1359693"/>
                <a:gd name="connsiteX11" fmla="*/ 379476 w 8071103"/>
                <a:gd name="connsiteY11" fmla="*/ 1074230 h 1359693"/>
                <a:gd name="connsiteX12" fmla="*/ 379476 w 8071103"/>
                <a:gd name="connsiteY12" fmla="*/ 783146 h 1359693"/>
                <a:gd name="connsiteX13" fmla="*/ 616077 w 8071103"/>
                <a:gd name="connsiteY13" fmla="*/ 783146 h 1359693"/>
                <a:gd name="connsiteX14" fmla="*/ 616077 w 8071103"/>
                <a:gd name="connsiteY14" fmla="*/ 1074230 h 1359693"/>
                <a:gd name="connsiteX15" fmla="*/ 308038 w 8071103"/>
                <a:gd name="connsiteY15" fmla="*/ 1359694 h 1359693"/>
                <a:gd name="connsiteX16" fmla="*/ 0 w 8071103"/>
                <a:gd name="connsiteY16" fmla="*/ 1074230 h 1359693"/>
                <a:gd name="connsiteX17" fmla="*/ 762476 w 8071103"/>
                <a:gd name="connsiteY17" fmla="*/ 22574 h 1359693"/>
                <a:gd name="connsiteX18" fmla="*/ 999077 w 8071103"/>
                <a:gd name="connsiteY18" fmla="*/ 22574 h 1359693"/>
                <a:gd name="connsiteX19" fmla="*/ 999077 w 8071103"/>
                <a:gd name="connsiteY19" fmla="*/ 1121283 h 1359693"/>
                <a:gd name="connsiteX20" fmla="*/ 1198150 w 8071103"/>
                <a:gd name="connsiteY20" fmla="*/ 1121283 h 1359693"/>
                <a:gd name="connsiteX21" fmla="*/ 1198150 w 8071103"/>
                <a:gd name="connsiteY21" fmla="*/ 1337215 h 1359693"/>
                <a:gd name="connsiteX22" fmla="*/ 762476 w 8071103"/>
                <a:gd name="connsiteY22" fmla="*/ 1337215 h 1359693"/>
                <a:gd name="connsiteX23" fmla="*/ 762476 w 8071103"/>
                <a:gd name="connsiteY23" fmla="*/ 22574 h 1359693"/>
                <a:gd name="connsiteX24" fmla="*/ 1293971 w 8071103"/>
                <a:gd name="connsiteY24" fmla="*/ 1074230 h 1359693"/>
                <a:gd name="connsiteX25" fmla="*/ 1293971 w 8071103"/>
                <a:gd name="connsiteY25" fmla="*/ 22479 h 1359693"/>
                <a:gd name="connsiteX26" fmla="*/ 1530572 w 8071103"/>
                <a:gd name="connsiteY26" fmla="*/ 22479 h 1359693"/>
                <a:gd name="connsiteX27" fmla="*/ 1530572 w 8071103"/>
                <a:gd name="connsiteY27" fmla="*/ 1074230 h 1359693"/>
                <a:gd name="connsiteX28" fmla="*/ 1600105 w 8071103"/>
                <a:gd name="connsiteY28" fmla="*/ 1143667 h 1359693"/>
                <a:gd name="connsiteX29" fmla="*/ 1671447 w 8071103"/>
                <a:gd name="connsiteY29" fmla="*/ 1074230 h 1359693"/>
                <a:gd name="connsiteX30" fmla="*/ 1671447 w 8071103"/>
                <a:gd name="connsiteY30" fmla="*/ 22479 h 1359693"/>
                <a:gd name="connsiteX31" fmla="*/ 1908048 w 8071103"/>
                <a:gd name="connsiteY31" fmla="*/ 22479 h 1359693"/>
                <a:gd name="connsiteX32" fmla="*/ 1908048 w 8071103"/>
                <a:gd name="connsiteY32" fmla="*/ 1074230 h 1359693"/>
                <a:gd name="connsiteX33" fmla="*/ 1600009 w 8071103"/>
                <a:gd name="connsiteY33" fmla="*/ 1359694 h 1359693"/>
                <a:gd name="connsiteX34" fmla="*/ 1293876 w 8071103"/>
                <a:gd name="connsiteY34" fmla="*/ 1074230 h 1359693"/>
                <a:gd name="connsiteX35" fmla="*/ 2060162 w 8071103"/>
                <a:gd name="connsiteY35" fmla="*/ 22574 h 1359693"/>
                <a:gd name="connsiteX36" fmla="*/ 2394490 w 8071103"/>
                <a:gd name="connsiteY36" fmla="*/ 22574 h 1359693"/>
                <a:gd name="connsiteX37" fmla="*/ 2674335 w 8071103"/>
                <a:gd name="connsiteY37" fmla="*/ 279844 h 1359693"/>
                <a:gd name="connsiteX38" fmla="*/ 2674335 w 8071103"/>
                <a:gd name="connsiteY38" fmla="*/ 458248 h 1359693"/>
                <a:gd name="connsiteX39" fmla="*/ 2565369 w 8071103"/>
                <a:gd name="connsiteY39" fmla="*/ 651701 h 1359693"/>
                <a:gd name="connsiteX40" fmla="*/ 2565369 w 8071103"/>
                <a:gd name="connsiteY40" fmla="*/ 662940 h 1359693"/>
                <a:gd name="connsiteX41" fmla="*/ 2685574 w 8071103"/>
                <a:gd name="connsiteY41" fmla="*/ 865727 h 1359693"/>
                <a:gd name="connsiteX42" fmla="*/ 2685574 w 8071103"/>
                <a:gd name="connsiteY42" fmla="*/ 1079849 h 1359693"/>
                <a:gd name="connsiteX43" fmla="*/ 2405729 w 8071103"/>
                <a:gd name="connsiteY43" fmla="*/ 1337120 h 1359693"/>
                <a:gd name="connsiteX44" fmla="*/ 2060162 w 8071103"/>
                <a:gd name="connsiteY44" fmla="*/ 1337120 h 1359693"/>
                <a:gd name="connsiteX45" fmla="*/ 2060162 w 8071103"/>
                <a:gd name="connsiteY45" fmla="*/ 22574 h 1359693"/>
                <a:gd name="connsiteX46" fmla="*/ 2296763 w 8071103"/>
                <a:gd name="connsiteY46" fmla="*/ 238506 h 1359693"/>
                <a:gd name="connsiteX47" fmla="*/ 2296763 w 8071103"/>
                <a:gd name="connsiteY47" fmla="*/ 569024 h 1359693"/>
                <a:gd name="connsiteX48" fmla="*/ 2366296 w 8071103"/>
                <a:gd name="connsiteY48" fmla="*/ 569024 h 1359693"/>
                <a:gd name="connsiteX49" fmla="*/ 2437638 w 8071103"/>
                <a:gd name="connsiteY49" fmla="*/ 497681 h 1359693"/>
                <a:gd name="connsiteX50" fmla="*/ 2437638 w 8071103"/>
                <a:gd name="connsiteY50" fmla="*/ 307943 h 1359693"/>
                <a:gd name="connsiteX51" fmla="*/ 2366296 w 8071103"/>
                <a:gd name="connsiteY51" fmla="*/ 238506 h 1359693"/>
                <a:gd name="connsiteX52" fmla="*/ 2296763 w 8071103"/>
                <a:gd name="connsiteY52" fmla="*/ 238506 h 1359693"/>
                <a:gd name="connsiteX53" fmla="*/ 2296763 w 8071103"/>
                <a:gd name="connsiteY53" fmla="*/ 770001 h 1359693"/>
                <a:gd name="connsiteX54" fmla="*/ 2296763 w 8071103"/>
                <a:gd name="connsiteY54" fmla="*/ 1121188 h 1359693"/>
                <a:gd name="connsiteX55" fmla="*/ 2379440 w 8071103"/>
                <a:gd name="connsiteY55" fmla="*/ 1121188 h 1359693"/>
                <a:gd name="connsiteX56" fmla="*/ 2448973 w 8071103"/>
                <a:gd name="connsiteY56" fmla="*/ 1051655 h 1359693"/>
                <a:gd name="connsiteX57" fmla="*/ 2448973 w 8071103"/>
                <a:gd name="connsiteY57" fmla="*/ 841343 h 1359693"/>
                <a:gd name="connsiteX58" fmla="*/ 2379440 w 8071103"/>
                <a:gd name="connsiteY58" fmla="*/ 770001 h 1359693"/>
                <a:gd name="connsiteX59" fmla="*/ 2296763 w 8071103"/>
                <a:gd name="connsiteY59" fmla="*/ 770001 h 1359693"/>
                <a:gd name="connsiteX60" fmla="*/ 3094482 w 8071103"/>
                <a:gd name="connsiteY60" fmla="*/ 1074230 h 1359693"/>
                <a:gd name="connsiteX61" fmla="*/ 3094482 w 8071103"/>
                <a:gd name="connsiteY61" fmla="*/ 283559 h 1359693"/>
                <a:gd name="connsiteX62" fmla="*/ 3402520 w 8071103"/>
                <a:gd name="connsiteY62" fmla="*/ 0 h 1359693"/>
                <a:gd name="connsiteX63" fmla="*/ 3710559 w 8071103"/>
                <a:gd name="connsiteY63" fmla="*/ 283559 h 1359693"/>
                <a:gd name="connsiteX64" fmla="*/ 3710559 w 8071103"/>
                <a:gd name="connsiteY64" fmla="*/ 557784 h 1359693"/>
                <a:gd name="connsiteX65" fmla="*/ 3473958 w 8071103"/>
                <a:gd name="connsiteY65" fmla="*/ 557784 h 1359693"/>
                <a:gd name="connsiteX66" fmla="*/ 3473958 w 8071103"/>
                <a:gd name="connsiteY66" fmla="*/ 285464 h 1359693"/>
                <a:gd name="connsiteX67" fmla="*/ 3402616 w 8071103"/>
                <a:gd name="connsiteY67" fmla="*/ 215932 h 1359693"/>
                <a:gd name="connsiteX68" fmla="*/ 3331274 w 8071103"/>
                <a:gd name="connsiteY68" fmla="*/ 285464 h 1359693"/>
                <a:gd name="connsiteX69" fmla="*/ 3331274 w 8071103"/>
                <a:gd name="connsiteY69" fmla="*/ 1074230 h 1359693"/>
                <a:gd name="connsiteX70" fmla="*/ 3402616 w 8071103"/>
                <a:gd name="connsiteY70" fmla="*/ 1143667 h 1359693"/>
                <a:gd name="connsiteX71" fmla="*/ 3473958 w 8071103"/>
                <a:gd name="connsiteY71" fmla="*/ 1074230 h 1359693"/>
                <a:gd name="connsiteX72" fmla="*/ 3473958 w 8071103"/>
                <a:gd name="connsiteY72" fmla="*/ 783146 h 1359693"/>
                <a:gd name="connsiteX73" fmla="*/ 3710559 w 8071103"/>
                <a:gd name="connsiteY73" fmla="*/ 783146 h 1359693"/>
                <a:gd name="connsiteX74" fmla="*/ 3710559 w 8071103"/>
                <a:gd name="connsiteY74" fmla="*/ 1074230 h 1359693"/>
                <a:gd name="connsiteX75" fmla="*/ 3402520 w 8071103"/>
                <a:gd name="connsiteY75" fmla="*/ 1359694 h 1359693"/>
                <a:gd name="connsiteX76" fmla="*/ 3094482 w 8071103"/>
                <a:gd name="connsiteY76" fmla="*/ 1074230 h 1359693"/>
                <a:gd name="connsiteX77" fmla="*/ 3849434 w 8071103"/>
                <a:gd name="connsiteY77" fmla="*/ 1074230 h 1359693"/>
                <a:gd name="connsiteX78" fmla="*/ 3849434 w 8071103"/>
                <a:gd name="connsiteY78" fmla="*/ 283559 h 1359693"/>
                <a:gd name="connsiteX79" fmla="*/ 4157472 w 8071103"/>
                <a:gd name="connsiteY79" fmla="*/ 0 h 1359693"/>
                <a:gd name="connsiteX80" fmla="*/ 4465511 w 8071103"/>
                <a:gd name="connsiteY80" fmla="*/ 283559 h 1359693"/>
                <a:gd name="connsiteX81" fmla="*/ 4465511 w 8071103"/>
                <a:gd name="connsiteY81" fmla="*/ 1074230 h 1359693"/>
                <a:gd name="connsiteX82" fmla="*/ 4157472 w 8071103"/>
                <a:gd name="connsiteY82" fmla="*/ 1359694 h 1359693"/>
                <a:gd name="connsiteX83" fmla="*/ 3849434 w 8071103"/>
                <a:gd name="connsiteY83" fmla="*/ 1074230 h 1359693"/>
                <a:gd name="connsiteX84" fmla="*/ 4228814 w 8071103"/>
                <a:gd name="connsiteY84" fmla="*/ 1074230 h 1359693"/>
                <a:gd name="connsiteX85" fmla="*/ 4228814 w 8071103"/>
                <a:gd name="connsiteY85" fmla="*/ 285464 h 1359693"/>
                <a:gd name="connsiteX86" fmla="*/ 4157472 w 8071103"/>
                <a:gd name="connsiteY86" fmla="*/ 215932 h 1359693"/>
                <a:gd name="connsiteX87" fmla="*/ 4086130 w 8071103"/>
                <a:gd name="connsiteY87" fmla="*/ 285464 h 1359693"/>
                <a:gd name="connsiteX88" fmla="*/ 4086130 w 8071103"/>
                <a:gd name="connsiteY88" fmla="*/ 1074230 h 1359693"/>
                <a:gd name="connsiteX89" fmla="*/ 4157472 w 8071103"/>
                <a:gd name="connsiteY89" fmla="*/ 1143667 h 1359693"/>
                <a:gd name="connsiteX90" fmla="*/ 4228814 w 8071103"/>
                <a:gd name="connsiteY90" fmla="*/ 1074230 h 1359693"/>
                <a:gd name="connsiteX91" fmla="*/ 4613720 w 8071103"/>
                <a:gd name="connsiteY91" fmla="*/ 22574 h 1359693"/>
                <a:gd name="connsiteX92" fmla="*/ 4886039 w 8071103"/>
                <a:gd name="connsiteY92" fmla="*/ 22574 h 1359693"/>
                <a:gd name="connsiteX93" fmla="*/ 5021294 w 8071103"/>
                <a:gd name="connsiteY93" fmla="*/ 646081 h 1359693"/>
                <a:gd name="connsiteX94" fmla="*/ 5040059 w 8071103"/>
                <a:gd name="connsiteY94" fmla="*/ 811340 h 1359693"/>
                <a:gd name="connsiteX95" fmla="*/ 5071967 w 8071103"/>
                <a:gd name="connsiteY95" fmla="*/ 811340 h 1359693"/>
                <a:gd name="connsiteX96" fmla="*/ 5051298 w 8071103"/>
                <a:gd name="connsiteY96" fmla="*/ 646081 h 1359693"/>
                <a:gd name="connsiteX97" fmla="*/ 5051298 w 8071103"/>
                <a:gd name="connsiteY97" fmla="*/ 22574 h 1359693"/>
                <a:gd name="connsiteX98" fmla="*/ 5287899 w 8071103"/>
                <a:gd name="connsiteY98" fmla="*/ 22574 h 1359693"/>
                <a:gd name="connsiteX99" fmla="*/ 5287899 w 8071103"/>
                <a:gd name="connsiteY99" fmla="*/ 1337215 h 1359693"/>
                <a:gd name="connsiteX100" fmla="*/ 5017485 w 8071103"/>
                <a:gd name="connsiteY100" fmla="*/ 1337215 h 1359693"/>
                <a:gd name="connsiteX101" fmla="*/ 4882230 w 8071103"/>
                <a:gd name="connsiteY101" fmla="*/ 713708 h 1359693"/>
                <a:gd name="connsiteX102" fmla="*/ 4861560 w 8071103"/>
                <a:gd name="connsiteY102" fmla="*/ 548450 h 1359693"/>
                <a:gd name="connsiteX103" fmla="*/ 4829651 w 8071103"/>
                <a:gd name="connsiteY103" fmla="*/ 548450 h 1359693"/>
                <a:gd name="connsiteX104" fmla="*/ 4850320 w 8071103"/>
                <a:gd name="connsiteY104" fmla="*/ 713708 h 1359693"/>
                <a:gd name="connsiteX105" fmla="*/ 4850320 w 8071103"/>
                <a:gd name="connsiteY105" fmla="*/ 1337215 h 1359693"/>
                <a:gd name="connsiteX106" fmla="*/ 4613720 w 8071103"/>
                <a:gd name="connsiteY106" fmla="*/ 1337215 h 1359693"/>
                <a:gd name="connsiteX107" fmla="*/ 4613720 w 8071103"/>
                <a:gd name="connsiteY107" fmla="*/ 22574 h 1359693"/>
                <a:gd name="connsiteX108" fmla="*/ 5443823 w 8071103"/>
                <a:gd name="connsiteY108" fmla="*/ 22574 h 1359693"/>
                <a:gd name="connsiteX109" fmla="*/ 5716143 w 8071103"/>
                <a:gd name="connsiteY109" fmla="*/ 22574 h 1359693"/>
                <a:gd name="connsiteX110" fmla="*/ 5851398 w 8071103"/>
                <a:gd name="connsiteY110" fmla="*/ 646081 h 1359693"/>
                <a:gd name="connsiteX111" fmla="*/ 5870162 w 8071103"/>
                <a:gd name="connsiteY111" fmla="*/ 811340 h 1359693"/>
                <a:gd name="connsiteX112" fmla="*/ 5902071 w 8071103"/>
                <a:gd name="connsiteY112" fmla="*/ 811340 h 1359693"/>
                <a:gd name="connsiteX113" fmla="*/ 5881402 w 8071103"/>
                <a:gd name="connsiteY113" fmla="*/ 646081 h 1359693"/>
                <a:gd name="connsiteX114" fmla="*/ 5881402 w 8071103"/>
                <a:gd name="connsiteY114" fmla="*/ 22574 h 1359693"/>
                <a:gd name="connsiteX115" fmla="*/ 6118003 w 8071103"/>
                <a:gd name="connsiteY115" fmla="*/ 22574 h 1359693"/>
                <a:gd name="connsiteX116" fmla="*/ 6118003 w 8071103"/>
                <a:gd name="connsiteY116" fmla="*/ 1337215 h 1359693"/>
                <a:gd name="connsiteX117" fmla="*/ 5847588 w 8071103"/>
                <a:gd name="connsiteY117" fmla="*/ 1337215 h 1359693"/>
                <a:gd name="connsiteX118" fmla="*/ 5712333 w 8071103"/>
                <a:gd name="connsiteY118" fmla="*/ 713708 h 1359693"/>
                <a:gd name="connsiteX119" fmla="*/ 5691664 w 8071103"/>
                <a:gd name="connsiteY119" fmla="*/ 548450 h 1359693"/>
                <a:gd name="connsiteX120" fmla="*/ 5659755 w 8071103"/>
                <a:gd name="connsiteY120" fmla="*/ 548450 h 1359693"/>
                <a:gd name="connsiteX121" fmla="*/ 5680424 w 8071103"/>
                <a:gd name="connsiteY121" fmla="*/ 713708 h 1359693"/>
                <a:gd name="connsiteX122" fmla="*/ 5680424 w 8071103"/>
                <a:gd name="connsiteY122" fmla="*/ 1337215 h 1359693"/>
                <a:gd name="connsiteX123" fmla="*/ 5443823 w 8071103"/>
                <a:gd name="connsiteY123" fmla="*/ 1337215 h 1359693"/>
                <a:gd name="connsiteX124" fmla="*/ 5443823 w 8071103"/>
                <a:gd name="connsiteY124" fmla="*/ 22574 h 1359693"/>
                <a:gd name="connsiteX125" fmla="*/ 6273832 w 8071103"/>
                <a:gd name="connsiteY125" fmla="*/ 22574 h 1359693"/>
                <a:gd name="connsiteX126" fmla="*/ 6720840 w 8071103"/>
                <a:gd name="connsiteY126" fmla="*/ 22574 h 1359693"/>
                <a:gd name="connsiteX127" fmla="*/ 6720840 w 8071103"/>
                <a:gd name="connsiteY127" fmla="*/ 238601 h 1359693"/>
                <a:gd name="connsiteX128" fmla="*/ 6510528 w 8071103"/>
                <a:gd name="connsiteY128" fmla="*/ 238601 h 1359693"/>
                <a:gd name="connsiteX129" fmla="*/ 6510528 w 8071103"/>
                <a:gd name="connsiteY129" fmla="*/ 565404 h 1359693"/>
                <a:gd name="connsiteX130" fmla="*/ 6700172 w 8071103"/>
                <a:gd name="connsiteY130" fmla="*/ 565404 h 1359693"/>
                <a:gd name="connsiteX131" fmla="*/ 6700172 w 8071103"/>
                <a:gd name="connsiteY131" fmla="*/ 775716 h 1359693"/>
                <a:gd name="connsiteX132" fmla="*/ 6510528 w 8071103"/>
                <a:gd name="connsiteY132" fmla="*/ 775716 h 1359693"/>
                <a:gd name="connsiteX133" fmla="*/ 6510528 w 8071103"/>
                <a:gd name="connsiteY133" fmla="*/ 1121283 h 1359693"/>
                <a:gd name="connsiteX134" fmla="*/ 6720840 w 8071103"/>
                <a:gd name="connsiteY134" fmla="*/ 1121283 h 1359693"/>
                <a:gd name="connsiteX135" fmla="*/ 6720840 w 8071103"/>
                <a:gd name="connsiteY135" fmla="*/ 1337215 h 1359693"/>
                <a:gd name="connsiteX136" fmla="*/ 6273832 w 8071103"/>
                <a:gd name="connsiteY136" fmla="*/ 1337215 h 1359693"/>
                <a:gd name="connsiteX137" fmla="*/ 6273832 w 8071103"/>
                <a:gd name="connsiteY137" fmla="*/ 22574 h 1359693"/>
                <a:gd name="connsiteX138" fmla="*/ 6846665 w 8071103"/>
                <a:gd name="connsiteY138" fmla="*/ 1074230 h 1359693"/>
                <a:gd name="connsiteX139" fmla="*/ 6846665 w 8071103"/>
                <a:gd name="connsiteY139" fmla="*/ 283559 h 1359693"/>
                <a:gd name="connsiteX140" fmla="*/ 7154704 w 8071103"/>
                <a:gd name="connsiteY140" fmla="*/ 0 h 1359693"/>
                <a:gd name="connsiteX141" fmla="*/ 7462742 w 8071103"/>
                <a:gd name="connsiteY141" fmla="*/ 283559 h 1359693"/>
                <a:gd name="connsiteX142" fmla="*/ 7462742 w 8071103"/>
                <a:gd name="connsiteY142" fmla="*/ 557784 h 1359693"/>
                <a:gd name="connsiteX143" fmla="*/ 7226142 w 8071103"/>
                <a:gd name="connsiteY143" fmla="*/ 557784 h 1359693"/>
                <a:gd name="connsiteX144" fmla="*/ 7226142 w 8071103"/>
                <a:gd name="connsiteY144" fmla="*/ 285464 h 1359693"/>
                <a:gd name="connsiteX145" fmla="*/ 7154800 w 8071103"/>
                <a:gd name="connsiteY145" fmla="*/ 215932 h 1359693"/>
                <a:gd name="connsiteX146" fmla="*/ 7083457 w 8071103"/>
                <a:gd name="connsiteY146" fmla="*/ 285464 h 1359693"/>
                <a:gd name="connsiteX147" fmla="*/ 7083457 w 8071103"/>
                <a:gd name="connsiteY147" fmla="*/ 1074230 h 1359693"/>
                <a:gd name="connsiteX148" fmla="*/ 7154800 w 8071103"/>
                <a:gd name="connsiteY148" fmla="*/ 1143667 h 1359693"/>
                <a:gd name="connsiteX149" fmla="*/ 7226142 w 8071103"/>
                <a:gd name="connsiteY149" fmla="*/ 1074230 h 1359693"/>
                <a:gd name="connsiteX150" fmla="*/ 7226142 w 8071103"/>
                <a:gd name="connsiteY150" fmla="*/ 783146 h 1359693"/>
                <a:gd name="connsiteX151" fmla="*/ 7462742 w 8071103"/>
                <a:gd name="connsiteY151" fmla="*/ 783146 h 1359693"/>
                <a:gd name="connsiteX152" fmla="*/ 7462742 w 8071103"/>
                <a:gd name="connsiteY152" fmla="*/ 1074230 h 1359693"/>
                <a:gd name="connsiteX153" fmla="*/ 7154704 w 8071103"/>
                <a:gd name="connsiteY153" fmla="*/ 1359694 h 1359693"/>
                <a:gd name="connsiteX154" fmla="*/ 6846665 w 8071103"/>
                <a:gd name="connsiteY154" fmla="*/ 1074230 h 1359693"/>
                <a:gd name="connsiteX155" fmla="*/ 7699248 w 8071103"/>
                <a:gd name="connsiteY155" fmla="*/ 238506 h 1359693"/>
                <a:gd name="connsiteX156" fmla="*/ 7563993 w 8071103"/>
                <a:gd name="connsiteY156" fmla="*/ 238506 h 1359693"/>
                <a:gd name="connsiteX157" fmla="*/ 7563993 w 8071103"/>
                <a:gd name="connsiteY157" fmla="*/ 22479 h 1359693"/>
                <a:gd name="connsiteX158" fmla="*/ 8071104 w 8071103"/>
                <a:gd name="connsiteY158" fmla="*/ 22479 h 1359693"/>
                <a:gd name="connsiteX159" fmla="*/ 8071104 w 8071103"/>
                <a:gd name="connsiteY159" fmla="*/ 238506 h 1359693"/>
                <a:gd name="connsiteX160" fmla="*/ 7935850 w 8071103"/>
                <a:gd name="connsiteY160" fmla="*/ 238506 h 1359693"/>
                <a:gd name="connsiteX161" fmla="*/ 7935850 w 8071103"/>
                <a:gd name="connsiteY161" fmla="*/ 1337120 h 1359693"/>
                <a:gd name="connsiteX162" fmla="*/ 7699248 w 8071103"/>
                <a:gd name="connsiteY162" fmla="*/ 1337120 h 1359693"/>
                <a:gd name="connsiteX163" fmla="*/ 7699248 w 8071103"/>
                <a:gd name="connsiteY163" fmla="*/ 238506 h 1359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8071103" h="1359693">
                  <a:moveTo>
                    <a:pt x="0" y="1074230"/>
                  </a:moveTo>
                  <a:lnTo>
                    <a:pt x="0" y="283559"/>
                  </a:lnTo>
                  <a:cubicBezTo>
                    <a:pt x="0" y="114490"/>
                    <a:pt x="123920" y="0"/>
                    <a:pt x="308038" y="0"/>
                  </a:cubicBezTo>
                  <a:cubicBezTo>
                    <a:pt x="492157" y="0"/>
                    <a:pt x="616077" y="114586"/>
                    <a:pt x="616077" y="283559"/>
                  </a:cubicBezTo>
                  <a:lnTo>
                    <a:pt x="616077" y="557784"/>
                  </a:lnTo>
                  <a:lnTo>
                    <a:pt x="379476" y="557784"/>
                  </a:lnTo>
                  <a:lnTo>
                    <a:pt x="379476" y="285464"/>
                  </a:lnTo>
                  <a:cubicBezTo>
                    <a:pt x="379476" y="242316"/>
                    <a:pt x="351282" y="215932"/>
                    <a:pt x="308134" y="215932"/>
                  </a:cubicBezTo>
                  <a:cubicBezTo>
                    <a:pt x="264986" y="215932"/>
                    <a:pt x="236791" y="242221"/>
                    <a:pt x="236791" y="285464"/>
                  </a:cubicBezTo>
                  <a:lnTo>
                    <a:pt x="236791" y="1074230"/>
                  </a:lnTo>
                  <a:cubicBezTo>
                    <a:pt x="236791" y="1117378"/>
                    <a:pt x="264986" y="1143667"/>
                    <a:pt x="308134" y="1143667"/>
                  </a:cubicBezTo>
                  <a:cubicBezTo>
                    <a:pt x="351282" y="1143667"/>
                    <a:pt x="379476" y="1117378"/>
                    <a:pt x="379476" y="1074230"/>
                  </a:cubicBezTo>
                  <a:lnTo>
                    <a:pt x="379476" y="783146"/>
                  </a:lnTo>
                  <a:lnTo>
                    <a:pt x="616077" y="783146"/>
                  </a:lnTo>
                  <a:lnTo>
                    <a:pt x="616077" y="1074230"/>
                  </a:lnTo>
                  <a:cubicBezTo>
                    <a:pt x="616077" y="1245108"/>
                    <a:pt x="492157" y="1359694"/>
                    <a:pt x="308038" y="1359694"/>
                  </a:cubicBezTo>
                  <a:cubicBezTo>
                    <a:pt x="123920" y="1359694"/>
                    <a:pt x="0" y="1245108"/>
                    <a:pt x="0" y="1074230"/>
                  </a:cubicBezTo>
                  <a:close/>
                  <a:moveTo>
                    <a:pt x="762476" y="22574"/>
                  </a:moveTo>
                  <a:lnTo>
                    <a:pt x="999077" y="22574"/>
                  </a:lnTo>
                  <a:lnTo>
                    <a:pt x="999077" y="1121283"/>
                  </a:lnTo>
                  <a:lnTo>
                    <a:pt x="1198150" y="1121283"/>
                  </a:lnTo>
                  <a:lnTo>
                    <a:pt x="1198150" y="1337215"/>
                  </a:lnTo>
                  <a:lnTo>
                    <a:pt x="762476" y="1337215"/>
                  </a:lnTo>
                  <a:lnTo>
                    <a:pt x="762476" y="22574"/>
                  </a:lnTo>
                  <a:close/>
                  <a:moveTo>
                    <a:pt x="1293971" y="1074230"/>
                  </a:moveTo>
                  <a:lnTo>
                    <a:pt x="1293971" y="22479"/>
                  </a:lnTo>
                  <a:lnTo>
                    <a:pt x="1530572" y="22479"/>
                  </a:lnTo>
                  <a:lnTo>
                    <a:pt x="1530572" y="1074230"/>
                  </a:lnTo>
                  <a:cubicBezTo>
                    <a:pt x="1530572" y="1117378"/>
                    <a:pt x="1558766" y="1143667"/>
                    <a:pt x="1600105" y="1143667"/>
                  </a:cubicBezTo>
                  <a:cubicBezTo>
                    <a:pt x="1641443" y="1143667"/>
                    <a:pt x="1671447" y="1117378"/>
                    <a:pt x="1671447" y="1074230"/>
                  </a:cubicBezTo>
                  <a:lnTo>
                    <a:pt x="1671447" y="22479"/>
                  </a:lnTo>
                  <a:lnTo>
                    <a:pt x="1908048" y="22479"/>
                  </a:lnTo>
                  <a:lnTo>
                    <a:pt x="1908048" y="1074230"/>
                  </a:lnTo>
                  <a:cubicBezTo>
                    <a:pt x="1908048" y="1245108"/>
                    <a:pt x="1784128" y="1359694"/>
                    <a:pt x="1600009" y="1359694"/>
                  </a:cubicBezTo>
                  <a:cubicBezTo>
                    <a:pt x="1415891" y="1359694"/>
                    <a:pt x="1293876" y="1245108"/>
                    <a:pt x="1293876" y="1074230"/>
                  </a:cubicBezTo>
                  <a:close/>
                  <a:moveTo>
                    <a:pt x="2060162" y="22574"/>
                  </a:moveTo>
                  <a:lnTo>
                    <a:pt x="2394490" y="22574"/>
                  </a:lnTo>
                  <a:cubicBezTo>
                    <a:pt x="2561654" y="22574"/>
                    <a:pt x="2674335" y="125921"/>
                    <a:pt x="2674335" y="279844"/>
                  </a:cubicBezTo>
                  <a:lnTo>
                    <a:pt x="2674335" y="458248"/>
                  </a:lnTo>
                  <a:cubicBezTo>
                    <a:pt x="2674335" y="537115"/>
                    <a:pt x="2638616" y="617887"/>
                    <a:pt x="2565369" y="651701"/>
                  </a:cubicBezTo>
                  <a:lnTo>
                    <a:pt x="2565369" y="662940"/>
                  </a:lnTo>
                  <a:cubicBezTo>
                    <a:pt x="2644235" y="696754"/>
                    <a:pt x="2685574" y="781240"/>
                    <a:pt x="2685574" y="865727"/>
                  </a:cubicBezTo>
                  <a:lnTo>
                    <a:pt x="2685574" y="1079849"/>
                  </a:lnTo>
                  <a:cubicBezTo>
                    <a:pt x="2685574" y="1233869"/>
                    <a:pt x="2574798" y="1337120"/>
                    <a:pt x="2405729" y="1337120"/>
                  </a:cubicBezTo>
                  <a:lnTo>
                    <a:pt x="2060162" y="1337120"/>
                  </a:lnTo>
                  <a:lnTo>
                    <a:pt x="2060162" y="22574"/>
                  </a:lnTo>
                  <a:close/>
                  <a:moveTo>
                    <a:pt x="2296763" y="238506"/>
                  </a:moveTo>
                  <a:lnTo>
                    <a:pt x="2296763" y="569024"/>
                  </a:lnTo>
                  <a:lnTo>
                    <a:pt x="2366296" y="569024"/>
                  </a:lnTo>
                  <a:cubicBezTo>
                    <a:pt x="2409444" y="569024"/>
                    <a:pt x="2437638" y="540830"/>
                    <a:pt x="2437638" y="497681"/>
                  </a:cubicBezTo>
                  <a:lnTo>
                    <a:pt x="2437638" y="307943"/>
                  </a:lnTo>
                  <a:cubicBezTo>
                    <a:pt x="2437638" y="264795"/>
                    <a:pt x="2409444" y="238506"/>
                    <a:pt x="2366296" y="238506"/>
                  </a:cubicBezTo>
                  <a:lnTo>
                    <a:pt x="2296763" y="238506"/>
                  </a:lnTo>
                  <a:close/>
                  <a:moveTo>
                    <a:pt x="2296763" y="770001"/>
                  </a:moveTo>
                  <a:lnTo>
                    <a:pt x="2296763" y="1121188"/>
                  </a:lnTo>
                  <a:lnTo>
                    <a:pt x="2379440" y="1121188"/>
                  </a:lnTo>
                  <a:cubicBezTo>
                    <a:pt x="2420779" y="1121188"/>
                    <a:pt x="2448973" y="1094899"/>
                    <a:pt x="2448973" y="1051655"/>
                  </a:cubicBezTo>
                  <a:lnTo>
                    <a:pt x="2448973" y="841343"/>
                  </a:lnTo>
                  <a:cubicBezTo>
                    <a:pt x="2448973" y="798195"/>
                    <a:pt x="2420779" y="770001"/>
                    <a:pt x="2379440" y="770001"/>
                  </a:cubicBezTo>
                  <a:lnTo>
                    <a:pt x="2296763" y="770001"/>
                  </a:lnTo>
                  <a:close/>
                  <a:moveTo>
                    <a:pt x="3094482" y="1074230"/>
                  </a:moveTo>
                  <a:lnTo>
                    <a:pt x="3094482" y="283559"/>
                  </a:lnTo>
                  <a:cubicBezTo>
                    <a:pt x="3094482" y="114490"/>
                    <a:pt x="3218403" y="0"/>
                    <a:pt x="3402520" y="0"/>
                  </a:cubicBezTo>
                  <a:cubicBezTo>
                    <a:pt x="3586639" y="0"/>
                    <a:pt x="3710559" y="114586"/>
                    <a:pt x="3710559" y="283559"/>
                  </a:cubicBezTo>
                  <a:lnTo>
                    <a:pt x="3710559" y="557784"/>
                  </a:lnTo>
                  <a:lnTo>
                    <a:pt x="3473958" y="557784"/>
                  </a:lnTo>
                  <a:lnTo>
                    <a:pt x="3473958" y="285464"/>
                  </a:lnTo>
                  <a:cubicBezTo>
                    <a:pt x="3473958" y="242316"/>
                    <a:pt x="3445764" y="215932"/>
                    <a:pt x="3402616" y="215932"/>
                  </a:cubicBezTo>
                  <a:cubicBezTo>
                    <a:pt x="3359468" y="215932"/>
                    <a:pt x="3331274" y="242221"/>
                    <a:pt x="3331274" y="285464"/>
                  </a:cubicBezTo>
                  <a:lnTo>
                    <a:pt x="3331274" y="1074230"/>
                  </a:lnTo>
                  <a:cubicBezTo>
                    <a:pt x="3331274" y="1117378"/>
                    <a:pt x="3359468" y="1143667"/>
                    <a:pt x="3402616" y="1143667"/>
                  </a:cubicBezTo>
                  <a:cubicBezTo>
                    <a:pt x="3445764" y="1143667"/>
                    <a:pt x="3473958" y="1117378"/>
                    <a:pt x="3473958" y="1074230"/>
                  </a:cubicBezTo>
                  <a:lnTo>
                    <a:pt x="3473958" y="783146"/>
                  </a:lnTo>
                  <a:lnTo>
                    <a:pt x="3710559" y="783146"/>
                  </a:lnTo>
                  <a:lnTo>
                    <a:pt x="3710559" y="1074230"/>
                  </a:lnTo>
                  <a:cubicBezTo>
                    <a:pt x="3710559" y="1245108"/>
                    <a:pt x="3586639" y="1359694"/>
                    <a:pt x="3402520" y="1359694"/>
                  </a:cubicBezTo>
                  <a:cubicBezTo>
                    <a:pt x="3218403" y="1359694"/>
                    <a:pt x="3094482" y="1245108"/>
                    <a:pt x="3094482" y="1074230"/>
                  </a:cubicBezTo>
                  <a:close/>
                  <a:moveTo>
                    <a:pt x="3849434" y="1074230"/>
                  </a:moveTo>
                  <a:lnTo>
                    <a:pt x="3849434" y="283559"/>
                  </a:lnTo>
                  <a:cubicBezTo>
                    <a:pt x="3849434" y="114490"/>
                    <a:pt x="3973354" y="0"/>
                    <a:pt x="4157472" y="0"/>
                  </a:cubicBezTo>
                  <a:cubicBezTo>
                    <a:pt x="4341590" y="0"/>
                    <a:pt x="4465511" y="114586"/>
                    <a:pt x="4465511" y="283559"/>
                  </a:cubicBezTo>
                  <a:lnTo>
                    <a:pt x="4465511" y="1074230"/>
                  </a:lnTo>
                  <a:cubicBezTo>
                    <a:pt x="4465511" y="1245108"/>
                    <a:pt x="4341590" y="1359694"/>
                    <a:pt x="4157472" y="1359694"/>
                  </a:cubicBezTo>
                  <a:cubicBezTo>
                    <a:pt x="3973354" y="1359694"/>
                    <a:pt x="3849434" y="1245108"/>
                    <a:pt x="3849434" y="1074230"/>
                  </a:cubicBezTo>
                  <a:close/>
                  <a:moveTo>
                    <a:pt x="4228814" y="1074230"/>
                  </a:moveTo>
                  <a:lnTo>
                    <a:pt x="4228814" y="285464"/>
                  </a:lnTo>
                  <a:cubicBezTo>
                    <a:pt x="4228814" y="242316"/>
                    <a:pt x="4200621" y="215932"/>
                    <a:pt x="4157472" y="215932"/>
                  </a:cubicBezTo>
                  <a:cubicBezTo>
                    <a:pt x="4114324" y="215932"/>
                    <a:pt x="4086130" y="242221"/>
                    <a:pt x="4086130" y="285464"/>
                  </a:cubicBezTo>
                  <a:lnTo>
                    <a:pt x="4086130" y="1074230"/>
                  </a:lnTo>
                  <a:cubicBezTo>
                    <a:pt x="4086130" y="1117378"/>
                    <a:pt x="4114324" y="1143667"/>
                    <a:pt x="4157472" y="1143667"/>
                  </a:cubicBezTo>
                  <a:cubicBezTo>
                    <a:pt x="4200621" y="1143667"/>
                    <a:pt x="4228814" y="1117378"/>
                    <a:pt x="4228814" y="1074230"/>
                  </a:cubicBezTo>
                  <a:close/>
                  <a:moveTo>
                    <a:pt x="4613720" y="22574"/>
                  </a:moveTo>
                  <a:lnTo>
                    <a:pt x="4886039" y="22574"/>
                  </a:lnTo>
                  <a:lnTo>
                    <a:pt x="5021294" y="646081"/>
                  </a:lnTo>
                  <a:lnTo>
                    <a:pt x="5040059" y="811340"/>
                  </a:lnTo>
                  <a:lnTo>
                    <a:pt x="5071967" y="811340"/>
                  </a:lnTo>
                  <a:lnTo>
                    <a:pt x="5051298" y="646081"/>
                  </a:lnTo>
                  <a:lnTo>
                    <a:pt x="5051298" y="22574"/>
                  </a:lnTo>
                  <a:lnTo>
                    <a:pt x="5287899" y="22574"/>
                  </a:lnTo>
                  <a:lnTo>
                    <a:pt x="5287899" y="1337215"/>
                  </a:lnTo>
                  <a:lnTo>
                    <a:pt x="5017485" y="1337215"/>
                  </a:lnTo>
                  <a:lnTo>
                    <a:pt x="4882230" y="713708"/>
                  </a:lnTo>
                  <a:lnTo>
                    <a:pt x="4861560" y="548450"/>
                  </a:lnTo>
                  <a:lnTo>
                    <a:pt x="4829651" y="548450"/>
                  </a:lnTo>
                  <a:lnTo>
                    <a:pt x="4850320" y="713708"/>
                  </a:lnTo>
                  <a:lnTo>
                    <a:pt x="4850320" y="1337215"/>
                  </a:lnTo>
                  <a:lnTo>
                    <a:pt x="4613720" y="1337215"/>
                  </a:lnTo>
                  <a:lnTo>
                    <a:pt x="4613720" y="22574"/>
                  </a:lnTo>
                  <a:close/>
                  <a:moveTo>
                    <a:pt x="5443823" y="22574"/>
                  </a:moveTo>
                  <a:lnTo>
                    <a:pt x="5716143" y="22574"/>
                  </a:lnTo>
                  <a:lnTo>
                    <a:pt x="5851398" y="646081"/>
                  </a:lnTo>
                  <a:lnTo>
                    <a:pt x="5870162" y="811340"/>
                  </a:lnTo>
                  <a:lnTo>
                    <a:pt x="5902071" y="811340"/>
                  </a:lnTo>
                  <a:lnTo>
                    <a:pt x="5881402" y="646081"/>
                  </a:lnTo>
                  <a:lnTo>
                    <a:pt x="5881402" y="22574"/>
                  </a:lnTo>
                  <a:lnTo>
                    <a:pt x="6118003" y="22574"/>
                  </a:lnTo>
                  <a:lnTo>
                    <a:pt x="6118003" y="1337215"/>
                  </a:lnTo>
                  <a:lnTo>
                    <a:pt x="5847588" y="1337215"/>
                  </a:lnTo>
                  <a:lnTo>
                    <a:pt x="5712333" y="713708"/>
                  </a:lnTo>
                  <a:lnTo>
                    <a:pt x="5691664" y="548450"/>
                  </a:lnTo>
                  <a:lnTo>
                    <a:pt x="5659755" y="548450"/>
                  </a:lnTo>
                  <a:lnTo>
                    <a:pt x="5680424" y="713708"/>
                  </a:lnTo>
                  <a:lnTo>
                    <a:pt x="5680424" y="1337215"/>
                  </a:lnTo>
                  <a:lnTo>
                    <a:pt x="5443823" y="1337215"/>
                  </a:lnTo>
                  <a:lnTo>
                    <a:pt x="5443823" y="22574"/>
                  </a:lnTo>
                  <a:close/>
                  <a:moveTo>
                    <a:pt x="6273832" y="22574"/>
                  </a:moveTo>
                  <a:lnTo>
                    <a:pt x="6720840" y="22574"/>
                  </a:lnTo>
                  <a:lnTo>
                    <a:pt x="6720840" y="238601"/>
                  </a:lnTo>
                  <a:lnTo>
                    <a:pt x="6510528" y="238601"/>
                  </a:lnTo>
                  <a:lnTo>
                    <a:pt x="6510528" y="565404"/>
                  </a:lnTo>
                  <a:lnTo>
                    <a:pt x="6700172" y="565404"/>
                  </a:lnTo>
                  <a:lnTo>
                    <a:pt x="6700172" y="775716"/>
                  </a:lnTo>
                  <a:lnTo>
                    <a:pt x="6510528" y="775716"/>
                  </a:lnTo>
                  <a:lnTo>
                    <a:pt x="6510528" y="1121283"/>
                  </a:lnTo>
                  <a:lnTo>
                    <a:pt x="6720840" y="1121283"/>
                  </a:lnTo>
                  <a:lnTo>
                    <a:pt x="6720840" y="1337215"/>
                  </a:lnTo>
                  <a:lnTo>
                    <a:pt x="6273832" y="1337215"/>
                  </a:lnTo>
                  <a:lnTo>
                    <a:pt x="6273832" y="22574"/>
                  </a:lnTo>
                  <a:close/>
                  <a:moveTo>
                    <a:pt x="6846665" y="1074230"/>
                  </a:moveTo>
                  <a:lnTo>
                    <a:pt x="6846665" y="283559"/>
                  </a:lnTo>
                  <a:cubicBezTo>
                    <a:pt x="6846665" y="114490"/>
                    <a:pt x="6970585" y="0"/>
                    <a:pt x="7154704" y="0"/>
                  </a:cubicBezTo>
                  <a:cubicBezTo>
                    <a:pt x="7338822" y="0"/>
                    <a:pt x="7462742" y="114586"/>
                    <a:pt x="7462742" y="283559"/>
                  </a:cubicBezTo>
                  <a:lnTo>
                    <a:pt x="7462742" y="557784"/>
                  </a:lnTo>
                  <a:lnTo>
                    <a:pt x="7226142" y="557784"/>
                  </a:lnTo>
                  <a:lnTo>
                    <a:pt x="7226142" y="285464"/>
                  </a:lnTo>
                  <a:cubicBezTo>
                    <a:pt x="7226142" y="242316"/>
                    <a:pt x="7197947" y="215932"/>
                    <a:pt x="7154800" y="215932"/>
                  </a:cubicBezTo>
                  <a:cubicBezTo>
                    <a:pt x="7111651" y="215932"/>
                    <a:pt x="7083457" y="242221"/>
                    <a:pt x="7083457" y="285464"/>
                  </a:cubicBezTo>
                  <a:lnTo>
                    <a:pt x="7083457" y="1074230"/>
                  </a:lnTo>
                  <a:cubicBezTo>
                    <a:pt x="7083457" y="1117378"/>
                    <a:pt x="7111651" y="1143667"/>
                    <a:pt x="7154800" y="1143667"/>
                  </a:cubicBezTo>
                  <a:cubicBezTo>
                    <a:pt x="7197947" y="1143667"/>
                    <a:pt x="7226142" y="1117378"/>
                    <a:pt x="7226142" y="1074230"/>
                  </a:cubicBezTo>
                  <a:lnTo>
                    <a:pt x="7226142" y="783146"/>
                  </a:lnTo>
                  <a:lnTo>
                    <a:pt x="7462742" y="783146"/>
                  </a:lnTo>
                  <a:lnTo>
                    <a:pt x="7462742" y="1074230"/>
                  </a:lnTo>
                  <a:cubicBezTo>
                    <a:pt x="7462742" y="1245108"/>
                    <a:pt x="7338822" y="1359694"/>
                    <a:pt x="7154704" y="1359694"/>
                  </a:cubicBezTo>
                  <a:cubicBezTo>
                    <a:pt x="6970585" y="1359694"/>
                    <a:pt x="6846665" y="1245108"/>
                    <a:pt x="6846665" y="1074230"/>
                  </a:cubicBezTo>
                  <a:close/>
                  <a:moveTo>
                    <a:pt x="7699248" y="238506"/>
                  </a:moveTo>
                  <a:lnTo>
                    <a:pt x="7563993" y="238506"/>
                  </a:lnTo>
                  <a:lnTo>
                    <a:pt x="7563993" y="22479"/>
                  </a:lnTo>
                  <a:lnTo>
                    <a:pt x="8071104" y="22479"/>
                  </a:lnTo>
                  <a:lnTo>
                    <a:pt x="8071104" y="238506"/>
                  </a:lnTo>
                  <a:lnTo>
                    <a:pt x="7935850" y="238506"/>
                  </a:lnTo>
                  <a:lnTo>
                    <a:pt x="7935850" y="1337120"/>
                  </a:lnTo>
                  <a:lnTo>
                    <a:pt x="7699248" y="1337120"/>
                  </a:lnTo>
                  <a:lnTo>
                    <a:pt x="7699248" y="238506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676335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_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ymbol zastępczy numeru slajdu 5">
            <a:extLst>
              <a:ext uri="{FF2B5EF4-FFF2-40B4-BE49-F238E27FC236}">
                <a16:creationId xmlns:a16="http://schemas.microsoft.com/office/drawing/2014/main" id="{D526C90E-13B5-4D95-8BE9-03ED11780FC9}"/>
              </a:ext>
            </a:extLst>
          </p:cNvPr>
          <p:cNvSpPr>
            <a:spLocks noGrp="1"/>
          </p:cNvSpPr>
          <p:nvPr userDrawn="1">
            <p:ph type="sldNum" sz="quarter" idx="19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7" name="Tytuł 1">
            <a:extLst>
              <a:ext uri="{FF2B5EF4-FFF2-40B4-BE49-F238E27FC236}">
                <a16:creationId xmlns:a16="http://schemas.microsoft.com/office/drawing/2014/main" id="{1F842593-776B-B443-AD88-08F7296B68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876FF36-F330-A24E-AA7B-14CA144DFC3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Timeline</a:t>
            </a:r>
            <a:endParaRPr lang="pl-PL"/>
          </a:p>
        </p:txBody>
      </p:sp>
      <p:pic>
        <p:nvPicPr>
          <p:cNvPr id="3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FFAD60F4-ACCD-4639-B663-4D424DF1863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07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and subhead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8" name="Tytuł 1">
            <a:extLst>
              <a:ext uri="{FF2B5EF4-FFF2-40B4-BE49-F238E27FC236}">
                <a16:creationId xmlns:a16="http://schemas.microsoft.com/office/drawing/2014/main" id="{2EC8C5F4-B095-FF40-11B8-7DD4EE95C0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0" tIns="45720" rIns="91440" bIns="45720" rtlCol="0" anchor="t">
            <a:no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6571D3CC-ECDF-7664-4538-53E31B438C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253927"/>
            <a:ext cx="8806338" cy="679767"/>
          </a:xfrm>
        </p:spPr>
        <p:txBody>
          <a:bodyPr l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B772DB1-5606-88E0-0625-2455BC3E4610}"/>
              </a:ext>
            </a:extLst>
          </p:cNvPr>
          <p:cNvGrpSpPr/>
          <p:nvPr userDrawn="1"/>
        </p:nvGrpSpPr>
        <p:grpSpPr>
          <a:xfrm>
            <a:off x="9613647" y="311734"/>
            <a:ext cx="1948392" cy="674051"/>
            <a:chOff x="9613647" y="311734"/>
            <a:chExt cx="1948392" cy="674051"/>
          </a:xfrm>
        </p:grpSpPr>
        <p:pic>
          <p:nvPicPr>
            <p:cNvPr id="3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AE266013-5EDA-39C7-E751-7C63D8D55E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647" y="311734"/>
              <a:ext cx="1230566" cy="674051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BA4F907-9056-3386-611F-3E7C211BBB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827" t="30157" r="4529" b="27153"/>
            <a:stretch/>
          </p:blipFill>
          <p:spPr>
            <a:xfrm>
              <a:off x="10760830" y="477407"/>
              <a:ext cx="801209" cy="303845"/>
            </a:xfrm>
            <a:prstGeom prst="rect">
              <a:avLst/>
            </a:prstGeom>
          </p:spPr>
        </p:pic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AC52889F-0F8A-7151-250D-A8807C53635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4000"/>
          </a:blip>
          <a:srcRect t="25716" r="18910"/>
          <a:stretch/>
        </p:blipFill>
        <p:spPr>
          <a:xfrm>
            <a:off x="10475864" y="1"/>
            <a:ext cx="1716136" cy="1572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055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1CEA65-8B76-C3F7-0CA1-FE5A6B507C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2" y="273499"/>
            <a:ext cx="10739437" cy="5845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38BFAF-A622-25EC-FA43-C1DDC0906ED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362" y="1376363"/>
            <a:ext cx="10739437" cy="5119686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85A147-4715-EE5E-25D6-CD6EC9DDE5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2" y="884148"/>
            <a:ext cx="10739438" cy="300924"/>
          </a:xfrm>
        </p:spPr>
        <p:txBody>
          <a:bodyPr/>
          <a:lstStyle>
            <a:lvl1pPr>
              <a:defRPr b="0">
                <a:solidFill>
                  <a:srgbClr val="83DD00"/>
                </a:solidFill>
              </a:defRPr>
            </a:lvl1pPr>
          </a:lstStyle>
          <a:p>
            <a:pPr lvl="0"/>
            <a:r>
              <a:rPr lang="en-US"/>
              <a:t>Add optional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6057317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een background with a black background&#10;&#10;Description automatically generated">
            <a:extLst>
              <a:ext uri="{FF2B5EF4-FFF2-40B4-BE49-F238E27FC236}">
                <a16:creationId xmlns:a16="http://schemas.microsoft.com/office/drawing/2014/main" id="{7628B486-7CA4-74E3-6EE6-AB2CBF94DE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3"/>
            <a:ext cx="12192000" cy="6856894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797CD8B4-04C0-A4B6-F2A2-1BE5C9499EFC}"/>
              </a:ext>
            </a:extLst>
          </p:cNvPr>
          <p:cNvGrpSpPr/>
          <p:nvPr userDrawn="1"/>
        </p:nvGrpSpPr>
        <p:grpSpPr>
          <a:xfrm>
            <a:off x="4245474" y="1376363"/>
            <a:ext cx="3701052" cy="3327003"/>
            <a:chOff x="-3371745" y="970915"/>
            <a:chExt cx="5783865" cy="5199316"/>
          </a:xfrm>
          <a:solidFill>
            <a:schemeClr val="accent2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589A1871-AABA-194E-BFE3-6714443D8264}"/>
                </a:ext>
              </a:extLst>
            </p:cNvPr>
            <p:cNvSpPr/>
            <p:nvPr/>
          </p:nvSpPr>
          <p:spPr>
            <a:xfrm>
              <a:off x="-3098472" y="970915"/>
              <a:ext cx="5237321" cy="5199316"/>
            </a:xfrm>
            <a:custGeom>
              <a:avLst/>
              <a:gdLst>
                <a:gd name="connsiteX0" fmla="*/ 2302574 w 5237321"/>
                <a:gd name="connsiteY0" fmla="*/ 5199221 h 5199316"/>
                <a:gd name="connsiteX1" fmla="*/ 0 w 5237321"/>
                <a:gd name="connsiteY1" fmla="*/ 2599658 h 5199316"/>
                <a:gd name="connsiteX2" fmla="*/ 2302574 w 5237321"/>
                <a:gd name="connsiteY2" fmla="*/ 0 h 5199316"/>
                <a:gd name="connsiteX3" fmla="*/ 2302574 w 5237321"/>
                <a:gd name="connsiteY3" fmla="*/ 1447514 h 5199316"/>
                <a:gd name="connsiteX4" fmla="*/ 1423797 w 5237321"/>
                <a:gd name="connsiteY4" fmla="*/ 2599658 h 5199316"/>
                <a:gd name="connsiteX5" fmla="*/ 2302574 w 5237321"/>
                <a:gd name="connsiteY5" fmla="*/ 3751803 h 5199316"/>
                <a:gd name="connsiteX6" fmla="*/ 2302574 w 5237321"/>
                <a:gd name="connsiteY6" fmla="*/ 5199317 h 5199316"/>
                <a:gd name="connsiteX7" fmla="*/ 2934748 w 5237321"/>
                <a:gd name="connsiteY7" fmla="*/ 0 h 5199316"/>
                <a:gd name="connsiteX8" fmla="*/ 2934748 w 5237321"/>
                <a:gd name="connsiteY8" fmla="*/ 1447514 h 5199316"/>
                <a:gd name="connsiteX9" fmla="*/ 3813524 w 5237321"/>
                <a:gd name="connsiteY9" fmla="*/ 2599658 h 5199316"/>
                <a:gd name="connsiteX10" fmla="*/ 2934748 w 5237321"/>
                <a:gd name="connsiteY10" fmla="*/ 3751803 h 5199316"/>
                <a:gd name="connsiteX11" fmla="*/ 2934748 w 5237321"/>
                <a:gd name="connsiteY11" fmla="*/ 5199317 h 5199316"/>
                <a:gd name="connsiteX12" fmla="*/ 5237321 w 5237321"/>
                <a:gd name="connsiteY12" fmla="*/ 2599754 h 5199316"/>
                <a:gd name="connsiteX13" fmla="*/ 2934748 w 5237321"/>
                <a:gd name="connsiteY13" fmla="*/ 0 h 5199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37321" h="5199316">
                  <a:moveTo>
                    <a:pt x="2302574" y="5199221"/>
                  </a:moveTo>
                  <a:cubicBezTo>
                    <a:pt x="1005459" y="5043107"/>
                    <a:pt x="0" y="3938873"/>
                    <a:pt x="0" y="2599658"/>
                  </a:cubicBezTo>
                  <a:cubicBezTo>
                    <a:pt x="0" y="1260443"/>
                    <a:pt x="1005364" y="156115"/>
                    <a:pt x="2302574" y="0"/>
                  </a:cubicBezTo>
                  <a:lnTo>
                    <a:pt x="2302574" y="1447514"/>
                  </a:lnTo>
                  <a:cubicBezTo>
                    <a:pt x="1796701" y="1586484"/>
                    <a:pt x="1423797" y="2050161"/>
                    <a:pt x="1423797" y="2599658"/>
                  </a:cubicBezTo>
                  <a:cubicBezTo>
                    <a:pt x="1423797" y="3149156"/>
                    <a:pt x="1796701" y="3612833"/>
                    <a:pt x="2302574" y="3751803"/>
                  </a:cubicBezTo>
                  <a:lnTo>
                    <a:pt x="2302574" y="5199317"/>
                  </a:lnTo>
                  <a:close/>
                  <a:moveTo>
                    <a:pt x="2934748" y="0"/>
                  </a:moveTo>
                  <a:lnTo>
                    <a:pt x="2934748" y="1447514"/>
                  </a:lnTo>
                  <a:cubicBezTo>
                    <a:pt x="3440621" y="1586484"/>
                    <a:pt x="3813524" y="2050161"/>
                    <a:pt x="3813524" y="2599658"/>
                  </a:cubicBezTo>
                  <a:cubicBezTo>
                    <a:pt x="3813524" y="3149156"/>
                    <a:pt x="3440621" y="3612833"/>
                    <a:pt x="2934748" y="3751803"/>
                  </a:cubicBezTo>
                  <a:lnTo>
                    <a:pt x="2934748" y="5199317"/>
                  </a:lnTo>
                  <a:cubicBezTo>
                    <a:pt x="4231863" y="5043202"/>
                    <a:pt x="5237321" y="3938969"/>
                    <a:pt x="5237321" y="2599754"/>
                  </a:cubicBezTo>
                  <a:cubicBezTo>
                    <a:pt x="5237321" y="1260539"/>
                    <a:pt x="4231863" y="156115"/>
                    <a:pt x="2934748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9" name="Graphic 4">
              <a:extLst>
                <a:ext uri="{FF2B5EF4-FFF2-40B4-BE49-F238E27FC236}">
                  <a16:creationId xmlns:a16="http://schemas.microsoft.com/office/drawing/2014/main" id="{836F4C39-B400-D048-7964-8686F5FBF65A}"/>
                </a:ext>
              </a:extLst>
            </p:cNvPr>
            <p:cNvGrpSpPr/>
            <p:nvPr/>
          </p:nvGrpSpPr>
          <p:grpSpPr>
            <a:xfrm>
              <a:off x="-1090412" y="1421352"/>
              <a:ext cx="1223010" cy="473678"/>
              <a:chOff x="-1090412" y="1421352"/>
              <a:chExt cx="1223010" cy="473678"/>
            </a:xfrm>
            <a:grpFill/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0CFD1D09-9883-3891-514F-7C3369D4A00F}"/>
                  </a:ext>
                </a:extLst>
              </p:cNvPr>
              <p:cNvSpPr/>
              <p:nvPr/>
            </p:nvSpPr>
            <p:spPr>
              <a:xfrm>
                <a:off x="-551392" y="1697958"/>
                <a:ext cx="683990" cy="197072"/>
              </a:xfrm>
              <a:custGeom>
                <a:avLst/>
                <a:gdLst>
                  <a:gd name="connsiteX0" fmla="*/ 683990 w 683990"/>
                  <a:gd name="connsiteY0" fmla="*/ 184785 h 197072"/>
                  <a:gd name="connsiteX1" fmla="*/ 562070 w 683990"/>
                  <a:gd name="connsiteY1" fmla="*/ 184785 h 197072"/>
                  <a:gd name="connsiteX2" fmla="*/ 553974 w 683990"/>
                  <a:gd name="connsiteY2" fmla="*/ 94678 h 197072"/>
                  <a:gd name="connsiteX3" fmla="*/ 330232 w 683990"/>
                  <a:gd name="connsiteY3" fmla="*/ 94678 h 197072"/>
                  <a:gd name="connsiteX4" fmla="*/ 95821 w 683990"/>
                  <a:gd name="connsiteY4" fmla="*/ 197072 h 197072"/>
                  <a:gd name="connsiteX5" fmla="*/ 0 w 683990"/>
                  <a:gd name="connsiteY5" fmla="*/ 184785 h 197072"/>
                  <a:gd name="connsiteX6" fmla="*/ 662464 w 683990"/>
                  <a:gd name="connsiteY6" fmla="*/ 0 h 197072"/>
                  <a:gd name="connsiteX7" fmla="*/ 683990 w 683990"/>
                  <a:gd name="connsiteY7" fmla="*/ 184785 h 197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3990" h="197072">
                    <a:moveTo>
                      <a:pt x="683990" y="184785"/>
                    </a:moveTo>
                    <a:lnTo>
                      <a:pt x="562070" y="184785"/>
                    </a:lnTo>
                    <a:cubicBezTo>
                      <a:pt x="562070" y="184785"/>
                      <a:pt x="553974" y="94678"/>
                      <a:pt x="553974" y="94678"/>
                    </a:cubicBezTo>
                    <a:lnTo>
                      <a:pt x="330232" y="94678"/>
                    </a:lnTo>
                    <a:cubicBezTo>
                      <a:pt x="257270" y="175260"/>
                      <a:pt x="196691" y="197072"/>
                      <a:pt x="95821" y="197072"/>
                    </a:cubicBezTo>
                    <a:cubicBezTo>
                      <a:pt x="59436" y="197072"/>
                      <a:pt x="25241" y="192881"/>
                      <a:pt x="0" y="184785"/>
                    </a:cubicBezTo>
                    <a:cubicBezTo>
                      <a:pt x="0" y="184785"/>
                      <a:pt x="290513" y="35052"/>
                      <a:pt x="662464" y="0"/>
                    </a:cubicBezTo>
                    <a:lnTo>
                      <a:pt x="683990" y="184785"/>
                    </a:lnTo>
                    <a:close/>
                  </a:path>
                </a:pathLst>
              </a:custGeom>
              <a:solidFill>
                <a:schemeClr val="bg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696E819A-ED58-E3CB-0F90-06FBAFDA9E05}"/>
                  </a:ext>
                </a:extLst>
              </p:cNvPr>
              <p:cNvSpPr/>
              <p:nvPr/>
            </p:nvSpPr>
            <p:spPr>
              <a:xfrm>
                <a:off x="-1090412" y="1421352"/>
                <a:ext cx="1198911" cy="461581"/>
              </a:xfrm>
              <a:custGeom>
                <a:avLst/>
                <a:gdLst>
                  <a:gd name="connsiteX0" fmla="*/ 834771 w 1198911"/>
                  <a:gd name="connsiteY0" fmla="*/ 145923 h 461581"/>
                  <a:gd name="connsiteX1" fmla="*/ 700564 w 1198911"/>
                  <a:gd name="connsiteY1" fmla="*/ 92393 h 461581"/>
                  <a:gd name="connsiteX2" fmla="*/ 515112 w 1198911"/>
                  <a:gd name="connsiteY2" fmla="*/ 248126 h 461581"/>
                  <a:gd name="connsiteX3" fmla="*/ 581406 w 1198911"/>
                  <a:gd name="connsiteY3" fmla="*/ 371189 h 461581"/>
                  <a:gd name="connsiteX4" fmla="*/ 646938 w 1198911"/>
                  <a:gd name="connsiteY4" fmla="*/ 380524 h 461581"/>
                  <a:gd name="connsiteX5" fmla="*/ 462725 w 1198911"/>
                  <a:gd name="connsiteY5" fmla="*/ 461582 h 461581"/>
                  <a:gd name="connsiteX6" fmla="*/ 0 w 1198911"/>
                  <a:gd name="connsiteY6" fmla="*/ 461582 h 461581"/>
                  <a:gd name="connsiteX7" fmla="*/ 158972 w 1198911"/>
                  <a:gd name="connsiteY7" fmla="*/ 11240 h 461581"/>
                  <a:gd name="connsiteX8" fmla="*/ 500539 w 1198911"/>
                  <a:gd name="connsiteY8" fmla="*/ 11240 h 461581"/>
                  <a:gd name="connsiteX9" fmla="*/ 426434 w 1198911"/>
                  <a:gd name="connsiteY9" fmla="*/ 101346 h 461581"/>
                  <a:gd name="connsiteX10" fmla="*/ 244316 w 1198911"/>
                  <a:gd name="connsiteY10" fmla="*/ 101346 h 461581"/>
                  <a:gd name="connsiteX11" fmla="*/ 216503 w 1198911"/>
                  <a:gd name="connsiteY11" fmla="*/ 180118 h 461581"/>
                  <a:gd name="connsiteX12" fmla="*/ 361569 w 1198911"/>
                  <a:gd name="connsiteY12" fmla="*/ 180118 h 461581"/>
                  <a:gd name="connsiteX13" fmla="*/ 287655 w 1198911"/>
                  <a:gd name="connsiteY13" fmla="*/ 269938 h 461581"/>
                  <a:gd name="connsiteX14" fmla="*/ 184785 w 1198911"/>
                  <a:gd name="connsiteY14" fmla="*/ 269938 h 461581"/>
                  <a:gd name="connsiteX15" fmla="*/ 148971 w 1198911"/>
                  <a:gd name="connsiteY15" fmla="*/ 371475 h 461581"/>
                  <a:gd name="connsiteX16" fmla="*/ 427577 w 1198911"/>
                  <a:gd name="connsiteY16" fmla="*/ 371475 h 461581"/>
                  <a:gd name="connsiteX17" fmla="*/ 399288 w 1198911"/>
                  <a:gd name="connsiteY17" fmla="*/ 254603 h 461581"/>
                  <a:gd name="connsiteX18" fmla="*/ 718185 w 1198911"/>
                  <a:gd name="connsiteY18" fmla="*/ 0 h 461581"/>
                  <a:gd name="connsiteX19" fmla="*/ 902684 w 1198911"/>
                  <a:gd name="connsiteY19" fmla="*/ 61913 h 461581"/>
                  <a:gd name="connsiteX20" fmla="*/ 834676 w 1198911"/>
                  <a:gd name="connsiteY20" fmla="*/ 146018 h 461581"/>
                  <a:gd name="connsiteX21" fmla="*/ 930497 w 1198911"/>
                  <a:gd name="connsiteY21" fmla="*/ 295275 h 461581"/>
                  <a:gd name="connsiteX22" fmla="*/ 1070515 w 1198911"/>
                  <a:gd name="connsiteY22" fmla="*/ 122301 h 461581"/>
                  <a:gd name="connsiteX23" fmla="*/ 1083469 w 1198911"/>
                  <a:gd name="connsiteY23" fmla="*/ 267462 h 461581"/>
                  <a:gd name="connsiteX24" fmla="*/ 1198912 w 1198911"/>
                  <a:gd name="connsiteY24" fmla="*/ 254317 h 461581"/>
                  <a:gd name="connsiteX25" fmla="*/ 1170242 w 1198911"/>
                  <a:gd name="connsiteY25" fmla="*/ 11049 h 461581"/>
                  <a:gd name="connsiteX26" fmla="*/ 1043083 w 1198911"/>
                  <a:gd name="connsiteY26" fmla="*/ 11049 h 461581"/>
                  <a:gd name="connsiteX27" fmla="*/ 773240 w 1198911"/>
                  <a:gd name="connsiteY27" fmla="*/ 337090 h 461581"/>
                  <a:gd name="connsiteX28" fmla="*/ 930593 w 1198911"/>
                  <a:gd name="connsiteY28" fmla="*/ 295275 h 461581"/>
                  <a:gd name="connsiteX29" fmla="*/ 930593 w 1198911"/>
                  <a:gd name="connsiteY29" fmla="*/ 295275 h 461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198911" h="461581">
                    <a:moveTo>
                      <a:pt x="834771" y="145923"/>
                    </a:moveTo>
                    <a:cubicBezTo>
                      <a:pt x="808101" y="116110"/>
                      <a:pt x="754571" y="92393"/>
                      <a:pt x="700564" y="92393"/>
                    </a:cubicBezTo>
                    <a:cubicBezTo>
                      <a:pt x="591217" y="92393"/>
                      <a:pt x="522732" y="170307"/>
                      <a:pt x="515112" y="248126"/>
                    </a:cubicBezTo>
                    <a:cubicBezTo>
                      <a:pt x="508635" y="314325"/>
                      <a:pt x="531685" y="354140"/>
                      <a:pt x="581406" y="371189"/>
                    </a:cubicBezTo>
                    <a:cubicBezTo>
                      <a:pt x="609029" y="378142"/>
                      <a:pt x="624650" y="379762"/>
                      <a:pt x="646938" y="380524"/>
                    </a:cubicBezTo>
                    <a:cubicBezTo>
                      <a:pt x="528161" y="426339"/>
                      <a:pt x="462725" y="461582"/>
                      <a:pt x="462725" y="461582"/>
                    </a:cubicBezTo>
                    <a:lnTo>
                      <a:pt x="0" y="461582"/>
                    </a:lnTo>
                    <a:cubicBezTo>
                      <a:pt x="0" y="461582"/>
                      <a:pt x="158972" y="11240"/>
                      <a:pt x="158972" y="11240"/>
                    </a:cubicBezTo>
                    <a:lnTo>
                      <a:pt x="500539" y="11240"/>
                    </a:lnTo>
                    <a:cubicBezTo>
                      <a:pt x="500539" y="11240"/>
                      <a:pt x="426434" y="101346"/>
                      <a:pt x="426434" y="101346"/>
                    </a:cubicBezTo>
                    <a:lnTo>
                      <a:pt x="244316" y="101346"/>
                    </a:lnTo>
                    <a:cubicBezTo>
                      <a:pt x="244316" y="101346"/>
                      <a:pt x="216503" y="180118"/>
                      <a:pt x="216503" y="180118"/>
                    </a:cubicBezTo>
                    <a:lnTo>
                      <a:pt x="361569" y="180118"/>
                    </a:lnTo>
                    <a:cubicBezTo>
                      <a:pt x="361569" y="180118"/>
                      <a:pt x="287655" y="269938"/>
                      <a:pt x="287655" y="269938"/>
                    </a:cubicBezTo>
                    <a:lnTo>
                      <a:pt x="184785" y="269938"/>
                    </a:lnTo>
                    <a:cubicBezTo>
                      <a:pt x="184785" y="269938"/>
                      <a:pt x="148971" y="371475"/>
                      <a:pt x="148971" y="371475"/>
                    </a:cubicBezTo>
                    <a:lnTo>
                      <a:pt x="427577" y="371475"/>
                    </a:lnTo>
                    <a:cubicBezTo>
                      <a:pt x="404432" y="333089"/>
                      <a:pt x="397192" y="294227"/>
                      <a:pt x="399288" y="254603"/>
                    </a:cubicBezTo>
                    <a:cubicBezTo>
                      <a:pt x="406241" y="123634"/>
                      <a:pt x="513398" y="0"/>
                      <a:pt x="718185" y="0"/>
                    </a:cubicBezTo>
                    <a:cubicBezTo>
                      <a:pt x="796576" y="0"/>
                      <a:pt x="859917" y="23527"/>
                      <a:pt x="902684" y="61913"/>
                    </a:cubicBezTo>
                    <a:lnTo>
                      <a:pt x="834676" y="146018"/>
                    </a:lnTo>
                    <a:close/>
                    <a:moveTo>
                      <a:pt x="930497" y="295275"/>
                    </a:moveTo>
                    <a:lnTo>
                      <a:pt x="1070515" y="122301"/>
                    </a:lnTo>
                    <a:lnTo>
                      <a:pt x="1083469" y="267462"/>
                    </a:lnTo>
                    <a:cubicBezTo>
                      <a:pt x="1120997" y="261652"/>
                      <a:pt x="1160431" y="258413"/>
                      <a:pt x="1198912" y="254317"/>
                    </a:cubicBezTo>
                    <a:lnTo>
                      <a:pt x="1170242" y="11049"/>
                    </a:lnTo>
                    <a:lnTo>
                      <a:pt x="1043083" y="11049"/>
                    </a:lnTo>
                    <a:cubicBezTo>
                      <a:pt x="1043083" y="11049"/>
                      <a:pt x="773240" y="337090"/>
                      <a:pt x="773240" y="337090"/>
                    </a:cubicBezTo>
                    <a:cubicBezTo>
                      <a:pt x="824389" y="321278"/>
                      <a:pt x="876872" y="307372"/>
                      <a:pt x="930593" y="295275"/>
                    </a:cubicBezTo>
                    <a:lnTo>
                      <a:pt x="930593" y="295275"/>
                    </a:lnTo>
                    <a:close/>
                  </a:path>
                </a:pathLst>
              </a:custGeom>
              <a:solidFill>
                <a:schemeClr val="bg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99C9AD2-0FBD-CDB5-01C1-F811EAA7D18C}"/>
                </a:ext>
              </a:extLst>
            </p:cNvPr>
            <p:cNvSpPr/>
            <p:nvPr/>
          </p:nvSpPr>
          <p:spPr>
            <a:xfrm>
              <a:off x="-3371745" y="3083274"/>
              <a:ext cx="5783865" cy="974502"/>
            </a:xfrm>
            <a:custGeom>
              <a:avLst/>
              <a:gdLst>
                <a:gd name="connsiteX0" fmla="*/ 0 w 5783865"/>
                <a:gd name="connsiteY0" fmla="*/ 769906 h 974502"/>
                <a:gd name="connsiteX1" fmla="*/ 0 w 5783865"/>
                <a:gd name="connsiteY1" fmla="*/ 203263 h 974502"/>
                <a:gd name="connsiteX2" fmla="*/ 220694 w 5783865"/>
                <a:gd name="connsiteY2" fmla="*/ 0 h 974502"/>
                <a:gd name="connsiteX3" fmla="*/ 441389 w 5783865"/>
                <a:gd name="connsiteY3" fmla="*/ 203263 h 974502"/>
                <a:gd name="connsiteX4" fmla="*/ 441389 w 5783865"/>
                <a:gd name="connsiteY4" fmla="*/ 399764 h 974502"/>
                <a:gd name="connsiteX5" fmla="*/ 271844 w 5783865"/>
                <a:gd name="connsiteY5" fmla="*/ 399764 h 974502"/>
                <a:gd name="connsiteX6" fmla="*/ 271844 w 5783865"/>
                <a:gd name="connsiteY6" fmla="*/ 204597 h 974502"/>
                <a:gd name="connsiteX7" fmla="*/ 220694 w 5783865"/>
                <a:gd name="connsiteY7" fmla="*/ 154781 h 974502"/>
                <a:gd name="connsiteX8" fmla="*/ 169545 w 5783865"/>
                <a:gd name="connsiteY8" fmla="*/ 204597 h 974502"/>
                <a:gd name="connsiteX9" fmla="*/ 169545 w 5783865"/>
                <a:gd name="connsiteY9" fmla="*/ 769810 h 974502"/>
                <a:gd name="connsiteX10" fmla="*/ 220694 w 5783865"/>
                <a:gd name="connsiteY10" fmla="*/ 819626 h 974502"/>
                <a:gd name="connsiteX11" fmla="*/ 271844 w 5783865"/>
                <a:gd name="connsiteY11" fmla="*/ 769810 h 974502"/>
                <a:gd name="connsiteX12" fmla="*/ 271844 w 5783865"/>
                <a:gd name="connsiteY12" fmla="*/ 561213 h 974502"/>
                <a:gd name="connsiteX13" fmla="*/ 441389 w 5783865"/>
                <a:gd name="connsiteY13" fmla="*/ 561213 h 974502"/>
                <a:gd name="connsiteX14" fmla="*/ 441389 w 5783865"/>
                <a:gd name="connsiteY14" fmla="*/ 769810 h 974502"/>
                <a:gd name="connsiteX15" fmla="*/ 220694 w 5783865"/>
                <a:gd name="connsiteY15" fmla="*/ 974408 h 974502"/>
                <a:gd name="connsiteX16" fmla="*/ 0 w 5783865"/>
                <a:gd name="connsiteY16" fmla="*/ 769906 h 974502"/>
                <a:gd name="connsiteX17" fmla="*/ 546354 w 5783865"/>
                <a:gd name="connsiteY17" fmla="*/ 16192 h 974502"/>
                <a:gd name="connsiteX18" fmla="*/ 715899 w 5783865"/>
                <a:gd name="connsiteY18" fmla="*/ 16192 h 974502"/>
                <a:gd name="connsiteX19" fmla="*/ 715899 w 5783865"/>
                <a:gd name="connsiteY19" fmla="*/ 803529 h 974502"/>
                <a:gd name="connsiteX20" fmla="*/ 858584 w 5783865"/>
                <a:gd name="connsiteY20" fmla="*/ 803529 h 974502"/>
                <a:gd name="connsiteX21" fmla="*/ 858584 w 5783865"/>
                <a:gd name="connsiteY21" fmla="*/ 958310 h 974502"/>
                <a:gd name="connsiteX22" fmla="*/ 546354 w 5783865"/>
                <a:gd name="connsiteY22" fmla="*/ 958310 h 974502"/>
                <a:gd name="connsiteX23" fmla="*/ 546354 w 5783865"/>
                <a:gd name="connsiteY23" fmla="*/ 16192 h 974502"/>
                <a:gd name="connsiteX24" fmla="*/ 927259 w 5783865"/>
                <a:gd name="connsiteY24" fmla="*/ 769906 h 974502"/>
                <a:gd name="connsiteX25" fmla="*/ 927259 w 5783865"/>
                <a:gd name="connsiteY25" fmla="*/ 16192 h 974502"/>
                <a:gd name="connsiteX26" fmla="*/ 1096804 w 5783865"/>
                <a:gd name="connsiteY26" fmla="*/ 16192 h 974502"/>
                <a:gd name="connsiteX27" fmla="*/ 1096804 w 5783865"/>
                <a:gd name="connsiteY27" fmla="*/ 769906 h 974502"/>
                <a:gd name="connsiteX28" fmla="*/ 1146620 w 5783865"/>
                <a:gd name="connsiteY28" fmla="*/ 819721 h 974502"/>
                <a:gd name="connsiteX29" fmla="*/ 1197769 w 5783865"/>
                <a:gd name="connsiteY29" fmla="*/ 769906 h 974502"/>
                <a:gd name="connsiteX30" fmla="*/ 1197769 w 5783865"/>
                <a:gd name="connsiteY30" fmla="*/ 16192 h 974502"/>
                <a:gd name="connsiteX31" fmla="*/ 1367314 w 5783865"/>
                <a:gd name="connsiteY31" fmla="*/ 16192 h 974502"/>
                <a:gd name="connsiteX32" fmla="*/ 1367314 w 5783865"/>
                <a:gd name="connsiteY32" fmla="*/ 769906 h 974502"/>
                <a:gd name="connsiteX33" fmla="*/ 1146620 w 5783865"/>
                <a:gd name="connsiteY33" fmla="*/ 974503 h 974502"/>
                <a:gd name="connsiteX34" fmla="*/ 927259 w 5783865"/>
                <a:gd name="connsiteY34" fmla="*/ 769906 h 974502"/>
                <a:gd name="connsiteX35" fmla="*/ 1476280 w 5783865"/>
                <a:gd name="connsiteY35" fmla="*/ 16192 h 974502"/>
                <a:gd name="connsiteX36" fmla="*/ 1715834 w 5783865"/>
                <a:gd name="connsiteY36" fmla="*/ 16192 h 974502"/>
                <a:gd name="connsiteX37" fmla="*/ 1916335 w 5783865"/>
                <a:gd name="connsiteY37" fmla="*/ 200596 h 974502"/>
                <a:gd name="connsiteX38" fmla="*/ 1916335 w 5783865"/>
                <a:gd name="connsiteY38" fmla="*/ 328422 h 974502"/>
                <a:gd name="connsiteX39" fmla="*/ 1838230 w 5783865"/>
                <a:gd name="connsiteY39" fmla="*/ 467011 h 974502"/>
                <a:gd name="connsiteX40" fmla="*/ 1838230 w 5783865"/>
                <a:gd name="connsiteY40" fmla="*/ 475107 h 974502"/>
                <a:gd name="connsiteX41" fmla="*/ 1924336 w 5783865"/>
                <a:gd name="connsiteY41" fmla="*/ 620459 h 974502"/>
                <a:gd name="connsiteX42" fmla="*/ 1924336 w 5783865"/>
                <a:gd name="connsiteY42" fmla="*/ 773906 h 974502"/>
                <a:gd name="connsiteX43" fmla="*/ 1723835 w 5783865"/>
                <a:gd name="connsiteY43" fmla="*/ 958310 h 974502"/>
                <a:gd name="connsiteX44" fmla="*/ 1476185 w 5783865"/>
                <a:gd name="connsiteY44" fmla="*/ 958310 h 974502"/>
                <a:gd name="connsiteX45" fmla="*/ 1476185 w 5783865"/>
                <a:gd name="connsiteY45" fmla="*/ 16192 h 974502"/>
                <a:gd name="connsiteX46" fmla="*/ 1645920 w 5783865"/>
                <a:gd name="connsiteY46" fmla="*/ 170974 h 974502"/>
                <a:gd name="connsiteX47" fmla="*/ 1645920 w 5783865"/>
                <a:gd name="connsiteY47" fmla="*/ 407860 h 974502"/>
                <a:gd name="connsiteX48" fmla="*/ 1695736 w 5783865"/>
                <a:gd name="connsiteY48" fmla="*/ 407860 h 974502"/>
                <a:gd name="connsiteX49" fmla="*/ 1746885 w 5783865"/>
                <a:gd name="connsiteY49" fmla="*/ 356711 h 974502"/>
                <a:gd name="connsiteX50" fmla="*/ 1746885 w 5783865"/>
                <a:gd name="connsiteY50" fmla="*/ 220789 h 974502"/>
                <a:gd name="connsiteX51" fmla="*/ 1695736 w 5783865"/>
                <a:gd name="connsiteY51" fmla="*/ 170974 h 974502"/>
                <a:gd name="connsiteX52" fmla="*/ 1645920 w 5783865"/>
                <a:gd name="connsiteY52" fmla="*/ 170974 h 974502"/>
                <a:gd name="connsiteX53" fmla="*/ 1645920 w 5783865"/>
                <a:gd name="connsiteY53" fmla="*/ 551878 h 974502"/>
                <a:gd name="connsiteX54" fmla="*/ 1645920 w 5783865"/>
                <a:gd name="connsiteY54" fmla="*/ 803529 h 974502"/>
                <a:gd name="connsiteX55" fmla="*/ 1705166 w 5783865"/>
                <a:gd name="connsiteY55" fmla="*/ 803529 h 974502"/>
                <a:gd name="connsiteX56" fmla="*/ 1754981 w 5783865"/>
                <a:gd name="connsiteY56" fmla="*/ 753713 h 974502"/>
                <a:gd name="connsiteX57" fmla="*/ 1754981 w 5783865"/>
                <a:gd name="connsiteY57" fmla="*/ 603028 h 974502"/>
                <a:gd name="connsiteX58" fmla="*/ 1705166 w 5783865"/>
                <a:gd name="connsiteY58" fmla="*/ 551878 h 974502"/>
                <a:gd name="connsiteX59" fmla="*/ 1645920 w 5783865"/>
                <a:gd name="connsiteY59" fmla="*/ 551878 h 974502"/>
                <a:gd name="connsiteX60" fmla="*/ 2217515 w 5783865"/>
                <a:gd name="connsiteY60" fmla="*/ 769906 h 974502"/>
                <a:gd name="connsiteX61" fmla="*/ 2217515 w 5783865"/>
                <a:gd name="connsiteY61" fmla="*/ 203263 h 974502"/>
                <a:gd name="connsiteX62" fmla="*/ 2438210 w 5783865"/>
                <a:gd name="connsiteY62" fmla="*/ 0 h 974502"/>
                <a:gd name="connsiteX63" fmla="*/ 2658904 w 5783865"/>
                <a:gd name="connsiteY63" fmla="*/ 203263 h 974502"/>
                <a:gd name="connsiteX64" fmla="*/ 2658904 w 5783865"/>
                <a:gd name="connsiteY64" fmla="*/ 399764 h 974502"/>
                <a:gd name="connsiteX65" fmla="*/ 2489359 w 5783865"/>
                <a:gd name="connsiteY65" fmla="*/ 399764 h 974502"/>
                <a:gd name="connsiteX66" fmla="*/ 2489359 w 5783865"/>
                <a:gd name="connsiteY66" fmla="*/ 204597 h 974502"/>
                <a:gd name="connsiteX67" fmla="*/ 2438210 w 5783865"/>
                <a:gd name="connsiteY67" fmla="*/ 154781 h 974502"/>
                <a:gd name="connsiteX68" fmla="*/ 2387060 w 5783865"/>
                <a:gd name="connsiteY68" fmla="*/ 204597 h 974502"/>
                <a:gd name="connsiteX69" fmla="*/ 2387060 w 5783865"/>
                <a:gd name="connsiteY69" fmla="*/ 769810 h 974502"/>
                <a:gd name="connsiteX70" fmla="*/ 2438210 w 5783865"/>
                <a:gd name="connsiteY70" fmla="*/ 819626 h 974502"/>
                <a:gd name="connsiteX71" fmla="*/ 2489359 w 5783865"/>
                <a:gd name="connsiteY71" fmla="*/ 769810 h 974502"/>
                <a:gd name="connsiteX72" fmla="*/ 2489359 w 5783865"/>
                <a:gd name="connsiteY72" fmla="*/ 561213 h 974502"/>
                <a:gd name="connsiteX73" fmla="*/ 2658904 w 5783865"/>
                <a:gd name="connsiteY73" fmla="*/ 561213 h 974502"/>
                <a:gd name="connsiteX74" fmla="*/ 2658904 w 5783865"/>
                <a:gd name="connsiteY74" fmla="*/ 769810 h 974502"/>
                <a:gd name="connsiteX75" fmla="*/ 2438210 w 5783865"/>
                <a:gd name="connsiteY75" fmla="*/ 974408 h 974502"/>
                <a:gd name="connsiteX76" fmla="*/ 2217515 w 5783865"/>
                <a:gd name="connsiteY76" fmla="*/ 769810 h 974502"/>
                <a:gd name="connsiteX77" fmla="*/ 2758535 w 5783865"/>
                <a:gd name="connsiteY77" fmla="*/ 769906 h 974502"/>
                <a:gd name="connsiteX78" fmla="*/ 2758535 w 5783865"/>
                <a:gd name="connsiteY78" fmla="*/ 203263 h 974502"/>
                <a:gd name="connsiteX79" fmla="*/ 2979230 w 5783865"/>
                <a:gd name="connsiteY79" fmla="*/ 0 h 974502"/>
                <a:gd name="connsiteX80" fmla="*/ 3199924 w 5783865"/>
                <a:gd name="connsiteY80" fmla="*/ 203263 h 974502"/>
                <a:gd name="connsiteX81" fmla="*/ 3199924 w 5783865"/>
                <a:gd name="connsiteY81" fmla="*/ 769906 h 974502"/>
                <a:gd name="connsiteX82" fmla="*/ 2979230 w 5783865"/>
                <a:gd name="connsiteY82" fmla="*/ 974503 h 974502"/>
                <a:gd name="connsiteX83" fmla="*/ 2758535 w 5783865"/>
                <a:gd name="connsiteY83" fmla="*/ 769906 h 974502"/>
                <a:gd name="connsiteX84" fmla="*/ 3030379 w 5783865"/>
                <a:gd name="connsiteY84" fmla="*/ 769906 h 974502"/>
                <a:gd name="connsiteX85" fmla="*/ 3030379 w 5783865"/>
                <a:gd name="connsiteY85" fmla="*/ 204692 h 974502"/>
                <a:gd name="connsiteX86" fmla="*/ 2979230 w 5783865"/>
                <a:gd name="connsiteY86" fmla="*/ 154876 h 974502"/>
                <a:gd name="connsiteX87" fmla="*/ 2928080 w 5783865"/>
                <a:gd name="connsiteY87" fmla="*/ 204692 h 974502"/>
                <a:gd name="connsiteX88" fmla="*/ 2928080 w 5783865"/>
                <a:gd name="connsiteY88" fmla="*/ 769906 h 974502"/>
                <a:gd name="connsiteX89" fmla="*/ 2979230 w 5783865"/>
                <a:gd name="connsiteY89" fmla="*/ 819721 h 974502"/>
                <a:gd name="connsiteX90" fmla="*/ 3030379 w 5783865"/>
                <a:gd name="connsiteY90" fmla="*/ 769906 h 974502"/>
                <a:gd name="connsiteX91" fmla="*/ 3306223 w 5783865"/>
                <a:gd name="connsiteY91" fmla="*/ 16192 h 974502"/>
                <a:gd name="connsiteX92" fmla="*/ 3501390 w 5783865"/>
                <a:gd name="connsiteY92" fmla="*/ 16192 h 974502"/>
                <a:gd name="connsiteX93" fmla="*/ 3598259 w 5783865"/>
                <a:gd name="connsiteY93" fmla="*/ 463010 h 974502"/>
                <a:gd name="connsiteX94" fmla="*/ 3611690 w 5783865"/>
                <a:gd name="connsiteY94" fmla="*/ 581406 h 974502"/>
                <a:gd name="connsiteX95" fmla="*/ 3634549 w 5783865"/>
                <a:gd name="connsiteY95" fmla="*/ 581406 h 974502"/>
                <a:gd name="connsiteX96" fmla="*/ 3619786 w 5783865"/>
                <a:gd name="connsiteY96" fmla="*/ 463010 h 974502"/>
                <a:gd name="connsiteX97" fmla="*/ 3619786 w 5783865"/>
                <a:gd name="connsiteY97" fmla="*/ 16192 h 974502"/>
                <a:gd name="connsiteX98" fmla="*/ 3789331 w 5783865"/>
                <a:gd name="connsiteY98" fmla="*/ 16192 h 974502"/>
                <a:gd name="connsiteX99" fmla="*/ 3789331 w 5783865"/>
                <a:gd name="connsiteY99" fmla="*/ 958310 h 974502"/>
                <a:gd name="connsiteX100" fmla="*/ 3595497 w 5783865"/>
                <a:gd name="connsiteY100" fmla="*/ 958310 h 974502"/>
                <a:gd name="connsiteX101" fmla="*/ 3498628 w 5783865"/>
                <a:gd name="connsiteY101" fmla="*/ 511492 h 974502"/>
                <a:gd name="connsiteX102" fmla="*/ 3483864 w 5783865"/>
                <a:gd name="connsiteY102" fmla="*/ 393097 h 974502"/>
                <a:gd name="connsiteX103" fmla="*/ 3461004 w 5783865"/>
                <a:gd name="connsiteY103" fmla="*/ 393097 h 974502"/>
                <a:gd name="connsiteX104" fmla="*/ 3475768 w 5783865"/>
                <a:gd name="connsiteY104" fmla="*/ 511492 h 974502"/>
                <a:gd name="connsiteX105" fmla="*/ 3475768 w 5783865"/>
                <a:gd name="connsiteY105" fmla="*/ 958310 h 974502"/>
                <a:gd name="connsiteX106" fmla="*/ 3306223 w 5783865"/>
                <a:gd name="connsiteY106" fmla="*/ 958310 h 974502"/>
                <a:gd name="connsiteX107" fmla="*/ 3306223 w 5783865"/>
                <a:gd name="connsiteY107" fmla="*/ 16192 h 974502"/>
                <a:gd name="connsiteX108" fmla="*/ 3901059 w 5783865"/>
                <a:gd name="connsiteY108" fmla="*/ 16192 h 974502"/>
                <a:gd name="connsiteX109" fmla="*/ 4096226 w 5783865"/>
                <a:gd name="connsiteY109" fmla="*/ 16192 h 974502"/>
                <a:gd name="connsiteX110" fmla="*/ 4193096 w 5783865"/>
                <a:gd name="connsiteY110" fmla="*/ 463010 h 974502"/>
                <a:gd name="connsiteX111" fmla="*/ 4206526 w 5783865"/>
                <a:gd name="connsiteY111" fmla="*/ 581406 h 974502"/>
                <a:gd name="connsiteX112" fmla="*/ 4229386 w 5783865"/>
                <a:gd name="connsiteY112" fmla="*/ 581406 h 974502"/>
                <a:gd name="connsiteX113" fmla="*/ 4214622 w 5783865"/>
                <a:gd name="connsiteY113" fmla="*/ 463010 h 974502"/>
                <a:gd name="connsiteX114" fmla="*/ 4214622 w 5783865"/>
                <a:gd name="connsiteY114" fmla="*/ 16192 h 974502"/>
                <a:gd name="connsiteX115" fmla="*/ 4384167 w 5783865"/>
                <a:gd name="connsiteY115" fmla="*/ 16192 h 974502"/>
                <a:gd name="connsiteX116" fmla="*/ 4384167 w 5783865"/>
                <a:gd name="connsiteY116" fmla="*/ 958310 h 974502"/>
                <a:gd name="connsiteX117" fmla="*/ 4190333 w 5783865"/>
                <a:gd name="connsiteY117" fmla="*/ 958310 h 974502"/>
                <a:gd name="connsiteX118" fmla="*/ 4093464 w 5783865"/>
                <a:gd name="connsiteY118" fmla="*/ 511492 h 974502"/>
                <a:gd name="connsiteX119" fmla="*/ 4078700 w 5783865"/>
                <a:gd name="connsiteY119" fmla="*/ 393097 h 974502"/>
                <a:gd name="connsiteX120" fmla="*/ 4055840 w 5783865"/>
                <a:gd name="connsiteY120" fmla="*/ 393097 h 974502"/>
                <a:gd name="connsiteX121" fmla="*/ 4070604 w 5783865"/>
                <a:gd name="connsiteY121" fmla="*/ 511492 h 974502"/>
                <a:gd name="connsiteX122" fmla="*/ 4070604 w 5783865"/>
                <a:gd name="connsiteY122" fmla="*/ 958310 h 974502"/>
                <a:gd name="connsiteX123" fmla="*/ 3901059 w 5783865"/>
                <a:gd name="connsiteY123" fmla="*/ 958310 h 974502"/>
                <a:gd name="connsiteX124" fmla="*/ 3901059 w 5783865"/>
                <a:gd name="connsiteY124" fmla="*/ 16192 h 974502"/>
                <a:gd name="connsiteX125" fmla="*/ 4495896 w 5783865"/>
                <a:gd name="connsiteY125" fmla="*/ 16192 h 974502"/>
                <a:gd name="connsiteX126" fmla="*/ 4816221 w 5783865"/>
                <a:gd name="connsiteY126" fmla="*/ 16192 h 974502"/>
                <a:gd name="connsiteX127" fmla="*/ 4816221 w 5783865"/>
                <a:gd name="connsiteY127" fmla="*/ 170974 h 974502"/>
                <a:gd name="connsiteX128" fmla="*/ 4665536 w 5783865"/>
                <a:gd name="connsiteY128" fmla="*/ 170974 h 974502"/>
                <a:gd name="connsiteX129" fmla="*/ 4665536 w 5783865"/>
                <a:gd name="connsiteY129" fmla="*/ 405193 h 974502"/>
                <a:gd name="connsiteX130" fmla="*/ 4801457 w 5783865"/>
                <a:gd name="connsiteY130" fmla="*/ 405193 h 974502"/>
                <a:gd name="connsiteX131" fmla="*/ 4801457 w 5783865"/>
                <a:gd name="connsiteY131" fmla="*/ 555879 h 974502"/>
                <a:gd name="connsiteX132" fmla="*/ 4665536 w 5783865"/>
                <a:gd name="connsiteY132" fmla="*/ 555879 h 974502"/>
                <a:gd name="connsiteX133" fmla="*/ 4665536 w 5783865"/>
                <a:gd name="connsiteY133" fmla="*/ 803529 h 974502"/>
                <a:gd name="connsiteX134" fmla="*/ 4816221 w 5783865"/>
                <a:gd name="connsiteY134" fmla="*/ 803529 h 974502"/>
                <a:gd name="connsiteX135" fmla="*/ 4816221 w 5783865"/>
                <a:gd name="connsiteY135" fmla="*/ 958310 h 974502"/>
                <a:gd name="connsiteX136" fmla="*/ 4495896 w 5783865"/>
                <a:gd name="connsiteY136" fmla="*/ 958310 h 974502"/>
                <a:gd name="connsiteX137" fmla="*/ 4495896 w 5783865"/>
                <a:gd name="connsiteY137" fmla="*/ 16192 h 974502"/>
                <a:gd name="connsiteX138" fmla="*/ 4906423 w 5783865"/>
                <a:gd name="connsiteY138" fmla="*/ 769906 h 974502"/>
                <a:gd name="connsiteX139" fmla="*/ 4906423 w 5783865"/>
                <a:gd name="connsiteY139" fmla="*/ 203263 h 974502"/>
                <a:gd name="connsiteX140" fmla="*/ 5127118 w 5783865"/>
                <a:gd name="connsiteY140" fmla="*/ 0 h 974502"/>
                <a:gd name="connsiteX141" fmla="*/ 5347812 w 5783865"/>
                <a:gd name="connsiteY141" fmla="*/ 203263 h 974502"/>
                <a:gd name="connsiteX142" fmla="*/ 5347812 w 5783865"/>
                <a:gd name="connsiteY142" fmla="*/ 399764 h 974502"/>
                <a:gd name="connsiteX143" fmla="*/ 5178267 w 5783865"/>
                <a:gd name="connsiteY143" fmla="*/ 399764 h 974502"/>
                <a:gd name="connsiteX144" fmla="*/ 5178267 w 5783865"/>
                <a:gd name="connsiteY144" fmla="*/ 204597 h 974502"/>
                <a:gd name="connsiteX145" fmla="*/ 5127118 w 5783865"/>
                <a:gd name="connsiteY145" fmla="*/ 154781 h 974502"/>
                <a:gd name="connsiteX146" fmla="*/ 5075968 w 5783865"/>
                <a:gd name="connsiteY146" fmla="*/ 204597 h 974502"/>
                <a:gd name="connsiteX147" fmla="*/ 5075968 w 5783865"/>
                <a:gd name="connsiteY147" fmla="*/ 769810 h 974502"/>
                <a:gd name="connsiteX148" fmla="*/ 5127118 w 5783865"/>
                <a:gd name="connsiteY148" fmla="*/ 819626 h 974502"/>
                <a:gd name="connsiteX149" fmla="*/ 5178267 w 5783865"/>
                <a:gd name="connsiteY149" fmla="*/ 769810 h 974502"/>
                <a:gd name="connsiteX150" fmla="*/ 5178267 w 5783865"/>
                <a:gd name="connsiteY150" fmla="*/ 561213 h 974502"/>
                <a:gd name="connsiteX151" fmla="*/ 5347812 w 5783865"/>
                <a:gd name="connsiteY151" fmla="*/ 561213 h 974502"/>
                <a:gd name="connsiteX152" fmla="*/ 5347812 w 5783865"/>
                <a:gd name="connsiteY152" fmla="*/ 769810 h 974502"/>
                <a:gd name="connsiteX153" fmla="*/ 5127118 w 5783865"/>
                <a:gd name="connsiteY153" fmla="*/ 974408 h 974502"/>
                <a:gd name="connsiteX154" fmla="*/ 4906423 w 5783865"/>
                <a:gd name="connsiteY154" fmla="*/ 769810 h 974502"/>
                <a:gd name="connsiteX155" fmla="*/ 5517356 w 5783865"/>
                <a:gd name="connsiteY155" fmla="*/ 170974 h 974502"/>
                <a:gd name="connsiteX156" fmla="*/ 5420487 w 5783865"/>
                <a:gd name="connsiteY156" fmla="*/ 170974 h 974502"/>
                <a:gd name="connsiteX157" fmla="*/ 5420487 w 5783865"/>
                <a:gd name="connsiteY157" fmla="*/ 16192 h 974502"/>
                <a:gd name="connsiteX158" fmla="*/ 5783866 w 5783865"/>
                <a:gd name="connsiteY158" fmla="*/ 16192 h 974502"/>
                <a:gd name="connsiteX159" fmla="*/ 5783866 w 5783865"/>
                <a:gd name="connsiteY159" fmla="*/ 170974 h 974502"/>
                <a:gd name="connsiteX160" fmla="*/ 5686997 w 5783865"/>
                <a:gd name="connsiteY160" fmla="*/ 170974 h 974502"/>
                <a:gd name="connsiteX161" fmla="*/ 5686997 w 5783865"/>
                <a:gd name="connsiteY161" fmla="*/ 958310 h 974502"/>
                <a:gd name="connsiteX162" fmla="*/ 5517452 w 5783865"/>
                <a:gd name="connsiteY162" fmla="*/ 958310 h 974502"/>
                <a:gd name="connsiteX163" fmla="*/ 5517452 w 5783865"/>
                <a:gd name="connsiteY163" fmla="*/ 170974 h 974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5783865" h="974502">
                  <a:moveTo>
                    <a:pt x="0" y="769906"/>
                  </a:moveTo>
                  <a:lnTo>
                    <a:pt x="0" y="203263"/>
                  </a:lnTo>
                  <a:cubicBezTo>
                    <a:pt x="0" y="82105"/>
                    <a:pt x="88868" y="0"/>
                    <a:pt x="220694" y="0"/>
                  </a:cubicBezTo>
                  <a:cubicBezTo>
                    <a:pt x="352520" y="0"/>
                    <a:pt x="441389" y="82105"/>
                    <a:pt x="441389" y="203263"/>
                  </a:cubicBezTo>
                  <a:lnTo>
                    <a:pt x="441389" y="399764"/>
                  </a:lnTo>
                  <a:lnTo>
                    <a:pt x="271844" y="399764"/>
                  </a:lnTo>
                  <a:lnTo>
                    <a:pt x="271844" y="204597"/>
                  </a:lnTo>
                  <a:cubicBezTo>
                    <a:pt x="271844" y="173641"/>
                    <a:pt x="251651" y="154781"/>
                    <a:pt x="220694" y="154781"/>
                  </a:cubicBezTo>
                  <a:cubicBezTo>
                    <a:pt x="189738" y="154781"/>
                    <a:pt x="169545" y="173641"/>
                    <a:pt x="169545" y="204597"/>
                  </a:cubicBezTo>
                  <a:lnTo>
                    <a:pt x="169545" y="769810"/>
                  </a:lnTo>
                  <a:cubicBezTo>
                    <a:pt x="169545" y="800767"/>
                    <a:pt x="189738" y="819626"/>
                    <a:pt x="220694" y="819626"/>
                  </a:cubicBezTo>
                  <a:cubicBezTo>
                    <a:pt x="251651" y="819626"/>
                    <a:pt x="271844" y="800767"/>
                    <a:pt x="271844" y="769810"/>
                  </a:cubicBezTo>
                  <a:lnTo>
                    <a:pt x="271844" y="561213"/>
                  </a:lnTo>
                  <a:lnTo>
                    <a:pt x="441389" y="561213"/>
                  </a:lnTo>
                  <a:lnTo>
                    <a:pt x="441389" y="769810"/>
                  </a:lnTo>
                  <a:cubicBezTo>
                    <a:pt x="441389" y="892302"/>
                    <a:pt x="352520" y="974408"/>
                    <a:pt x="220694" y="974408"/>
                  </a:cubicBezTo>
                  <a:cubicBezTo>
                    <a:pt x="88868" y="974408"/>
                    <a:pt x="0" y="892302"/>
                    <a:pt x="0" y="769906"/>
                  </a:cubicBezTo>
                  <a:close/>
                  <a:moveTo>
                    <a:pt x="546354" y="16192"/>
                  </a:moveTo>
                  <a:lnTo>
                    <a:pt x="715899" y="16192"/>
                  </a:lnTo>
                  <a:lnTo>
                    <a:pt x="715899" y="803529"/>
                  </a:lnTo>
                  <a:lnTo>
                    <a:pt x="858584" y="803529"/>
                  </a:lnTo>
                  <a:lnTo>
                    <a:pt x="858584" y="958310"/>
                  </a:lnTo>
                  <a:lnTo>
                    <a:pt x="546354" y="958310"/>
                  </a:lnTo>
                  <a:lnTo>
                    <a:pt x="546354" y="16192"/>
                  </a:lnTo>
                  <a:close/>
                  <a:moveTo>
                    <a:pt x="927259" y="769906"/>
                  </a:moveTo>
                  <a:lnTo>
                    <a:pt x="927259" y="16192"/>
                  </a:lnTo>
                  <a:lnTo>
                    <a:pt x="1096804" y="16192"/>
                  </a:lnTo>
                  <a:lnTo>
                    <a:pt x="1096804" y="769906"/>
                  </a:lnTo>
                  <a:cubicBezTo>
                    <a:pt x="1096804" y="800862"/>
                    <a:pt x="1116997" y="819721"/>
                    <a:pt x="1146620" y="819721"/>
                  </a:cubicBezTo>
                  <a:cubicBezTo>
                    <a:pt x="1176242" y="819721"/>
                    <a:pt x="1197769" y="800862"/>
                    <a:pt x="1197769" y="769906"/>
                  </a:cubicBezTo>
                  <a:lnTo>
                    <a:pt x="1197769" y="16192"/>
                  </a:lnTo>
                  <a:lnTo>
                    <a:pt x="1367314" y="16192"/>
                  </a:lnTo>
                  <a:lnTo>
                    <a:pt x="1367314" y="769906"/>
                  </a:lnTo>
                  <a:cubicBezTo>
                    <a:pt x="1367314" y="892397"/>
                    <a:pt x="1278446" y="974503"/>
                    <a:pt x="1146620" y="974503"/>
                  </a:cubicBezTo>
                  <a:cubicBezTo>
                    <a:pt x="1014794" y="974503"/>
                    <a:pt x="927259" y="892397"/>
                    <a:pt x="927259" y="769906"/>
                  </a:cubicBezTo>
                  <a:close/>
                  <a:moveTo>
                    <a:pt x="1476280" y="16192"/>
                  </a:moveTo>
                  <a:lnTo>
                    <a:pt x="1715834" y="16192"/>
                  </a:lnTo>
                  <a:cubicBezTo>
                    <a:pt x="1835658" y="16192"/>
                    <a:pt x="1916335" y="90202"/>
                    <a:pt x="1916335" y="200596"/>
                  </a:cubicBezTo>
                  <a:lnTo>
                    <a:pt x="1916335" y="328422"/>
                  </a:lnTo>
                  <a:cubicBezTo>
                    <a:pt x="1916335" y="384905"/>
                    <a:pt x="1890808" y="442817"/>
                    <a:pt x="1838230" y="467011"/>
                  </a:cubicBezTo>
                  <a:lnTo>
                    <a:pt x="1838230" y="475107"/>
                  </a:lnTo>
                  <a:cubicBezTo>
                    <a:pt x="1894713" y="499300"/>
                    <a:pt x="1924336" y="559879"/>
                    <a:pt x="1924336" y="620459"/>
                  </a:cubicBezTo>
                  <a:lnTo>
                    <a:pt x="1924336" y="773906"/>
                  </a:lnTo>
                  <a:cubicBezTo>
                    <a:pt x="1924336" y="884206"/>
                    <a:pt x="1844897" y="958310"/>
                    <a:pt x="1723835" y="958310"/>
                  </a:cubicBezTo>
                  <a:lnTo>
                    <a:pt x="1476185" y="958310"/>
                  </a:lnTo>
                  <a:lnTo>
                    <a:pt x="1476185" y="16192"/>
                  </a:lnTo>
                  <a:close/>
                  <a:moveTo>
                    <a:pt x="1645920" y="170974"/>
                  </a:moveTo>
                  <a:lnTo>
                    <a:pt x="1645920" y="407860"/>
                  </a:lnTo>
                  <a:lnTo>
                    <a:pt x="1695736" y="407860"/>
                  </a:lnTo>
                  <a:cubicBezTo>
                    <a:pt x="1726692" y="407860"/>
                    <a:pt x="1746885" y="387667"/>
                    <a:pt x="1746885" y="356711"/>
                  </a:cubicBezTo>
                  <a:lnTo>
                    <a:pt x="1746885" y="220789"/>
                  </a:lnTo>
                  <a:cubicBezTo>
                    <a:pt x="1746885" y="189833"/>
                    <a:pt x="1726692" y="170974"/>
                    <a:pt x="1695736" y="170974"/>
                  </a:cubicBezTo>
                  <a:lnTo>
                    <a:pt x="1645920" y="170974"/>
                  </a:lnTo>
                  <a:close/>
                  <a:moveTo>
                    <a:pt x="1645920" y="551878"/>
                  </a:moveTo>
                  <a:lnTo>
                    <a:pt x="1645920" y="803529"/>
                  </a:lnTo>
                  <a:lnTo>
                    <a:pt x="1705166" y="803529"/>
                  </a:lnTo>
                  <a:cubicBezTo>
                    <a:pt x="1734788" y="803529"/>
                    <a:pt x="1754981" y="784669"/>
                    <a:pt x="1754981" y="753713"/>
                  </a:cubicBezTo>
                  <a:lnTo>
                    <a:pt x="1754981" y="603028"/>
                  </a:lnTo>
                  <a:cubicBezTo>
                    <a:pt x="1754981" y="572071"/>
                    <a:pt x="1734788" y="551878"/>
                    <a:pt x="1705166" y="551878"/>
                  </a:cubicBezTo>
                  <a:lnTo>
                    <a:pt x="1645920" y="551878"/>
                  </a:lnTo>
                  <a:close/>
                  <a:moveTo>
                    <a:pt x="2217515" y="769906"/>
                  </a:moveTo>
                  <a:lnTo>
                    <a:pt x="2217515" y="203263"/>
                  </a:lnTo>
                  <a:cubicBezTo>
                    <a:pt x="2217515" y="82105"/>
                    <a:pt x="2306384" y="0"/>
                    <a:pt x="2438210" y="0"/>
                  </a:cubicBezTo>
                  <a:cubicBezTo>
                    <a:pt x="2570036" y="0"/>
                    <a:pt x="2658904" y="82105"/>
                    <a:pt x="2658904" y="203263"/>
                  </a:cubicBezTo>
                  <a:lnTo>
                    <a:pt x="2658904" y="399764"/>
                  </a:lnTo>
                  <a:lnTo>
                    <a:pt x="2489359" y="399764"/>
                  </a:lnTo>
                  <a:lnTo>
                    <a:pt x="2489359" y="204597"/>
                  </a:lnTo>
                  <a:cubicBezTo>
                    <a:pt x="2489359" y="173641"/>
                    <a:pt x="2469166" y="154781"/>
                    <a:pt x="2438210" y="154781"/>
                  </a:cubicBezTo>
                  <a:cubicBezTo>
                    <a:pt x="2407253" y="154781"/>
                    <a:pt x="2387060" y="173641"/>
                    <a:pt x="2387060" y="204597"/>
                  </a:cubicBezTo>
                  <a:lnTo>
                    <a:pt x="2387060" y="769810"/>
                  </a:lnTo>
                  <a:cubicBezTo>
                    <a:pt x="2387060" y="800767"/>
                    <a:pt x="2407253" y="819626"/>
                    <a:pt x="2438210" y="819626"/>
                  </a:cubicBezTo>
                  <a:cubicBezTo>
                    <a:pt x="2469166" y="819626"/>
                    <a:pt x="2489359" y="800767"/>
                    <a:pt x="2489359" y="769810"/>
                  </a:cubicBezTo>
                  <a:lnTo>
                    <a:pt x="2489359" y="561213"/>
                  </a:lnTo>
                  <a:lnTo>
                    <a:pt x="2658904" y="561213"/>
                  </a:lnTo>
                  <a:lnTo>
                    <a:pt x="2658904" y="769810"/>
                  </a:lnTo>
                  <a:cubicBezTo>
                    <a:pt x="2658904" y="892302"/>
                    <a:pt x="2570036" y="974408"/>
                    <a:pt x="2438210" y="974408"/>
                  </a:cubicBezTo>
                  <a:cubicBezTo>
                    <a:pt x="2306384" y="974408"/>
                    <a:pt x="2217515" y="892302"/>
                    <a:pt x="2217515" y="769810"/>
                  </a:cubicBezTo>
                  <a:close/>
                  <a:moveTo>
                    <a:pt x="2758535" y="769906"/>
                  </a:moveTo>
                  <a:lnTo>
                    <a:pt x="2758535" y="203263"/>
                  </a:lnTo>
                  <a:cubicBezTo>
                    <a:pt x="2758535" y="82105"/>
                    <a:pt x="2847404" y="0"/>
                    <a:pt x="2979230" y="0"/>
                  </a:cubicBezTo>
                  <a:cubicBezTo>
                    <a:pt x="3111056" y="0"/>
                    <a:pt x="3199924" y="82105"/>
                    <a:pt x="3199924" y="203263"/>
                  </a:cubicBezTo>
                  <a:lnTo>
                    <a:pt x="3199924" y="769906"/>
                  </a:lnTo>
                  <a:cubicBezTo>
                    <a:pt x="3199924" y="892397"/>
                    <a:pt x="3111056" y="974503"/>
                    <a:pt x="2979230" y="974503"/>
                  </a:cubicBezTo>
                  <a:cubicBezTo>
                    <a:pt x="2847404" y="974503"/>
                    <a:pt x="2758535" y="892397"/>
                    <a:pt x="2758535" y="769906"/>
                  </a:cubicBezTo>
                  <a:close/>
                  <a:moveTo>
                    <a:pt x="3030379" y="769906"/>
                  </a:moveTo>
                  <a:lnTo>
                    <a:pt x="3030379" y="204692"/>
                  </a:lnTo>
                  <a:cubicBezTo>
                    <a:pt x="3030379" y="173736"/>
                    <a:pt x="3010186" y="154876"/>
                    <a:pt x="2979230" y="154876"/>
                  </a:cubicBezTo>
                  <a:cubicBezTo>
                    <a:pt x="2948273" y="154876"/>
                    <a:pt x="2928080" y="173736"/>
                    <a:pt x="2928080" y="204692"/>
                  </a:cubicBezTo>
                  <a:lnTo>
                    <a:pt x="2928080" y="769906"/>
                  </a:lnTo>
                  <a:cubicBezTo>
                    <a:pt x="2928080" y="800862"/>
                    <a:pt x="2948273" y="819721"/>
                    <a:pt x="2979230" y="819721"/>
                  </a:cubicBezTo>
                  <a:cubicBezTo>
                    <a:pt x="3010186" y="819721"/>
                    <a:pt x="3030379" y="800862"/>
                    <a:pt x="3030379" y="769906"/>
                  </a:cubicBezTo>
                  <a:close/>
                  <a:moveTo>
                    <a:pt x="3306223" y="16192"/>
                  </a:moveTo>
                  <a:lnTo>
                    <a:pt x="3501390" y="16192"/>
                  </a:lnTo>
                  <a:lnTo>
                    <a:pt x="3598259" y="463010"/>
                  </a:lnTo>
                  <a:lnTo>
                    <a:pt x="3611690" y="581406"/>
                  </a:lnTo>
                  <a:lnTo>
                    <a:pt x="3634549" y="581406"/>
                  </a:lnTo>
                  <a:lnTo>
                    <a:pt x="3619786" y="463010"/>
                  </a:lnTo>
                  <a:lnTo>
                    <a:pt x="3619786" y="16192"/>
                  </a:lnTo>
                  <a:lnTo>
                    <a:pt x="3789331" y="16192"/>
                  </a:lnTo>
                  <a:lnTo>
                    <a:pt x="3789331" y="958310"/>
                  </a:lnTo>
                  <a:lnTo>
                    <a:pt x="3595497" y="958310"/>
                  </a:lnTo>
                  <a:lnTo>
                    <a:pt x="3498628" y="511492"/>
                  </a:lnTo>
                  <a:lnTo>
                    <a:pt x="3483864" y="393097"/>
                  </a:lnTo>
                  <a:lnTo>
                    <a:pt x="3461004" y="393097"/>
                  </a:lnTo>
                  <a:lnTo>
                    <a:pt x="3475768" y="511492"/>
                  </a:lnTo>
                  <a:lnTo>
                    <a:pt x="3475768" y="958310"/>
                  </a:lnTo>
                  <a:lnTo>
                    <a:pt x="3306223" y="958310"/>
                  </a:lnTo>
                  <a:lnTo>
                    <a:pt x="3306223" y="16192"/>
                  </a:lnTo>
                  <a:close/>
                  <a:moveTo>
                    <a:pt x="3901059" y="16192"/>
                  </a:moveTo>
                  <a:lnTo>
                    <a:pt x="4096226" y="16192"/>
                  </a:lnTo>
                  <a:lnTo>
                    <a:pt x="4193096" y="463010"/>
                  </a:lnTo>
                  <a:lnTo>
                    <a:pt x="4206526" y="581406"/>
                  </a:lnTo>
                  <a:lnTo>
                    <a:pt x="4229386" y="581406"/>
                  </a:lnTo>
                  <a:lnTo>
                    <a:pt x="4214622" y="463010"/>
                  </a:lnTo>
                  <a:lnTo>
                    <a:pt x="4214622" y="16192"/>
                  </a:lnTo>
                  <a:lnTo>
                    <a:pt x="4384167" y="16192"/>
                  </a:lnTo>
                  <a:lnTo>
                    <a:pt x="4384167" y="958310"/>
                  </a:lnTo>
                  <a:lnTo>
                    <a:pt x="4190333" y="958310"/>
                  </a:lnTo>
                  <a:lnTo>
                    <a:pt x="4093464" y="511492"/>
                  </a:lnTo>
                  <a:lnTo>
                    <a:pt x="4078700" y="393097"/>
                  </a:lnTo>
                  <a:lnTo>
                    <a:pt x="4055840" y="393097"/>
                  </a:lnTo>
                  <a:lnTo>
                    <a:pt x="4070604" y="511492"/>
                  </a:lnTo>
                  <a:lnTo>
                    <a:pt x="4070604" y="958310"/>
                  </a:lnTo>
                  <a:lnTo>
                    <a:pt x="3901059" y="958310"/>
                  </a:lnTo>
                  <a:lnTo>
                    <a:pt x="3901059" y="16192"/>
                  </a:lnTo>
                  <a:close/>
                  <a:moveTo>
                    <a:pt x="4495896" y="16192"/>
                  </a:moveTo>
                  <a:lnTo>
                    <a:pt x="4816221" y="16192"/>
                  </a:lnTo>
                  <a:lnTo>
                    <a:pt x="4816221" y="170974"/>
                  </a:lnTo>
                  <a:lnTo>
                    <a:pt x="4665536" y="170974"/>
                  </a:lnTo>
                  <a:lnTo>
                    <a:pt x="4665536" y="405193"/>
                  </a:lnTo>
                  <a:lnTo>
                    <a:pt x="4801457" y="405193"/>
                  </a:lnTo>
                  <a:lnTo>
                    <a:pt x="4801457" y="555879"/>
                  </a:lnTo>
                  <a:lnTo>
                    <a:pt x="4665536" y="555879"/>
                  </a:lnTo>
                  <a:lnTo>
                    <a:pt x="4665536" y="803529"/>
                  </a:lnTo>
                  <a:lnTo>
                    <a:pt x="4816221" y="803529"/>
                  </a:lnTo>
                  <a:lnTo>
                    <a:pt x="4816221" y="958310"/>
                  </a:lnTo>
                  <a:lnTo>
                    <a:pt x="4495896" y="958310"/>
                  </a:lnTo>
                  <a:lnTo>
                    <a:pt x="4495896" y="16192"/>
                  </a:lnTo>
                  <a:close/>
                  <a:moveTo>
                    <a:pt x="4906423" y="769906"/>
                  </a:moveTo>
                  <a:lnTo>
                    <a:pt x="4906423" y="203263"/>
                  </a:lnTo>
                  <a:cubicBezTo>
                    <a:pt x="4906423" y="82105"/>
                    <a:pt x="4995291" y="0"/>
                    <a:pt x="5127118" y="0"/>
                  </a:cubicBezTo>
                  <a:cubicBezTo>
                    <a:pt x="5258943" y="0"/>
                    <a:pt x="5347812" y="82105"/>
                    <a:pt x="5347812" y="203263"/>
                  </a:cubicBezTo>
                  <a:lnTo>
                    <a:pt x="5347812" y="399764"/>
                  </a:lnTo>
                  <a:lnTo>
                    <a:pt x="5178267" y="399764"/>
                  </a:lnTo>
                  <a:lnTo>
                    <a:pt x="5178267" y="204597"/>
                  </a:lnTo>
                  <a:cubicBezTo>
                    <a:pt x="5178267" y="173641"/>
                    <a:pt x="5158074" y="154781"/>
                    <a:pt x="5127118" y="154781"/>
                  </a:cubicBezTo>
                  <a:cubicBezTo>
                    <a:pt x="5096161" y="154781"/>
                    <a:pt x="5075968" y="173641"/>
                    <a:pt x="5075968" y="204597"/>
                  </a:cubicBezTo>
                  <a:lnTo>
                    <a:pt x="5075968" y="769810"/>
                  </a:lnTo>
                  <a:cubicBezTo>
                    <a:pt x="5075968" y="800767"/>
                    <a:pt x="5096161" y="819626"/>
                    <a:pt x="5127118" y="819626"/>
                  </a:cubicBezTo>
                  <a:cubicBezTo>
                    <a:pt x="5158074" y="819626"/>
                    <a:pt x="5178267" y="800767"/>
                    <a:pt x="5178267" y="769810"/>
                  </a:cubicBezTo>
                  <a:lnTo>
                    <a:pt x="5178267" y="561213"/>
                  </a:lnTo>
                  <a:lnTo>
                    <a:pt x="5347812" y="561213"/>
                  </a:lnTo>
                  <a:lnTo>
                    <a:pt x="5347812" y="769810"/>
                  </a:lnTo>
                  <a:cubicBezTo>
                    <a:pt x="5347812" y="892302"/>
                    <a:pt x="5258943" y="974408"/>
                    <a:pt x="5127118" y="974408"/>
                  </a:cubicBezTo>
                  <a:cubicBezTo>
                    <a:pt x="4995291" y="974408"/>
                    <a:pt x="4906423" y="892302"/>
                    <a:pt x="4906423" y="769810"/>
                  </a:cubicBezTo>
                  <a:close/>
                  <a:moveTo>
                    <a:pt x="5517356" y="170974"/>
                  </a:moveTo>
                  <a:lnTo>
                    <a:pt x="5420487" y="170974"/>
                  </a:lnTo>
                  <a:lnTo>
                    <a:pt x="5420487" y="16192"/>
                  </a:lnTo>
                  <a:lnTo>
                    <a:pt x="5783866" y="16192"/>
                  </a:lnTo>
                  <a:lnTo>
                    <a:pt x="5783866" y="170974"/>
                  </a:lnTo>
                  <a:lnTo>
                    <a:pt x="5686997" y="170974"/>
                  </a:lnTo>
                  <a:lnTo>
                    <a:pt x="5686997" y="958310"/>
                  </a:lnTo>
                  <a:lnTo>
                    <a:pt x="5517452" y="958310"/>
                  </a:lnTo>
                  <a:lnTo>
                    <a:pt x="5517452" y="170974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" name="Title 1">
            <a:extLst>
              <a:ext uri="{FF2B5EF4-FFF2-40B4-BE49-F238E27FC236}">
                <a16:creationId xmlns:a16="http://schemas.microsoft.com/office/drawing/2014/main" id="{BB7804C4-1222-5207-B869-AAD20D4779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2875" y="5161441"/>
            <a:ext cx="9366250" cy="813765"/>
          </a:xfrm>
        </p:spPr>
        <p:txBody>
          <a:bodyPr anchor="t"/>
          <a:lstStyle>
            <a:lvl1pPr algn="ctr">
              <a:defRPr sz="5000">
                <a:solidFill>
                  <a:schemeClr val="accent2"/>
                </a:solidFill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E31D059-B37C-6B1A-741F-1FD9A8A90B8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12875" y="6002195"/>
            <a:ext cx="9366250" cy="34727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optional subtitle</a:t>
            </a:r>
          </a:p>
        </p:txBody>
      </p:sp>
    </p:spTree>
    <p:extLst>
      <p:ext uri="{BB962C8B-B14F-4D97-AF65-F5344CB8AC3E}">
        <p14:creationId xmlns:p14="http://schemas.microsoft.com/office/powerpoint/2010/main" val="35005770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een background with small circles&#10;&#10;Description automatically generated">
            <a:extLst>
              <a:ext uri="{FF2B5EF4-FFF2-40B4-BE49-F238E27FC236}">
                <a16:creationId xmlns:a16="http://schemas.microsoft.com/office/drawing/2014/main" id="{FDD5ACE1-0BBE-EDAB-A5D8-BB6C4C5C40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46FEA3C0-A3C8-98AE-593E-FC42D7FB237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44984" y="1376363"/>
            <a:ext cx="3702032" cy="3330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BBF4795-A2EB-EF3D-BB20-798687586B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12875" y="5161441"/>
            <a:ext cx="9366250" cy="813765"/>
          </a:xfrm>
        </p:spPr>
        <p:txBody>
          <a:bodyPr anchor="t"/>
          <a:lstStyle>
            <a:lvl1pPr algn="ctr"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CCD17B-3F58-644A-F346-0484B40148E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12875" y="6002195"/>
            <a:ext cx="9366250" cy="34727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optional subtitle</a:t>
            </a:r>
          </a:p>
        </p:txBody>
      </p:sp>
    </p:spTree>
    <p:extLst>
      <p:ext uri="{BB962C8B-B14F-4D97-AF65-F5344CB8AC3E}">
        <p14:creationId xmlns:p14="http://schemas.microsoft.com/office/powerpoint/2010/main" val="2114821573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een background with a black background&#10;&#10;Description automatically generated">
            <a:extLst>
              <a:ext uri="{FF2B5EF4-FFF2-40B4-BE49-F238E27FC236}">
                <a16:creationId xmlns:a16="http://schemas.microsoft.com/office/drawing/2014/main" id="{C5A15758-18A4-F8B5-8475-885D1E2F41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3"/>
            <a:ext cx="12192000" cy="685689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C2B404-9FBA-1E87-C027-2BB6C644C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110772"/>
            <a:ext cx="6826250" cy="1673731"/>
          </a:xfrm>
        </p:spPr>
        <p:txBody>
          <a:bodyPr anchor="b"/>
          <a:lstStyle>
            <a:lvl1pPr>
              <a:defRPr sz="5000">
                <a:solidFill>
                  <a:schemeClr val="accent2"/>
                </a:solidFill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8598D-4FA6-4246-6447-7B759D632FD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811492"/>
            <a:ext cx="6826250" cy="34727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optional 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B53587-0701-2BC6-CC8A-7319C380CA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849" y="6327552"/>
            <a:ext cx="6868450" cy="347270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optional date</a:t>
            </a:r>
            <a:endParaRPr lang="en-GB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1FCA1F3-62B5-C71B-D135-73E9DB172764}"/>
              </a:ext>
            </a:extLst>
          </p:cNvPr>
          <p:cNvGrpSpPr/>
          <p:nvPr userDrawn="1"/>
        </p:nvGrpSpPr>
        <p:grpSpPr>
          <a:xfrm>
            <a:off x="831850" y="1085024"/>
            <a:ext cx="3353494" cy="825804"/>
            <a:chOff x="13749337" y="746575"/>
            <a:chExt cx="11277504" cy="2777109"/>
          </a:xfrm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5D74723-591C-61E8-9A17-EE9A50999B0E}"/>
                </a:ext>
              </a:extLst>
            </p:cNvPr>
            <p:cNvSpPr/>
            <p:nvPr/>
          </p:nvSpPr>
          <p:spPr>
            <a:xfrm>
              <a:off x="13749337" y="746575"/>
              <a:ext cx="5114450" cy="2777109"/>
            </a:xfrm>
            <a:custGeom>
              <a:avLst/>
              <a:gdLst>
                <a:gd name="connsiteX0" fmla="*/ 5080826 w 5114450"/>
                <a:gd name="connsiteY0" fmla="*/ 664559 h 2777109"/>
                <a:gd name="connsiteX1" fmla="*/ 5114450 w 5114450"/>
                <a:gd name="connsiteY1" fmla="*/ 952786 h 2777109"/>
                <a:gd name="connsiteX2" fmla="*/ 4924234 w 5114450"/>
                <a:gd name="connsiteY2" fmla="*/ 952786 h 2777109"/>
                <a:gd name="connsiteX3" fmla="*/ 4911662 w 5114450"/>
                <a:gd name="connsiteY3" fmla="*/ 812292 h 2777109"/>
                <a:gd name="connsiteX4" fmla="*/ 4562570 w 5114450"/>
                <a:gd name="connsiteY4" fmla="*/ 812292 h 2777109"/>
                <a:gd name="connsiteX5" fmla="*/ 4196906 w 5114450"/>
                <a:gd name="connsiteY5" fmla="*/ 972026 h 2777109"/>
                <a:gd name="connsiteX6" fmla="*/ 4047362 w 5114450"/>
                <a:gd name="connsiteY6" fmla="*/ 952786 h 2777109"/>
                <a:gd name="connsiteX7" fmla="*/ 5080826 w 5114450"/>
                <a:gd name="connsiteY7" fmla="*/ 664559 h 2777109"/>
                <a:gd name="connsiteX8" fmla="*/ 4833462 w 5114450"/>
                <a:gd name="connsiteY8" fmla="*/ 250221 h 2777109"/>
                <a:gd name="connsiteX9" fmla="*/ 5031866 w 5114450"/>
                <a:gd name="connsiteY9" fmla="*/ 250221 h 2777109"/>
                <a:gd name="connsiteX10" fmla="*/ 5076634 w 5114450"/>
                <a:gd name="connsiteY10" fmla="*/ 629697 h 2777109"/>
                <a:gd name="connsiteX11" fmla="*/ 4896516 w 5114450"/>
                <a:gd name="connsiteY11" fmla="*/ 650176 h 2777109"/>
                <a:gd name="connsiteX12" fmla="*/ 4876418 w 5114450"/>
                <a:gd name="connsiteY12" fmla="*/ 423767 h 2777109"/>
                <a:gd name="connsiteX13" fmla="*/ 4658010 w 5114450"/>
                <a:gd name="connsiteY13" fmla="*/ 693610 h 2777109"/>
                <a:gd name="connsiteX14" fmla="*/ 4657914 w 5114450"/>
                <a:gd name="connsiteY14" fmla="*/ 693610 h 2777109"/>
                <a:gd name="connsiteX15" fmla="*/ 4412456 w 5114450"/>
                <a:gd name="connsiteY15" fmla="*/ 758856 h 2777109"/>
                <a:gd name="connsiteX16" fmla="*/ 4833462 w 5114450"/>
                <a:gd name="connsiteY16" fmla="*/ 250221 h 2777109"/>
                <a:gd name="connsiteX17" fmla="*/ 4326922 w 5114450"/>
                <a:gd name="connsiteY17" fmla="*/ 232600 h 2777109"/>
                <a:gd name="connsiteX18" fmla="*/ 4614670 w 5114450"/>
                <a:gd name="connsiteY18" fmla="*/ 329279 h 2777109"/>
                <a:gd name="connsiteX19" fmla="*/ 4508658 w 5114450"/>
                <a:gd name="connsiteY19" fmla="*/ 460438 h 2777109"/>
                <a:gd name="connsiteX20" fmla="*/ 4508658 w 5114450"/>
                <a:gd name="connsiteY20" fmla="*/ 460533 h 2777109"/>
                <a:gd name="connsiteX21" fmla="*/ 4299298 w 5114450"/>
                <a:gd name="connsiteY21" fmla="*/ 376999 h 2777109"/>
                <a:gd name="connsiteX22" fmla="*/ 4010024 w 5114450"/>
                <a:gd name="connsiteY22" fmla="*/ 619887 h 2777109"/>
                <a:gd name="connsiteX23" fmla="*/ 4113466 w 5114450"/>
                <a:gd name="connsiteY23" fmla="*/ 811911 h 2777109"/>
                <a:gd name="connsiteX24" fmla="*/ 4215670 w 5114450"/>
                <a:gd name="connsiteY24" fmla="*/ 826484 h 2777109"/>
                <a:gd name="connsiteX25" fmla="*/ 3928300 w 5114450"/>
                <a:gd name="connsiteY25" fmla="*/ 952881 h 2777109"/>
                <a:gd name="connsiteX26" fmla="*/ 3206400 w 5114450"/>
                <a:gd name="connsiteY26" fmla="*/ 952881 h 2777109"/>
                <a:gd name="connsiteX27" fmla="*/ 3454336 w 5114450"/>
                <a:gd name="connsiteY27" fmla="*/ 250317 h 2777109"/>
                <a:gd name="connsiteX28" fmla="*/ 3987164 w 5114450"/>
                <a:gd name="connsiteY28" fmla="*/ 250317 h 2777109"/>
                <a:gd name="connsiteX29" fmla="*/ 3871626 w 5114450"/>
                <a:gd name="connsiteY29" fmla="*/ 390810 h 2777109"/>
                <a:gd name="connsiteX30" fmla="*/ 3587590 w 5114450"/>
                <a:gd name="connsiteY30" fmla="*/ 390810 h 2777109"/>
                <a:gd name="connsiteX31" fmla="*/ 3544156 w 5114450"/>
                <a:gd name="connsiteY31" fmla="*/ 513683 h 2777109"/>
                <a:gd name="connsiteX32" fmla="*/ 3770470 w 5114450"/>
                <a:gd name="connsiteY32" fmla="*/ 513683 h 2777109"/>
                <a:gd name="connsiteX33" fmla="*/ 3655122 w 5114450"/>
                <a:gd name="connsiteY33" fmla="*/ 653796 h 2777109"/>
                <a:gd name="connsiteX34" fmla="*/ 3494722 w 5114450"/>
                <a:gd name="connsiteY34" fmla="*/ 653796 h 2777109"/>
                <a:gd name="connsiteX35" fmla="*/ 3438810 w 5114450"/>
                <a:gd name="connsiteY35" fmla="*/ 812101 h 2777109"/>
                <a:gd name="connsiteX36" fmla="*/ 3873530 w 5114450"/>
                <a:gd name="connsiteY36" fmla="*/ 812101 h 2777109"/>
                <a:gd name="connsiteX37" fmla="*/ 3829430 w 5114450"/>
                <a:gd name="connsiteY37" fmla="*/ 629793 h 2777109"/>
                <a:gd name="connsiteX38" fmla="*/ 4326922 w 5114450"/>
                <a:gd name="connsiteY38" fmla="*/ 232600 h 2777109"/>
                <a:gd name="connsiteX39" fmla="*/ 1567529 w 5114450"/>
                <a:gd name="connsiteY39" fmla="*/ 0 h 2777109"/>
                <a:gd name="connsiteX40" fmla="*/ 2797397 w 5114450"/>
                <a:gd name="connsiteY40" fmla="*/ 1388555 h 2777109"/>
                <a:gd name="connsiteX41" fmla="*/ 1567529 w 5114450"/>
                <a:gd name="connsiteY41" fmla="*/ 2777109 h 2777109"/>
                <a:gd name="connsiteX42" fmla="*/ 1567529 w 5114450"/>
                <a:gd name="connsiteY42" fmla="*/ 2003965 h 2777109"/>
                <a:gd name="connsiteX43" fmla="*/ 2036921 w 5114450"/>
                <a:gd name="connsiteY43" fmla="*/ 1388555 h 2777109"/>
                <a:gd name="connsiteX44" fmla="*/ 1567529 w 5114450"/>
                <a:gd name="connsiteY44" fmla="*/ 773144 h 2777109"/>
                <a:gd name="connsiteX45" fmla="*/ 1229868 w 5114450"/>
                <a:gd name="connsiteY45" fmla="*/ 0 h 2777109"/>
                <a:gd name="connsiteX46" fmla="*/ 1229868 w 5114450"/>
                <a:gd name="connsiteY46" fmla="*/ 773144 h 2777109"/>
                <a:gd name="connsiteX47" fmla="*/ 760476 w 5114450"/>
                <a:gd name="connsiteY47" fmla="*/ 1388555 h 2777109"/>
                <a:gd name="connsiteX48" fmla="*/ 1229868 w 5114450"/>
                <a:gd name="connsiteY48" fmla="*/ 2003965 h 2777109"/>
                <a:gd name="connsiteX49" fmla="*/ 1229868 w 5114450"/>
                <a:gd name="connsiteY49" fmla="*/ 2777109 h 2777109"/>
                <a:gd name="connsiteX50" fmla="*/ 0 w 5114450"/>
                <a:gd name="connsiteY50" fmla="*/ 1388555 h 2777109"/>
                <a:gd name="connsiteX51" fmla="*/ 1229868 w 5114450"/>
                <a:gd name="connsiteY51" fmla="*/ 0 h 2777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114450" h="2777109">
                  <a:moveTo>
                    <a:pt x="5080826" y="664559"/>
                  </a:moveTo>
                  <a:lnTo>
                    <a:pt x="5114450" y="952786"/>
                  </a:lnTo>
                  <a:lnTo>
                    <a:pt x="4924234" y="952786"/>
                  </a:lnTo>
                  <a:cubicBezTo>
                    <a:pt x="4924234" y="952786"/>
                    <a:pt x="4911662" y="812292"/>
                    <a:pt x="4911662" y="812292"/>
                  </a:cubicBezTo>
                  <a:lnTo>
                    <a:pt x="4562570" y="812292"/>
                  </a:lnTo>
                  <a:cubicBezTo>
                    <a:pt x="4448746" y="938022"/>
                    <a:pt x="4354162" y="972026"/>
                    <a:pt x="4196906" y="972026"/>
                  </a:cubicBezTo>
                  <a:cubicBezTo>
                    <a:pt x="4140136" y="972026"/>
                    <a:pt x="4086892" y="965549"/>
                    <a:pt x="4047362" y="952786"/>
                  </a:cubicBezTo>
                  <a:cubicBezTo>
                    <a:pt x="4047362" y="952786"/>
                    <a:pt x="4500562" y="719233"/>
                    <a:pt x="5080826" y="664559"/>
                  </a:cubicBezTo>
                  <a:close/>
                  <a:moveTo>
                    <a:pt x="4833462" y="250221"/>
                  </a:moveTo>
                  <a:lnTo>
                    <a:pt x="5031866" y="250221"/>
                  </a:lnTo>
                  <a:lnTo>
                    <a:pt x="5076634" y="629697"/>
                  </a:lnTo>
                  <a:cubicBezTo>
                    <a:pt x="5016626" y="636079"/>
                    <a:pt x="4955094" y="641127"/>
                    <a:pt x="4896516" y="650176"/>
                  </a:cubicBezTo>
                  <a:lnTo>
                    <a:pt x="4876418" y="423767"/>
                  </a:lnTo>
                  <a:lnTo>
                    <a:pt x="4658010" y="693610"/>
                  </a:lnTo>
                  <a:lnTo>
                    <a:pt x="4657914" y="693610"/>
                  </a:lnTo>
                  <a:cubicBezTo>
                    <a:pt x="4574094" y="712470"/>
                    <a:pt x="4492274" y="734282"/>
                    <a:pt x="4412456" y="758856"/>
                  </a:cubicBezTo>
                  <a:cubicBezTo>
                    <a:pt x="4412456" y="758856"/>
                    <a:pt x="4833462" y="250221"/>
                    <a:pt x="4833462" y="250221"/>
                  </a:cubicBezTo>
                  <a:close/>
                  <a:moveTo>
                    <a:pt x="4326922" y="232600"/>
                  </a:moveTo>
                  <a:cubicBezTo>
                    <a:pt x="4449222" y="232600"/>
                    <a:pt x="4548090" y="269271"/>
                    <a:pt x="4614670" y="329279"/>
                  </a:cubicBezTo>
                  <a:lnTo>
                    <a:pt x="4508658" y="460438"/>
                  </a:lnTo>
                  <a:lnTo>
                    <a:pt x="4508658" y="460533"/>
                  </a:lnTo>
                  <a:cubicBezTo>
                    <a:pt x="4467130" y="414051"/>
                    <a:pt x="4383498" y="376999"/>
                    <a:pt x="4299298" y="376999"/>
                  </a:cubicBezTo>
                  <a:cubicBezTo>
                    <a:pt x="4128706" y="376999"/>
                    <a:pt x="4021930" y="498538"/>
                    <a:pt x="4010024" y="619887"/>
                  </a:cubicBezTo>
                  <a:cubicBezTo>
                    <a:pt x="3999928" y="723042"/>
                    <a:pt x="4035838" y="785241"/>
                    <a:pt x="4113466" y="811911"/>
                  </a:cubicBezTo>
                  <a:cubicBezTo>
                    <a:pt x="4156518" y="822769"/>
                    <a:pt x="4180902" y="825246"/>
                    <a:pt x="4215670" y="826484"/>
                  </a:cubicBezTo>
                  <a:cubicBezTo>
                    <a:pt x="4030408" y="898017"/>
                    <a:pt x="3928300" y="952881"/>
                    <a:pt x="3928300" y="952881"/>
                  </a:cubicBezTo>
                  <a:lnTo>
                    <a:pt x="3206400" y="952881"/>
                  </a:lnTo>
                  <a:cubicBezTo>
                    <a:pt x="3206400" y="952881"/>
                    <a:pt x="3454336" y="250317"/>
                    <a:pt x="3454336" y="250317"/>
                  </a:cubicBezTo>
                  <a:lnTo>
                    <a:pt x="3987164" y="250317"/>
                  </a:lnTo>
                  <a:cubicBezTo>
                    <a:pt x="3987164" y="250317"/>
                    <a:pt x="3871626" y="390810"/>
                    <a:pt x="3871626" y="390810"/>
                  </a:cubicBezTo>
                  <a:lnTo>
                    <a:pt x="3587590" y="390810"/>
                  </a:lnTo>
                  <a:cubicBezTo>
                    <a:pt x="3587590" y="390810"/>
                    <a:pt x="3544156" y="513683"/>
                    <a:pt x="3544156" y="513683"/>
                  </a:cubicBezTo>
                  <a:lnTo>
                    <a:pt x="3770470" y="513683"/>
                  </a:lnTo>
                  <a:cubicBezTo>
                    <a:pt x="3770470" y="513683"/>
                    <a:pt x="3655122" y="653796"/>
                    <a:pt x="3655122" y="653796"/>
                  </a:cubicBezTo>
                  <a:lnTo>
                    <a:pt x="3494722" y="653796"/>
                  </a:lnTo>
                  <a:cubicBezTo>
                    <a:pt x="3494722" y="653796"/>
                    <a:pt x="3438810" y="812101"/>
                    <a:pt x="3438810" y="812101"/>
                  </a:cubicBezTo>
                  <a:lnTo>
                    <a:pt x="3873530" y="812101"/>
                  </a:lnTo>
                  <a:cubicBezTo>
                    <a:pt x="3837336" y="752284"/>
                    <a:pt x="3826192" y="691610"/>
                    <a:pt x="3829430" y="629793"/>
                  </a:cubicBezTo>
                  <a:cubicBezTo>
                    <a:pt x="3840290" y="425481"/>
                    <a:pt x="4007454" y="232600"/>
                    <a:pt x="4326922" y="232600"/>
                  </a:cubicBezTo>
                  <a:close/>
                  <a:moveTo>
                    <a:pt x="1567529" y="0"/>
                  </a:moveTo>
                  <a:cubicBezTo>
                    <a:pt x="2260473" y="83344"/>
                    <a:pt x="2797397" y="673227"/>
                    <a:pt x="2797397" y="1388555"/>
                  </a:cubicBezTo>
                  <a:cubicBezTo>
                    <a:pt x="2797397" y="2103882"/>
                    <a:pt x="2260378" y="2693765"/>
                    <a:pt x="1567529" y="2777109"/>
                  </a:cubicBezTo>
                  <a:lnTo>
                    <a:pt x="1567529" y="2003965"/>
                  </a:lnTo>
                  <a:cubicBezTo>
                    <a:pt x="1837754" y="1929765"/>
                    <a:pt x="2036921" y="1682020"/>
                    <a:pt x="2036921" y="1388555"/>
                  </a:cubicBezTo>
                  <a:cubicBezTo>
                    <a:pt x="2036921" y="1095089"/>
                    <a:pt x="1837754" y="847344"/>
                    <a:pt x="1567529" y="773144"/>
                  </a:cubicBezTo>
                  <a:close/>
                  <a:moveTo>
                    <a:pt x="1229868" y="0"/>
                  </a:moveTo>
                  <a:lnTo>
                    <a:pt x="1229868" y="773144"/>
                  </a:lnTo>
                  <a:cubicBezTo>
                    <a:pt x="959644" y="847344"/>
                    <a:pt x="760476" y="1095089"/>
                    <a:pt x="760476" y="1388555"/>
                  </a:cubicBezTo>
                  <a:cubicBezTo>
                    <a:pt x="760476" y="1682020"/>
                    <a:pt x="959644" y="1929765"/>
                    <a:pt x="1229868" y="2003965"/>
                  </a:cubicBezTo>
                  <a:lnTo>
                    <a:pt x="1229868" y="2777109"/>
                  </a:lnTo>
                  <a:cubicBezTo>
                    <a:pt x="537020" y="2693765"/>
                    <a:pt x="0" y="2103882"/>
                    <a:pt x="0" y="1388555"/>
                  </a:cubicBezTo>
                  <a:cubicBezTo>
                    <a:pt x="0" y="673227"/>
                    <a:pt x="537020" y="83344"/>
                    <a:pt x="1229868" y="0"/>
                  </a:cubicBezTo>
                  <a:close/>
                </a:path>
              </a:pathLst>
            </a:custGeom>
            <a:solidFill>
              <a:srgbClr val="96F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F748AF8-4448-81DE-F0BA-A520C2A36C79}"/>
                </a:ext>
              </a:extLst>
            </p:cNvPr>
            <p:cNvSpPr/>
            <p:nvPr/>
          </p:nvSpPr>
          <p:spPr>
            <a:xfrm>
              <a:off x="16955738" y="1931294"/>
              <a:ext cx="8071103" cy="1359693"/>
            </a:xfrm>
            <a:custGeom>
              <a:avLst/>
              <a:gdLst>
                <a:gd name="connsiteX0" fmla="*/ 0 w 8071103"/>
                <a:gd name="connsiteY0" fmla="*/ 1074230 h 1359693"/>
                <a:gd name="connsiteX1" fmla="*/ 0 w 8071103"/>
                <a:gd name="connsiteY1" fmla="*/ 283559 h 1359693"/>
                <a:gd name="connsiteX2" fmla="*/ 308038 w 8071103"/>
                <a:gd name="connsiteY2" fmla="*/ 0 h 1359693"/>
                <a:gd name="connsiteX3" fmla="*/ 616077 w 8071103"/>
                <a:gd name="connsiteY3" fmla="*/ 283559 h 1359693"/>
                <a:gd name="connsiteX4" fmla="*/ 616077 w 8071103"/>
                <a:gd name="connsiteY4" fmla="*/ 557784 h 1359693"/>
                <a:gd name="connsiteX5" fmla="*/ 379476 w 8071103"/>
                <a:gd name="connsiteY5" fmla="*/ 557784 h 1359693"/>
                <a:gd name="connsiteX6" fmla="*/ 379476 w 8071103"/>
                <a:gd name="connsiteY6" fmla="*/ 285464 h 1359693"/>
                <a:gd name="connsiteX7" fmla="*/ 308134 w 8071103"/>
                <a:gd name="connsiteY7" fmla="*/ 215932 h 1359693"/>
                <a:gd name="connsiteX8" fmla="*/ 236791 w 8071103"/>
                <a:gd name="connsiteY8" fmla="*/ 285464 h 1359693"/>
                <a:gd name="connsiteX9" fmla="*/ 236791 w 8071103"/>
                <a:gd name="connsiteY9" fmla="*/ 1074230 h 1359693"/>
                <a:gd name="connsiteX10" fmla="*/ 308134 w 8071103"/>
                <a:gd name="connsiteY10" fmla="*/ 1143667 h 1359693"/>
                <a:gd name="connsiteX11" fmla="*/ 379476 w 8071103"/>
                <a:gd name="connsiteY11" fmla="*/ 1074230 h 1359693"/>
                <a:gd name="connsiteX12" fmla="*/ 379476 w 8071103"/>
                <a:gd name="connsiteY12" fmla="*/ 783146 h 1359693"/>
                <a:gd name="connsiteX13" fmla="*/ 616077 w 8071103"/>
                <a:gd name="connsiteY13" fmla="*/ 783146 h 1359693"/>
                <a:gd name="connsiteX14" fmla="*/ 616077 w 8071103"/>
                <a:gd name="connsiteY14" fmla="*/ 1074230 h 1359693"/>
                <a:gd name="connsiteX15" fmla="*/ 308038 w 8071103"/>
                <a:gd name="connsiteY15" fmla="*/ 1359694 h 1359693"/>
                <a:gd name="connsiteX16" fmla="*/ 0 w 8071103"/>
                <a:gd name="connsiteY16" fmla="*/ 1074230 h 1359693"/>
                <a:gd name="connsiteX17" fmla="*/ 762476 w 8071103"/>
                <a:gd name="connsiteY17" fmla="*/ 22574 h 1359693"/>
                <a:gd name="connsiteX18" fmla="*/ 999077 w 8071103"/>
                <a:gd name="connsiteY18" fmla="*/ 22574 h 1359693"/>
                <a:gd name="connsiteX19" fmla="*/ 999077 w 8071103"/>
                <a:gd name="connsiteY19" fmla="*/ 1121283 h 1359693"/>
                <a:gd name="connsiteX20" fmla="*/ 1198150 w 8071103"/>
                <a:gd name="connsiteY20" fmla="*/ 1121283 h 1359693"/>
                <a:gd name="connsiteX21" fmla="*/ 1198150 w 8071103"/>
                <a:gd name="connsiteY21" fmla="*/ 1337215 h 1359693"/>
                <a:gd name="connsiteX22" fmla="*/ 762476 w 8071103"/>
                <a:gd name="connsiteY22" fmla="*/ 1337215 h 1359693"/>
                <a:gd name="connsiteX23" fmla="*/ 762476 w 8071103"/>
                <a:gd name="connsiteY23" fmla="*/ 22574 h 1359693"/>
                <a:gd name="connsiteX24" fmla="*/ 1293971 w 8071103"/>
                <a:gd name="connsiteY24" fmla="*/ 1074230 h 1359693"/>
                <a:gd name="connsiteX25" fmla="*/ 1293971 w 8071103"/>
                <a:gd name="connsiteY25" fmla="*/ 22479 h 1359693"/>
                <a:gd name="connsiteX26" fmla="*/ 1530572 w 8071103"/>
                <a:gd name="connsiteY26" fmla="*/ 22479 h 1359693"/>
                <a:gd name="connsiteX27" fmla="*/ 1530572 w 8071103"/>
                <a:gd name="connsiteY27" fmla="*/ 1074230 h 1359693"/>
                <a:gd name="connsiteX28" fmla="*/ 1600105 w 8071103"/>
                <a:gd name="connsiteY28" fmla="*/ 1143667 h 1359693"/>
                <a:gd name="connsiteX29" fmla="*/ 1671447 w 8071103"/>
                <a:gd name="connsiteY29" fmla="*/ 1074230 h 1359693"/>
                <a:gd name="connsiteX30" fmla="*/ 1671447 w 8071103"/>
                <a:gd name="connsiteY30" fmla="*/ 22479 h 1359693"/>
                <a:gd name="connsiteX31" fmla="*/ 1908048 w 8071103"/>
                <a:gd name="connsiteY31" fmla="*/ 22479 h 1359693"/>
                <a:gd name="connsiteX32" fmla="*/ 1908048 w 8071103"/>
                <a:gd name="connsiteY32" fmla="*/ 1074230 h 1359693"/>
                <a:gd name="connsiteX33" fmla="*/ 1600009 w 8071103"/>
                <a:gd name="connsiteY33" fmla="*/ 1359694 h 1359693"/>
                <a:gd name="connsiteX34" fmla="*/ 1293876 w 8071103"/>
                <a:gd name="connsiteY34" fmla="*/ 1074230 h 1359693"/>
                <a:gd name="connsiteX35" fmla="*/ 2060162 w 8071103"/>
                <a:gd name="connsiteY35" fmla="*/ 22574 h 1359693"/>
                <a:gd name="connsiteX36" fmla="*/ 2394490 w 8071103"/>
                <a:gd name="connsiteY36" fmla="*/ 22574 h 1359693"/>
                <a:gd name="connsiteX37" fmla="*/ 2674335 w 8071103"/>
                <a:gd name="connsiteY37" fmla="*/ 279844 h 1359693"/>
                <a:gd name="connsiteX38" fmla="*/ 2674335 w 8071103"/>
                <a:gd name="connsiteY38" fmla="*/ 458248 h 1359693"/>
                <a:gd name="connsiteX39" fmla="*/ 2565369 w 8071103"/>
                <a:gd name="connsiteY39" fmla="*/ 651701 h 1359693"/>
                <a:gd name="connsiteX40" fmla="*/ 2565369 w 8071103"/>
                <a:gd name="connsiteY40" fmla="*/ 662940 h 1359693"/>
                <a:gd name="connsiteX41" fmla="*/ 2685574 w 8071103"/>
                <a:gd name="connsiteY41" fmla="*/ 865727 h 1359693"/>
                <a:gd name="connsiteX42" fmla="*/ 2685574 w 8071103"/>
                <a:gd name="connsiteY42" fmla="*/ 1079849 h 1359693"/>
                <a:gd name="connsiteX43" fmla="*/ 2405729 w 8071103"/>
                <a:gd name="connsiteY43" fmla="*/ 1337120 h 1359693"/>
                <a:gd name="connsiteX44" fmla="*/ 2060162 w 8071103"/>
                <a:gd name="connsiteY44" fmla="*/ 1337120 h 1359693"/>
                <a:gd name="connsiteX45" fmla="*/ 2060162 w 8071103"/>
                <a:gd name="connsiteY45" fmla="*/ 22574 h 1359693"/>
                <a:gd name="connsiteX46" fmla="*/ 2296763 w 8071103"/>
                <a:gd name="connsiteY46" fmla="*/ 238506 h 1359693"/>
                <a:gd name="connsiteX47" fmla="*/ 2296763 w 8071103"/>
                <a:gd name="connsiteY47" fmla="*/ 569024 h 1359693"/>
                <a:gd name="connsiteX48" fmla="*/ 2366296 w 8071103"/>
                <a:gd name="connsiteY48" fmla="*/ 569024 h 1359693"/>
                <a:gd name="connsiteX49" fmla="*/ 2437638 w 8071103"/>
                <a:gd name="connsiteY49" fmla="*/ 497681 h 1359693"/>
                <a:gd name="connsiteX50" fmla="*/ 2437638 w 8071103"/>
                <a:gd name="connsiteY50" fmla="*/ 307943 h 1359693"/>
                <a:gd name="connsiteX51" fmla="*/ 2366296 w 8071103"/>
                <a:gd name="connsiteY51" fmla="*/ 238506 h 1359693"/>
                <a:gd name="connsiteX52" fmla="*/ 2296763 w 8071103"/>
                <a:gd name="connsiteY52" fmla="*/ 238506 h 1359693"/>
                <a:gd name="connsiteX53" fmla="*/ 2296763 w 8071103"/>
                <a:gd name="connsiteY53" fmla="*/ 770001 h 1359693"/>
                <a:gd name="connsiteX54" fmla="*/ 2296763 w 8071103"/>
                <a:gd name="connsiteY54" fmla="*/ 1121188 h 1359693"/>
                <a:gd name="connsiteX55" fmla="*/ 2379440 w 8071103"/>
                <a:gd name="connsiteY55" fmla="*/ 1121188 h 1359693"/>
                <a:gd name="connsiteX56" fmla="*/ 2448973 w 8071103"/>
                <a:gd name="connsiteY56" fmla="*/ 1051655 h 1359693"/>
                <a:gd name="connsiteX57" fmla="*/ 2448973 w 8071103"/>
                <a:gd name="connsiteY57" fmla="*/ 841343 h 1359693"/>
                <a:gd name="connsiteX58" fmla="*/ 2379440 w 8071103"/>
                <a:gd name="connsiteY58" fmla="*/ 770001 h 1359693"/>
                <a:gd name="connsiteX59" fmla="*/ 2296763 w 8071103"/>
                <a:gd name="connsiteY59" fmla="*/ 770001 h 1359693"/>
                <a:gd name="connsiteX60" fmla="*/ 3094482 w 8071103"/>
                <a:gd name="connsiteY60" fmla="*/ 1074230 h 1359693"/>
                <a:gd name="connsiteX61" fmla="*/ 3094482 w 8071103"/>
                <a:gd name="connsiteY61" fmla="*/ 283559 h 1359693"/>
                <a:gd name="connsiteX62" fmla="*/ 3402520 w 8071103"/>
                <a:gd name="connsiteY62" fmla="*/ 0 h 1359693"/>
                <a:gd name="connsiteX63" fmla="*/ 3710559 w 8071103"/>
                <a:gd name="connsiteY63" fmla="*/ 283559 h 1359693"/>
                <a:gd name="connsiteX64" fmla="*/ 3710559 w 8071103"/>
                <a:gd name="connsiteY64" fmla="*/ 557784 h 1359693"/>
                <a:gd name="connsiteX65" fmla="*/ 3473958 w 8071103"/>
                <a:gd name="connsiteY65" fmla="*/ 557784 h 1359693"/>
                <a:gd name="connsiteX66" fmla="*/ 3473958 w 8071103"/>
                <a:gd name="connsiteY66" fmla="*/ 285464 h 1359693"/>
                <a:gd name="connsiteX67" fmla="*/ 3402616 w 8071103"/>
                <a:gd name="connsiteY67" fmla="*/ 215932 h 1359693"/>
                <a:gd name="connsiteX68" fmla="*/ 3331274 w 8071103"/>
                <a:gd name="connsiteY68" fmla="*/ 285464 h 1359693"/>
                <a:gd name="connsiteX69" fmla="*/ 3331274 w 8071103"/>
                <a:gd name="connsiteY69" fmla="*/ 1074230 h 1359693"/>
                <a:gd name="connsiteX70" fmla="*/ 3402616 w 8071103"/>
                <a:gd name="connsiteY70" fmla="*/ 1143667 h 1359693"/>
                <a:gd name="connsiteX71" fmla="*/ 3473958 w 8071103"/>
                <a:gd name="connsiteY71" fmla="*/ 1074230 h 1359693"/>
                <a:gd name="connsiteX72" fmla="*/ 3473958 w 8071103"/>
                <a:gd name="connsiteY72" fmla="*/ 783146 h 1359693"/>
                <a:gd name="connsiteX73" fmla="*/ 3710559 w 8071103"/>
                <a:gd name="connsiteY73" fmla="*/ 783146 h 1359693"/>
                <a:gd name="connsiteX74" fmla="*/ 3710559 w 8071103"/>
                <a:gd name="connsiteY74" fmla="*/ 1074230 h 1359693"/>
                <a:gd name="connsiteX75" fmla="*/ 3402520 w 8071103"/>
                <a:gd name="connsiteY75" fmla="*/ 1359694 h 1359693"/>
                <a:gd name="connsiteX76" fmla="*/ 3094482 w 8071103"/>
                <a:gd name="connsiteY76" fmla="*/ 1074230 h 1359693"/>
                <a:gd name="connsiteX77" fmla="*/ 3849434 w 8071103"/>
                <a:gd name="connsiteY77" fmla="*/ 1074230 h 1359693"/>
                <a:gd name="connsiteX78" fmla="*/ 3849434 w 8071103"/>
                <a:gd name="connsiteY78" fmla="*/ 283559 h 1359693"/>
                <a:gd name="connsiteX79" fmla="*/ 4157472 w 8071103"/>
                <a:gd name="connsiteY79" fmla="*/ 0 h 1359693"/>
                <a:gd name="connsiteX80" fmla="*/ 4465511 w 8071103"/>
                <a:gd name="connsiteY80" fmla="*/ 283559 h 1359693"/>
                <a:gd name="connsiteX81" fmla="*/ 4465511 w 8071103"/>
                <a:gd name="connsiteY81" fmla="*/ 1074230 h 1359693"/>
                <a:gd name="connsiteX82" fmla="*/ 4157472 w 8071103"/>
                <a:gd name="connsiteY82" fmla="*/ 1359694 h 1359693"/>
                <a:gd name="connsiteX83" fmla="*/ 3849434 w 8071103"/>
                <a:gd name="connsiteY83" fmla="*/ 1074230 h 1359693"/>
                <a:gd name="connsiteX84" fmla="*/ 4228814 w 8071103"/>
                <a:gd name="connsiteY84" fmla="*/ 1074230 h 1359693"/>
                <a:gd name="connsiteX85" fmla="*/ 4228814 w 8071103"/>
                <a:gd name="connsiteY85" fmla="*/ 285464 h 1359693"/>
                <a:gd name="connsiteX86" fmla="*/ 4157472 w 8071103"/>
                <a:gd name="connsiteY86" fmla="*/ 215932 h 1359693"/>
                <a:gd name="connsiteX87" fmla="*/ 4086130 w 8071103"/>
                <a:gd name="connsiteY87" fmla="*/ 285464 h 1359693"/>
                <a:gd name="connsiteX88" fmla="*/ 4086130 w 8071103"/>
                <a:gd name="connsiteY88" fmla="*/ 1074230 h 1359693"/>
                <a:gd name="connsiteX89" fmla="*/ 4157472 w 8071103"/>
                <a:gd name="connsiteY89" fmla="*/ 1143667 h 1359693"/>
                <a:gd name="connsiteX90" fmla="*/ 4228814 w 8071103"/>
                <a:gd name="connsiteY90" fmla="*/ 1074230 h 1359693"/>
                <a:gd name="connsiteX91" fmla="*/ 4613720 w 8071103"/>
                <a:gd name="connsiteY91" fmla="*/ 22574 h 1359693"/>
                <a:gd name="connsiteX92" fmla="*/ 4886039 w 8071103"/>
                <a:gd name="connsiteY92" fmla="*/ 22574 h 1359693"/>
                <a:gd name="connsiteX93" fmla="*/ 5021294 w 8071103"/>
                <a:gd name="connsiteY93" fmla="*/ 646081 h 1359693"/>
                <a:gd name="connsiteX94" fmla="*/ 5040059 w 8071103"/>
                <a:gd name="connsiteY94" fmla="*/ 811340 h 1359693"/>
                <a:gd name="connsiteX95" fmla="*/ 5071967 w 8071103"/>
                <a:gd name="connsiteY95" fmla="*/ 811340 h 1359693"/>
                <a:gd name="connsiteX96" fmla="*/ 5051298 w 8071103"/>
                <a:gd name="connsiteY96" fmla="*/ 646081 h 1359693"/>
                <a:gd name="connsiteX97" fmla="*/ 5051298 w 8071103"/>
                <a:gd name="connsiteY97" fmla="*/ 22574 h 1359693"/>
                <a:gd name="connsiteX98" fmla="*/ 5287899 w 8071103"/>
                <a:gd name="connsiteY98" fmla="*/ 22574 h 1359693"/>
                <a:gd name="connsiteX99" fmla="*/ 5287899 w 8071103"/>
                <a:gd name="connsiteY99" fmla="*/ 1337215 h 1359693"/>
                <a:gd name="connsiteX100" fmla="*/ 5017485 w 8071103"/>
                <a:gd name="connsiteY100" fmla="*/ 1337215 h 1359693"/>
                <a:gd name="connsiteX101" fmla="*/ 4882230 w 8071103"/>
                <a:gd name="connsiteY101" fmla="*/ 713708 h 1359693"/>
                <a:gd name="connsiteX102" fmla="*/ 4861560 w 8071103"/>
                <a:gd name="connsiteY102" fmla="*/ 548450 h 1359693"/>
                <a:gd name="connsiteX103" fmla="*/ 4829651 w 8071103"/>
                <a:gd name="connsiteY103" fmla="*/ 548450 h 1359693"/>
                <a:gd name="connsiteX104" fmla="*/ 4850320 w 8071103"/>
                <a:gd name="connsiteY104" fmla="*/ 713708 h 1359693"/>
                <a:gd name="connsiteX105" fmla="*/ 4850320 w 8071103"/>
                <a:gd name="connsiteY105" fmla="*/ 1337215 h 1359693"/>
                <a:gd name="connsiteX106" fmla="*/ 4613720 w 8071103"/>
                <a:gd name="connsiteY106" fmla="*/ 1337215 h 1359693"/>
                <a:gd name="connsiteX107" fmla="*/ 4613720 w 8071103"/>
                <a:gd name="connsiteY107" fmla="*/ 22574 h 1359693"/>
                <a:gd name="connsiteX108" fmla="*/ 5443823 w 8071103"/>
                <a:gd name="connsiteY108" fmla="*/ 22574 h 1359693"/>
                <a:gd name="connsiteX109" fmla="*/ 5716143 w 8071103"/>
                <a:gd name="connsiteY109" fmla="*/ 22574 h 1359693"/>
                <a:gd name="connsiteX110" fmla="*/ 5851398 w 8071103"/>
                <a:gd name="connsiteY110" fmla="*/ 646081 h 1359693"/>
                <a:gd name="connsiteX111" fmla="*/ 5870162 w 8071103"/>
                <a:gd name="connsiteY111" fmla="*/ 811340 h 1359693"/>
                <a:gd name="connsiteX112" fmla="*/ 5902071 w 8071103"/>
                <a:gd name="connsiteY112" fmla="*/ 811340 h 1359693"/>
                <a:gd name="connsiteX113" fmla="*/ 5881402 w 8071103"/>
                <a:gd name="connsiteY113" fmla="*/ 646081 h 1359693"/>
                <a:gd name="connsiteX114" fmla="*/ 5881402 w 8071103"/>
                <a:gd name="connsiteY114" fmla="*/ 22574 h 1359693"/>
                <a:gd name="connsiteX115" fmla="*/ 6118003 w 8071103"/>
                <a:gd name="connsiteY115" fmla="*/ 22574 h 1359693"/>
                <a:gd name="connsiteX116" fmla="*/ 6118003 w 8071103"/>
                <a:gd name="connsiteY116" fmla="*/ 1337215 h 1359693"/>
                <a:gd name="connsiteX117" fmla="*/ 5847588 w 8071103"/>
                <a:gd name="connsiteY117" fmla="*/ 1337215 h 1359693"/>
                <a:gd name="connsiteX118" fmla="*/ 5712333 w 8071103"/>
                <a:gd name="connsiteY118" fmla="*/ 713708 h 1359693"/>
                <a:gd name="connsiteX119" fmla="*/ 5691664 w 8071103"/>
                <a:gd name="connsiteY119" fmla="*/ 548450 h 1359693"/>
                <a:gd name="connsiteX120" fmla="*/ 5659755 w 8071103"/>
                <a:gd name="connsiteY120" fmla="*/ 548450 h 1359693"/>
                <a:gd name="connsiteX121" fmla="*/ 5680424 w 8071103"/>
                <a:gd name="connsiteY121" fmla="*/ 713708 h 1359693"/>
                <a:gd name="connsiteX122" fmla="*/ 5680424 w 8071103"/>
                <a:gd name="connsiteY122" fmla="*/ 1337215 h 1359693"/>
                <a:gd name="connsiteX123" fmla="*/ 5443823 w 8071103"/>
                <a:gd name="connsiteY123" fmla="*/ 1337215 h 1359693"/>
                <a:gd name="connsiteX124" fmla="*/ 5443823 w 8071103"/>
                <a:gd name="connsiteY124" fmla="*/ 22574 h 1359693"/>
                <a:gd name="connsiteX125" fmla="*/ 6273832 w 8071103"/>
                <a:gd name="connsiteY125" fmla="*/ 22574 h 1359693"/>
                <a:gd name="connsiteX126" fmla="*/ 6720840 w 8071103"/>
                <a:gd name="connsiteY126" fmla="*/ 22574 h 1359693"/>
                <a:gd name="connsiteX127" fmla="*/ 6720840 w 8071103"/>
                <a:gd name="connsiteY127" fmla="*/ 238601 h 1359693"/>
                <a:gd name="connsiteX128" fmla="*/ 6510528 w 8071103"/>
                <a:gd name="connsiteY128" fmla="*/ 238601 h 1359693"/>
                <a:gd name="connsiteX129" fmla="*/ 6510528 w 8071103"/>
                <a:gd name="connsiteY129" fmla="*/ 565404 h 1359693"/>
                <a:gd name="connsiteX130" fmla="*/ 6700172 w 8071103"/>
                <a:gd name="connsiteY130" fmla="*/ 565404 h 1359693"/>
                <a:gd name="connsiteX131" fmla="*/ 6700172 w 8071103"/>
                <a:gd name="connsiteY131" fmla="*/ 775716 h 1359693"/>
                <a:gd name="connsiteX132" fmla="*/ 6510528 w 8071103"/>
                <a:gd name="connsiteY132" fmla="*/ 775716 h 1359693"/>
                <a:gd name="connsiteX133" fmla="*/ 6510528 w 8071103"/>
                <a:gd name="connsiteY133" fmla="*/ 1121283 h 1359693"/>
                <a:gd name="connsiteX134" fmla="*/ 6720840 w 8071103"/>
                <a:gd name="connsiteY134" fmla="*/ 1121283 h 1359693"/>
                <a:gd name="connsiteX135" fmla="*/ 6720840 w 8071103"/>
                <a:gd name="connsiteY135" fmla="*/ 1337215 h 1359693"/>
                <a:gd name="connsiteX136" fmla="*/ 6273832 w 8071103"/>
                <a:gd name="connsiteY136" fmla="*/ 1337215 h 1359693"/>
                <a:gd name="connsiteX137" fmla="*/ 6273832 w 8071103"/>
                <a:gd name="connsiteY137" fmla="*/ 22574 h 1359693"/>
                <a:gd name="connsiteX138" fmla="*/ 6846665 w 8071103"/>
                <a:gd name="connsiteY138" fmla="*/ 1074230 h 1359693"/>
                <a:gd name="connsiteX139" fmla="*/ 6846665 w 8071103"/>
                <a:gd name="connsiteY139" fmla="*/ 283559 h 1359693"/>
                <a:gd name="connsiteX140" fmla="*/ 7154704 w 8071103"/>
                <a:gd name="connsiteY140" fmla="*/ 0 h 1359693"/>
                <a:gd name="connsiteX141" fmla="*/ 7462742 w 8071103"/>
                <a:gd name="connsiteY141" fmla="*/ 283559 h 1359693"/>
                <a:gd name="connsiteX142" fmla="*/ 7462742 w 8071103"/>
                <a:gd name="connsiteY142" fmla="*/ 557784 h 1359693"/>
                <a:gd name="connsiteX143" fmla="*/ 7226142 w 8071103"/>
                <a:gd name="connsiteY143" fmla="*/ 557784 h 1359693"/>
                <a:gd name="connsiteX144" fmla="*/ 7226142 w 8071103"/>
                <a:gd name="connsiteY144" fmla="*/ 285464 h 1359693"/>
                <a:gd name="connsiteX145" fmla="*/ 7154800 w 8071103"/>
                <a:gd name="connsiteY145" fmla="*/ 215932 h 1359693"/>
                <a:gd name="connsiteX146" fmla="*/ 7083457 w 8071103"/>
                <a:gd name="connsiteY146" fmla="*/ 285464 h 1359693"/>
                <a:gd name="connsiteX147" fmla="*/ 7083457 w 8071103"/>
                <a:gd name="connsiteY147" fmla="*/ 1074230 h 1359693"/>
                <a:gd name="connsiteX148" fmla="*/ 7154800 w 8071103"/>
                <a:gd name="connsiteY148" fmla="*/ 1143667 h 1359693"/>
                <a:gd name="connsiteX149" fmla="*/ 7226142 w 8071103"/>
                <a:gd name="connsiteY149" fmla="*/ 1074230 h 1359693"/>
                <a:gd name="connsiteX150" fmla="*/ 7226142 w 8071103"/>
                <a:gd name="connsiteY150" fmla="*/ 783146 h 1359693"/>
                <a:gd name="connsiteX151" fmla="*/ 7462742 w 8071103"/>
                <a:gd name="connsiteY151" fmla="*/ 783146 h 1359693"/>
                <a:gd name="connsiteX152" fmla="*/ 7462742 w 8071103"/>
                <a:gd name="connsiteY152" fmla="*/ 1074230 h 1359693"/>
                <a:gd name="connsiteX153" fmla="*/ 7154704 w 8071103"/>
                <a:gd name="connsiteY153" fmla="*/ 1359694 h 1359693"/>
                <a:gd name="connsiteX154" fmla="*/ 6846665 w 8071103"/>
                <a:gd name="connsiteY154" fmla="*/ 1074230 h 1359693"/>
                <a:gd name="connsiteX155" fmla="*/ 7699248 w 8071103"/>
                <a:gd name="connsiteY155" fmla="*/ 238506 h 1359693"/>
                <a:gd name="connsiteX156" fmla="*/ 7563993 w 8071103"/>
                <a:gd name="connsiteY156" fmla="*/ 238506 h 1359693"/>
                <a:gd name="connsiteX157" fmla="*/ 7563993 w 8071103"/>
                <a:gd name="connsiteY157" fmla="*/ 22479 h 1359693"/>
                <a:gd name="connsiteX158" fmla="*/ 8071104 w 8071103"/>
                <a:gd name="connsiteY158" fmla="*/ 22479 h 1359693"/>
                <a:gd name="connsiteX159" fmla="*/ 8071104 w 8071103"/>
                <a:gd name="connsiteY159" fmla="*/ 238506 h 1359693"/>
                <a:gd name="connsiteX160" fmla="*/ 7935850 w 8071103"/>
                <a:gd name="connsiteY160" fmla="*/ 238506 h 1359693"/>
                <a:gd name="connsiteX161" fmla="*/ 7935850 w 8071103"/>
                <a:gd name="connsiteY161" fmla="*/ 1337120 h 1359693"/>
                <a:gd name="connsiteX162" fmla="*/ 7699248 w 8071103"/>
                <a:gd name="connsiteY162" fmla="*/ 1337120 h 1359693"/>
                <a:gd name="connsiteX163" fmla="*/ 7699248 w 8071103"/>
                <a:gd name="connsiteY163" fmla="*/ 238506 h 1359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8071103" h="1359693">
                  <a:moveTo>
                    <a:pt x="0" y="1074230"/>
                  </a:moveTo>
                  <a:lnTo>
                    <a:pt x="0" y="283559"/>
                  </a:lnTo>
                  <a:cubicBezTo>
                    <a:pt x="0" y="114490"/>
                    <a:pt x="123920" y="0"/>
                    <a:pt x="308038" y="0"/>
                  </a:cubicBezTo>
                  <a:cubicBezTo>
                    <a:pt x="492157" y="0"/>
                    <a:pt x="616077" y="114586"/>
                    <a:pt x="616077" y="283559"/>
                  </a:cubicBezTo>
                  <a:lnTo>
                    <a:pt x="616077" y="557784"/>
                  </a:lnTo>
                  <a:lnTo>
                    <a:pt x="379476" y="557784"/>
                  </a:lnTo>
                  <a:lnTo>
                    <a:pt x="379476" y="285464"/>
                  </a:lnTo>
                  <a:cubicBezTo>
                    <a:pt x="379476" y="242316"/>
                    <a:pt x="351282" y="215932"/>
                    <a:pt x="308134" y="215932"/>
                  </a:cubicBezTo>
                  <a:cubicBezTo>
                    <a:pt x="264986" y="215932"/>
                    <a:pt x="236791" y="242221"/>
                    <a:pt x="236791" y="285464"/>
                  </a:cubicBezTo>
                  <a:lnTo>
                    <a:pt x="236791" y="1074230"/>
                  </a:lnTo>
                  <a:cubicBezTo>
                    <a:pt x="236791" y="1117378"/>
                    <a:pt x="264986" y="1143667"/>
                    <a:pt x="308134" y="1143667"/>
                  </a:cubicBezTo>
                  <a:cubicBezTo>
                    <a:pt x="351282" y="1143667"/>
                    <a:pt x="379476" y="1117378"/>
                    <a:pt x="379476" y="1074230"/>
                  </a:cubicBezTo>
                  <a:lnTo>
                    <a:pt x="379476" y="783146"/>
                  </a:lnTo>
                  <a:lnTo>
                    <a:pt x="616077" y="783146"/>
                  </a:lnTo>
                  <a:lnTo>
                    <a:pt x="616077" y="1074230"/>
                  </a:lnTo>
                  <a:cubicBezTo>
                    <a:pt x="616077" y="1245108"/>
                    <a:pt x="492157" y="1359694"/>
                    <a:pt x="308038" y="1359694"/>
                  </a:cubicBezTo>
                  <a:cubicBezTo>
                    <a:pt x="123920" y="1359694"/>
                    <a:pt x="0" y="1245108"/>
                    <a:pt x="0" y="1074230"/>
                  </a:cubicBezTo>
                  <a:close/>
                  <a:moveTo>
                    <a:pt x="762476" y="22574"/>
                  </a:moveTo>
                  <a:lnTo>
                    <a:pt x="999077" y="22574"/>
                  </a:lnTo>
                  <a:lnTo>
                    <a:pt x="999077" y="1121283"/>
                  </a:lnTo>
                  <a:lnTo>
                    <a:pt x="1198150" y="1121283"/>
                  </a:lnTo>
                  <a:lnTo>
                    <a:pt x="1198150" y="1337215"/>
                  </a:lnTo>
                  <a:lnTo>
                    <a:pt x="762476" y="1337215"/>
                  </a:lnTo>
                  <a:lnTo>
                    <a:pt x="762476" y="22574"/>
                  </a:lnTo>
                  <a:close/>
                  <a:moveTo>
                    <a:pt x="1293971" y="1074230"/>
                  </a:moveTo>
                  <a:lnTo>
                    <a:pt x="1293971" y="22479"/>
                  </a:lnTo>
                  <a:lnTo>
                    <a:pt x="1530572" y="22479"/>
                  </a:lnTo>
                  <a:lnTo>
                    <a:pt x="1530572" y="1074230"/>
                  </a:lnTo>
                  <a:cubicBezTo>
                    <a:pt x="1530572" y="1117378"/>
                    <a:pt x="1558766" y="1143667"/>
                    <a:pt x="1600105" y="1143667"/>
                  </a:cubicBezTo>
                  <a:cubicBezTo>
                    <a:pt x="1641443" y="1143667"/>
                    <a:pt x="1671447" y="1117378"/>
                    <a:pt x="1671447" y="1074230"/>
                  </a:cubicBezTo>
                  <a:lnTo>
                    <a:pt x="1671447" y="22479"/>
                  </a:lnTo>
                  <a:lnTo>
                    <a:pt x="1908048" y="22479"/>
                  </a:lnTo>
                  <a:lnTo>
                    <a:pt x="1908048" y="1074230"/>
                  </a:lnTo>
                  <a:cubicBezTo>
                    <a:pt x="1908048" y="1245108"/>
                    <a:pt x="1784128" y="1359694"/>
                    <a:pt x="1600009" y="1359694"/>
                  </a:cubicBezTo>
                  <a:cubicBezTo>
                    <a:pt x="1415891" y="1359694"/>
                    <a:pt x="1293876" y="1245108"/>
                    <a:pt x="1293876" y="1074230"/>
                  </a:cubicBezTo>
                  <a:close/>
                  <a:moveTo>
                    <a:pt x="2060162" y="22574"/>
                  </a:moveTo>
                  <a:lnTo>
                    <a:pt x="2394490" y="22574"/>
                  </a:lnTo>
                  <a:cubicBezTo>
                    <a:pt x="2561654" y="22574"/>
                    <a:pt x="2674335" y="125921"/>
                    <a:pt x="2674335" y="279844"/>
                  </a:cubicBezTo>
                  <a:lnTo>
                    <a:pt x="2674335" y="458248"/>
                  </a:lnTo>
                  <a:cubicBezTo>
                    <a:pt x="2674335" y="537115"/>
                    <a:pt x="2638616" y="617887"/>
                    <a:pt x="2565369" y="651701"/>
                  </a:cubicBezTo>
                  <a:lnTo>
                    <a:pt x="2565369" y="662940"/>
                  </a:lnTo>
                  <a:cubicBezTo>
                    <a:pt x="2644235" y="696754"/>
                    <a:pt x="2685574" y="781240"/>
                    <a:pt x="2685574" y="865727"/>
                  </a:cubicBezTo>
                  <a:lnTo>
                    <a:pt x="2685574" y="1079849"/>
                  </a:lnTo>
                  <a:cubicBezTo>
                    <a:pt x="2685574" y="1233869"/>
                    <a:pt x="2574798" y="1337120"/>
                    <a:pt x="2405729" y="1337120"/>
                  </a:cubicBezTo>
                  <a:lnTo>
                    <a:pt x="2060162" y="1337120"/>
                  </a:lnTo>
                  <a:lnTo>
                    <a:pt x="2060162" y="22574"/>
                  </a:lnTo>
                  <a:close/>
                  <a:moveTo>
                    <a:pt x="2296763" y="238506"/>
                  </a:moveTo>
                  <a:lnTo>
                    <a:pt x="2296763" y="569024"/>
                  </a:lnTo>
                  <a:lnTo>
                    <a:pt x="2366296" y="569024"/>
                  </a:lnTo>
                  <a:cubicBezTo>
                    <a:pt x="2409444" y="569024"/>
                    <a:pt x="2437638" y="540830"/>
                    <a:pt x="2437638" y="497681"/>
                  </a:cubicBezTo>
                  <a:lnTo>
                    <a:pt x="2437638" y="307943"/>
                  </a:lnTo>
                  <a:cubicBezTo>
                    <a:pt x="2437638" y="264795"/>
                    <a:pt x="2409444" y="238506"/>
                    <a:pt x="2366296" y="238506"/>
                  </a:cubicBezTo>
                  <a:lnTo>
                    <a:pt x="2296763" y="238506"/>
                  </a:lnTo>
                  <a:close/>
                  <a:moveTo>
                    <a:pt x="2296763" y="770001"/>
                  </a:moveTo>
                  <a:lnTo>
                    <a:pt x="2296763" y="1121188"/>
                  </a:lnTo>
                  <a:lnTo>
                    <a:pt x="2379440" y="1121188"/>
                  </a:lnTo>
                  <a:cubicBezTo>
                    <a:pt x="2420779" y="1121188"/>
                    <a:pt x="2448973" y="1094899"/>
                    <a:pt x="2448973" y="1051655"/>
                  </a:cubicBezTo>
                  <a:lnTo>
                    <a:pt x="2448973" y="841343"/>
                  </a:lnTo>
                  <a:cubicBezTo>
                    <a:pt x="2448973" y="798195"/>
                    <a:pt x="2420779" y="770001"/>
                    <a:pt x="2379440" y="770001"/>
                  </a:cubicBezTo>
                  <a:lnTo>
                    <a:pt x="2296763" y="770001"/>
                  </a:lnTo>
                  <a:close/>
                  <a:moveTo>
                    <a:pt x="3094482" y="1074230"/>
                  </a:moveTo>
                  <a:lnTo>
                    <a:pt x="3094482" y="283559"/>
                  </a:lnTo>
                  <a:cubicBezTo>
                    <a:pt x="3094482" y="114490"/>
                    <a:pt x="3218403" y="0"/>
                    <a:pt x="3402520" y="0"/>
                  </a:cubicBezTo>
                  <a:cubicBezTo>
                    <a:pt x="3586639" y="0"/>
                    <a:pt x="3710559" y="114586"/>
                    <a:pt x="3710559" y="283559"/>
                  </a:cubicBezTo>
                  <a:lnTo>
                    <a:pt x="3710559" y="557784"/>
                  </a:lnTo>
                  <a:lnTo>
                    <a:pt x="3473958" y="557784"/>
                  </a:lnTo>
                  <a:lnTo>
                    <a:pt x="3473958" y="285464"/>
                  </a:lnTo>
                  <a:cubicBezTo>
                    <a:pt x="3473958" y="242316"/>
                    <a:pt x="3445764" y="215932"/>
                    <a:pt x="3402616" y="215932"/>
                  </a:cubicBezTo>
                  <a:cubicBezTo>
                    <a:pt x="3359468" y="215932"/>
                    <a:pt x="3331274" y="242221"/>
                    <a:pt x="3331274" y="285464"/>
                  </a:cubicBezTo>
                  <a:lnTo>
                    <a:pt x="3331274" y="1074230"/>
                  </a:lnTo>
                  <a:cubicBezTo>
                    <a:pt x="3331274" y="1117378"/>
                    <a:pt x="3359468" y="1143667"/>
                    <a:pt x="3402616" y="1143667"/>
                  </a:cubicBezTo>
                  <a:cubicBezTo>
                    <a:pt x="3445764" y="1143667"/>
                    <a:pt x="3473958" y="1117378"/>
                    <a:pt x="3473958" y="1074230"/>
                  </a:cubicBezTo>
                  <a:lnTo>
                    <a:pt x="3473958" y="783146"/>
                  </a:lnTo>
                  <a:lnTo>
                    <a:pt x="3710559" y="783146"/>
                  </a:lnTo>
                  <a:lnTo>
                    <a:pt x="3710559" y="1074230"/>
                  </a:lnTo>
                  <a:cubicBezTo>
                    <a:pt x="3710559" y="1245108"/>
                    <a:pt x="3586639" y="1359694"/>
                    <a:pt x="3402520" y="1359694"/>
                  </a:cubicBezTo>
                  <a:cubicBezTo>
                    <a:pt x="3218403" y="1359694"/>
                    <a:pt x="3094482" y="1245108"/>
                    <a:pt x="3094482" y="1074230"/>
                  </a:cubicBezTo>
                  <a:close/>
                  <a:moveTo>
                    <a:pt x="3849434" y="1074230"/>
                  </a:moveTo>
                  <a:lnTo>
                    <a:pt x="3849434" y="283559"/>
                  </a:lnTo>
                  <a:cubicBezTo>
                    <a:pt x="3849434" y="114490"/>
                    <a:pt x="3973354" y="0"/>
                    <a:pt x="4157472" y="0"/>
                  </a:cubicBezTo>
                  <a:cubicBezTo>
                    <a:pt x="4341590" y="0"/>
                    <a:pt x="4465511" y="114586"/>
                    <a:pt x="4465511" y="283559"/>
                  </a:cubicBezTo>
                  <a:lnTo>
                    <a:pt x="4465511" y="1074230"/>
                  </a:lnTo>
                  <a:cubicBezTo>
                    <a:pt x="4465511" y="1245108"/>
                    <a:pt x="4341590" y="1359694"/>
                    <a:pt x="4157472" y="1359694"/>
                  </a:cubicBezTo>
                  <a:cubicBezTo>
                    <a:pt x="3973354" y="1359694"/>
                    <a:pt x="3849434" y="1245108"/>
                    <a:pt x="3849434" y="1074230"/>
                  </a:cubicBezTo>
                  <a:close/>
                  <a:moveTo>
                    <a:pt x="4228814" y="1074230"/>
                  </a:moveTo>
                  <a:lnTo>
                    <a:pt x="4228814" y="285464"/>
                  </a:lnTo>
                  <a:cubicBezTo>
                    <a:pt x="4228814" y="242316"/>
                    <a:pt x="4200621" y="215932"/>
                    <a:pt x="4157472" y="215932"/>
                  </a:cubicBezTo>
                  <a:cubicBezTo>
                    <a:pt x="4114324" y="215932"/>
                    <a:pt x="4086130" y="242221"/>
                    <a:pt x="4086130" y="285464"/>
                  </a:cubicBezTo>
                  <a:lnTo>
                    <a:pt x="4086130" y="1074230"/>
                  </a:lnTo>
                  <a:cubicBezTo>
                    <a:pt x="4086130" y="1117378"/>
                    <a:pt x="4114324" y="1143667"/>
                    <a:pt x="4157472" y="1143667"/>
                  </a:cubicBezTo>
                  <a:cubicBezTo>
                    <a:pt x="4200621" y="1143667"/>
                    <a:pt x="4228814" y="1117378"/>
                    <a:pt x="4228814" y="1074230"/>
                  </a:cubicBezTo>
                  <a:close/>
                  <a:moveTo>
                    <a:pt x="4613720" y="22574"/>
                  </a:moveTo>
                  <a:lnTo>
                    <a:pt x="4886039" y="22574"/>
                  </a:lnTo>
                  <a:lnTo>
                    <a:pt x="5021294" y="646081"/>
                  </a:lnTo>
                  <a:lnTo>
                    <a:pt x="5040059" y="811340"/>
                  </a:lnTo>
                  <a:lnTo>
                    <a:pt x="5071967" y="811340"/>
                  </a:lnTo>
                  <a:lnTo>
                    <a:pt x="5051298" y="646081"/>
                  </a:lnTo>
                  <a:lnTo>
                    <a:pt x="5051298" y="22574"/>
                  </a:lnTo>
                  <a:lnTo>
                    <a:pt x="5287899" y="22574"/>
                  </a:lnTo>
                  <a:lnTo>
                    <a:pt x="5287899" y="1337215"/>
                  </a:lnTo>
                  <a:lnTo>
                    <a:pt x="5017485" y="1337215"/>
                  </a:lnTo>
                  <a:lnTo>
                    <a:pt x="4882230" y="713708"/>
                  </a:lnTo>
                  <a:lnTo>
                    <a:pt x="4861560" y="548450"/>
                  </a:lnTo>
                  <a:lnTo>
                    <a:pt x="4829651" y="548450"/>
                  </a:lnTo>
                  <a:lnTo>
                    <a:pt x="4850320" y="713708"/>
                  </a:lnTo>
                  <a:lnTo>
                    <a:pt x="4850320" y="1337215"/>
                  </a:lnTo>
                  <a:lnTo>
                    <a:pt x="4613720" y="1337215"/>
                  </a:lnTo>
                  <a:lnTo>
                    <a:pt x="4613720" y="22574"/>
                  </a:lnTo>
                  <a:close/>
                  <a:moveTo>
                    <a:pt x="5443823" y="22574"/>
                  </a:moveTo>
                  <a:lnTo>
                    <a:pt x="5716143" y="22574"/>
                  </a:lnTo>
                  <a:lnTo>
                    <a:pt x="5851398" y="646081"/>
                  </a:lnTo>
                  <a:lnTo>
                    <a:pt x="5870162" y="811340"/>
                  </a:lnTo>
                  <a:lnTo>
                    <a:pt x="5902071" y="811340"/>
                  </a:lnTo>
                  <a:lnTo>
                    <a:pt x="5881402" y="646081"/>
                  </a:lnTo>
                  <a:lnTo>
                    <a:pt x="5881402" y="22574"/>
                  </a:lnTo>
                  <a:lnTo>
                    <a:pt x="6118003" y="22574"/>
                  </a:lnTo>
                  <a:lnTo>
                    <a:pt x="6118003" y="1337215"/>
                  </a:lnTo>
                  <a:lnTo>
                    <a:pt x="5847588" y="1337215"/>
                  </a:lnTo>
                  <a:lnTo>
                    <a:pt x="5712333" y="713708"/>
                  </a:lnTo>
                  <a:lnTo>
                    <a:pt x="5691664" y="548450"/>
                  </a:lnTo>
                  <a:lnTo>
                    <a:pt x="5659755" y="548450"/>
                  </a:lnTo>
                  <a:lnTo>
                    <a:pt x="5680424" y="713708"/>
                  </a:lnTo>
                  <a:lnTo>
                    <a:pt x="5680424" y="1337215"/>
                  </a:lnTo>
                  <a:lnTo>
                    <a:pt x="5443823" y="1337215"/>
                  </a:lnTo>
                  <a:lnTo>
                    <a:pt x="5443823" y="22574"/>
                  </a:lnTo>
                  <a:close/>
                  <a:moveTo>
                    <a:pt x="6273832" y="22574"/>
                  </a:moveTo>
                  <a:lnTo>
                    <a:pt x="6720840" y="22574"/>
                  </a:lnTo>
                  <a:lnTo>
                    <a:pt x="6720840" y="238601"/>
                  </a:lnTo>
                  <a:lnTo>
                    <a:pt x="6510528" y="238601"/>
                  </a:lnTo>
                  <a:lnTo>
                    <a:pt x="6510528" y="565404"/>
                  </a:lnTo>
                  <a:lnTo>
                    <a:pt x="6700172" y="565404"/>
                  </a:lnTo>
                  <a:lnTo>
                    <a:pt x="6700172" y="775716"/>
                  </a:lnTo>
                  <a:lnTo>
                    <a:pt x="6510528" y="775716"/>
                  </a:lnTo>
                  <a:lnTo>
                    <a:pt x="6510528" y="1121283"/>
                  </a:lnTo>
                  <a:lnTo>
                    <a:pt x="6720840" y="1121283"/>
                  </a:lnTo>
                  <a:lnTo>
                    <a:pt x="6720840" y="1337215"/>
                  </a:lnTo>
                  <a:lnTo>
                    <a:pt x="6273832" y="1337215"/>
                  </a:lnTo>
                  <a:lnTo>
                    <a:pt x="6273832" y="22574"/>
                  </a:lnTo>
                  <a:close/>
                  <a:moveTo>
                    <a:pt x="6846665" y="1074230"/>
                  </a:moveTo>
                  <a:lnTo>
                    <a:pt x="6846665" y="283559"/>
                  </a:lnTo>
                  <a:cubicBezTo>
                    <a:pt x="6846665" y="114490"/>
                    <a:pt x="6970585" y="0"/>
                    <a:pt x="7154704" y="0"/>
                  </a:cubicBezTo>
                  <a:cubicBezTo>
                    <a:pt x="7338822" y="0"/>
                    <a:pt x="7462742" y="114586"/>
                    <a:pt x="7462742" y="283559"/>
                  </a:cubicBezTo>
                  <a:lnTo>
                    <a:pt x="7462742" y="557784"/>
                  </a:lnTo>
                  <a:lnTo>
                    <a:pt x="7226142" y="557784"/>
                  </a:lnTo>
                  <a:lnTo>
                    <a:pt x="7226142" y="285464"/>
                  </a:lnTo>
                  <a:cubicBezTo>
                    <a:pt x="7226142" y="242316"/>
                    <a:pt x="7197947" y="215932"/>
                    <a:pt x="7154800" y="215932"/>
                  </a:cubicBezTo>
                  <a:cubicBezTo>
                    <a:pt x="7111651" y="215932"/>
                    <a:pt x="7083457" y="242221"/>
                    <a:pt x="7083457" y="285464"/>
                  </a:cubicBezTo>
                  <a:lnTo>
                    <a:pt x="7083457" y="1074230"/>
                  </a:lnTo>
                  <a:cubicBezTo>
                    <a:pt x="7083457" y="1117378"/>
                    <a:pt x="7111651" y="1143667"/>
                    <a:pt x="7154800" y="1143667"/>
                  </a:cubicBezTo>
                  <a:cubicBezTo>
                    <a:pt x="7197947" y="1143667"/>
                    <a:pt x="7226142" y="1117378"/>
                    <a:pt x="7226142" y="1074230"/>
                  </a:cubicBezTo>
                  <a:lnTo>
                    <a:pt x="7226142" y="783146"/>
                  </a:lnTo>
                  <a:lnTo>
                    <a:pt x="7462742" y="783146"/>
                  </a:lnTo>
                  <a:lnTo>
                    <a:pt x="7462742" y="1074230"/>
                  </a:lnTo>
                  <a:cubicBezTo>
                    <a:pt x="7462742" y="1245108"/>
                    <a:pt x="7338822" y="1359694"/>
                    <a:pt x="7154704" y="1359694"/>
                  </a:cubicBezTo>
                  <a:cubicBezTo>
                    <a:pt x="6970585" y="1359694"/>
                    <a:pt x="6846665" y="1245108"/>
                    <a:pt x="6846665" y="1074230"/>
                  </a:cubicBezTo>
                  <a:close/>
                  <a:moveTo>
                    <a:pt x="7699248" y="238506"/>
                  </a:moveTo>
                  <a:lnTo>
                    <a:pt x="7563993" y="238506"/>
                  </a:lnTo>
                  <a:lnTo>
                    <a:pt x="7563993" y="22479"/>
                  </a:lnTo>
                  <a:lnTo>
                    <a:pt x="8071104" y="22479"/>
                  </a:lnTo>
                  <a:lnTo>
                    <a:pt x="8071104" y="238506"/>
                  </a:lnTo>
                  <a:lnTo>
                    <a:pt x="7935850" y="238506"/>
                  </a:lnTo>
                  <a:lnTo>
                    <a:pt x="7935850" y="1337120"/>
                  </a:lnTo>
                  <a:lnTo>
                    <a:pt x="7699248" y="1337120"/>
                  </a:lnTo>
                  <a:lnTo>
                    <a:pt x="7699248" y="238506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00804191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ercial &amp; Innov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5A15758-18A4-F8B5-8475-885D1E2F41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3" y="553"/>
            <a:ext cx="12190033" cy="6856894"/>
          </a:xfrm>
          <a:prstGeom prst="rect">
            <a:avLst/>
          </a:prstGeom>
        </p:spPr>
      </p:pic>
      <p:pic>
        <p:nvPicPr>
          <p:cNvPr id="6" name="Picture 5" descr="A black circle with a black background&#10;&#10;Description automatically generated">
            <a:extLst>
              <a:ext uri="{FF2B5EF4-FFF2-40B4-BE49-F238E27FC236}">
                <a16:creationId xmlns:a16="http://schemas.microsoft.com/office/drawing/2014/main" id="{3B5E4064-AABF-770F-6C20-AA67F4B8C8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1164" y="982870"/>
            <a:ext cx="1042099" cy="10420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C2B404-9FBA-1E87-C027-2BB6C644C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110772"/>
            <a:ext cx="6826250" cy="1673731"/>
          </a:xfrm>
        </p:spPr>
        <p:txBody>
          <a:bodyPr anchor="b"/>
          <a:lstStyle>
            <a:lvl1pPr>
              <a:defRPr sz="5000">
                <a:solidFill>
                  <a:schemeClr val="tx2"/>
                </a:solidFill>
              </a:defRPr>
            </a:lvl1pPr>
          </a:lstStyle>
          <a:p>
            <a:r>
              <a:rPr lang="en-US"/>
              <a:t>Commercial &amp; Innovation Slid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8598D-4FA6-4246-6447-7B759D632FD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811492"/>
            <a:ext cx="6826250" cy="34727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optional 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B53587-0701-2BC6-CC8A-7319C380CA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849" y="6327552"/>
            <a:ext cx="6868450" cy="347270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Add optional date</a:t>
            </a:r>
            <a:endParaRPr lang="en-GB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B7CCA49-92DC-B8B8-7591-64F433AABD41}"/>
              </a:ext>
            </a:extLst>
          </p:cNvPr>
          <p:cNvSpPr/>
          <p:nvPr/>
        </p:nvSpPr>
        <p:spPr>
          <a:xfrm>
            <a:off x="1785310" y="1154191"/>
            <a:ext cx="567380" cy="219877"/>
          </a:xfrm>
          <a:custGeom>
            <a:avLst/>
            <a:gdLst>
              <a:gd name="connsiteX0" fmla="*/ 557382 w 567380"/>
              <a:gd name="connsiteY0" fmla="*/ 128448 h 219877"/>
              <a:gd name="connsiteX1" fmla="*/ 567380 w 567380"/>
              <a:gd name="connsiteY1" fmla="*/ 214156 h 219877"/>
              <a:gd name="connsiteX2" fmla="*/ 510817 w 567380"/>
              <a:gd name="connsiteY2" fmla="*/ 214156 h 219877"/>
              <a:gd name="connsiteX3" fmla="*/ 507079 w 567380"/>
              <a:gd name="connsiteY3" fmla="*/ 172378 h 219877"/>
              <a:gd name="connsiteX4" fmla="*/ 403272 w 567380"/>
              <a:gd name="connsiteY4" fmla="*/ 172378 h 219877"/>
              <a:gd name="connsiteX5" fmla="*/ 294538 w 567380"/>
              <a:gd name="connsiteY5" fmla="*/ 219877 h 219877"/>
              <a:gd name="connsiteX6" fmla="*/ 250069 w 567380"/>
              <a:gd name="connsiteY6" fmla="*/ 214156 h 219877"/>
              <a:gd name="connsiteX7" fmla="*/ 557382 w 567380"/>
              <a:gd name="connsiteY7" fmla="*/ 128448 h 219877"/>
              <a:gd name="connsiteX8" fmla="*/ 483825 w 567380"/>
              <a:gd name="connsiteY8" fmla="*/ 5240 h 219877"/>
              <a:gd name="connsiteX9" fmla="*/ 542823 w 567380"/>
              <a:gd name="connsiteY9" fmla="*/ 5240 h 219877"/>
              <a:gd name="connsiteX10" fmla="*/ 556135 w 567380"/>
              <a:gd name="connsiteY10" fmla="*/ 118081 h 219877"/>
              <a:gd name="connsiteX11" fmla="*/ 502575 w 567380"/>
              <a:gd name="connsiteY11" fmla="*/ 124171 h 219877"/>
              <a:gd name="connsiteX12" fmla="*/ 496599 w 567380"/>
              <a:gd name="connsiteY12" fmla="*/ 56846 h 219877"/>
              <a:gd name="connsiteX13" fmla="*/ 431653 w 567380"/>
              <a:gd name="connsiteY13" fmla="*/ 137087 h 219877"/>
              <a:gd name="connsiteX14" fmla="*/ 431624 w 567380"/>
              <a:gd name="connsiteY14" fmla="*/ 137087 h 219877"/>
              <a:gd name="connsiteX15" fmla="*/ 358634 w 567380"/>
              <a:gd name="connsiteY15" fmla="*/ 156488 h 219877"/>
              <a:gd name="connsiteX16" fmla="*/ 483825 w 567380"/>
              <a:gd name="connsiteY16" fmla="*/ 5240 h 219877"/>
              <a:gd name="connsiteX17" fmla="*/ 333200 w 567380"/>
              <a:gd name="connsiteY17" fmla="*/ 0 h 219877"/>
              <a:gd name="connsiteX18" fmla="*/ 418765 w 567380"/>
              <a:gd name="connsiteY18" fmla="*/ 28749 h 219877"/>
              <a:gd name="connsiteX19" fmla="*/ 387241 w 567380"/>
              <a:gd name="connsiteY19" fmla="*/ 67750 h 219877"/>
              <a:gd name="connsiteX20" fmla="*/ 387241 w 567380"/>
              <a:gd name="connsiteY20" fmla="*/ 67779 h 219877"/>
              <a:gd name="connsiteX21" fmla="*/ 324985 w 567380"/>
              <a:gd name="connsiteY21" fmla="*/ 42939 h 219877"/>
              <a:gd name="connsiteX22" fmla="*/ 238966 w 567380"/>
              <a:gd name="connsiteY22" fmla="*/ 115164 h 219877"/>
              <a:gd name="connsiteX23" fmla="*/ 269726 w 567380"/>
              <a:gd name="connsiteY23" fmla="*/ 172265 h 219877"/>
              <a:gd name="connsiteX24" fmla="*/ 300118 w 567380"/>
              <a:gd name="connsiteY24" fmla="*/ 176598 h 219877"/>
              <a:gd name="connsiteX25" fmla="*/ 214665 w 567380"/>
              <a:gd name="connsiteY25" fmla="*/ 214184 h 219877"/>
              <a:gd name="connsiteX26" fmla="*/ 0 w 567380"/>
              <a:gd name="connsiteY26" fmla="*/ 214184 h 219877"/>
              <a:gd name="connsiteX27" fmla="*/ 73726 w 567380"/>
              <a:gd name="connsiteY27" fmla="*/ 5269 h 219877"/>
              <a:gd name="connsiteX28" fmla="*/ 232169 w 567380"/>
              <a:gd name="connsiteY28" fmla="*/ 5269 h 219877"/>
              <a:gd name="connsiteX29" fmla="*/ 197812 w 567380"/>
              <a:gd name="connsiteY29" fmla="*/ 47046 h 219877"/>
              <a:gd name="connsiteX30" fmla="*/ 113351 w 567380"/>
              <a:gd name="connsiteY30" fmla="*/ 47046 h 219877"/>
              <a:gd name="connsiteX31" fmla="*/ 100435 w 567380"/>
              <a:gd name="connsiteY31" fmla="*/ 83583 h 219877"/>
              <a:gd name="connsiteX32" fmla="*/ 167732 w 567380"/>
              <a:gd name="connsiteY32" fmla="*/ 83583 h 219877"/>
              <a:gd name="connsiteX33" fmla="*/ 133432 w 567380"/>
              <a:gd name="connsiteY33" fmla="*/ 125248 h 219877"/>
              <a:gd name="connsiteX34" fmla="*/ 85736 w 567380"/>
              <a:gd name="connsiteY34" fmla="*/ 125248 h 219877"/>
              <a:gd name="connsiteX35" fmla="*/ 69109 w 567380"/>
              <a:gd name="connsiteY35" fmla="*/ 172321 h 219877"/>
              <a:gd name="connsiteX36" fmla="*/ 198378 w 567380"/>
              <a:gd name="connsiteY36" fmla="*/ 172321 h 219877"/>
              <a:gd name="connsiteX37" fmla="*/ 185265 w 567380"/>
              <a:gd name="connsiteY37" fmla="*/ 118110 h 219877"/>
              <a:gd name="connsiteX38" fmla="*/ 333200 w 567380"/>
              <a:gd name="connsiteY38" fmla="*/ 0 h 219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567380" h="219877">
                <a:moveTo>
                  <a:pt x="557382" y="128448"/>
                </a:moveTo>
                <a:lnTo>
                  <a:pt x="567380" y="214156"/>
                </a:lnTo>
                <a:lnTo>
                  <a:pt x="510817" y="214156"/>
                </a:lnTo>
                <a:cubicBezTo>
                  <a:pt x="510817" y="214156"/>
                  <a:pt x="507079" y="172378"/>
                  <a:pt x="507079" y="172378"/>
                </a:cubicBezTo>
                <a:lnTo>
                  <a:pt x="403272" y="172378"/>
                </a:lnTo>
                <a:cubicBezTo>
                  <a:pt x="369426" y="209765"/>
                  <a:pt x="341300" y="219877"/>
                  <a:pt x="294538" y="219877"/>
                </a:cubicBezTo>
                <a:cubicBezTo>
                  <a:pt x="277657" y="219877"/>
                  <a:pt x="261824" y="217951"/>
                  <a:pt x="250069" y="214156"/>
                </a:cubicBezTo>
                <a:cubicBezTo>
                  <a:pt x="250069" y="214156"/>
                  <a:pt x="384834" y="144706"/>
                  <a:pt x="557382" y="128448"/>
                </a:cubicBezTo>
                <a:close/>
                <a:moveTo>
                  <a:pt x="483825" y="5240"/>
                </a:moveTo>
                <a:lnTo>
                  <a:pt x="542823" y="5240"/>
                </a:lnTo>
                <a:lnTo>
                  <a:pt x="556135" y="118081"/>
                </a:lnTo>
                <a:cubicBezTo>
                  <a:pt x="538291" y="119979"/>
                  <a:pt x="519994" y="121480"/>
                  <a:pt x="502575" y="124171"/>
                </a:cubicBezTo>
                <a:lnTo>
                  <a:pt x="496599" y="56846"/>
                </a:lnTo>
                <a:lnTo>
                  <a:pt x="431653" y="137087"/>
                </a:lnTo>
                <a:lnTo>
                  <a:pt x="431624" y="137087"/>
                </a:lnTo>
                <a:cubicBezTo>
                  <a:pt x="406699" y="142695"/>
                  <a:pt x="382369" y="149181"/>
                  <a:pt x="358634" y="156488"/>
                </a:cubicBezTo>
                <a:cubicBezTo>
                  <a:pt x="358634" y="156488"/>
                  <a:pt x="483825" y="5240"/>
                  <a:pt x="483825" y="5240"/>
                </a:cubicBezTo>
                <a:close/>
                <a:moveTo>
                  <a:pt x="333200" y="0"/>
                </a:moveTo>
                <a:cubicBezTo>
                  <a:pt x="369567" y="0"/>
                  <a:pt x="398967" y="10905"/>
                  <a:pt x="418765" y="28749"/>
                </a:cubicBezTo>
                <a:lnTo>
                  <a:pt x="387241" y="67750"/>
                </a:lnTo>
                <a:lnTo>
                  <a:pt x="387241" y="67779"/>
                </a:lnTo>
                <a:cubicBezTo>
                  <a:pt x="374892" y="53957"/>
                  <a:pt x="350023" y="42939"/>
                  <a:pt x="324985" y="42939"/>
                </a:cubicBezTo>
                <a:cubicBezTo>
                  <a:pt x="274258" y="42939"/>
                  <a:pt x="242507" y="79080"/>
                  <a:pt x="238966" y="115164"/>
                </a:cubicBezTo>
                <a:cubicBezTo>
                  <a:pt x="235964" y="145839"/>
                  <a:pt x="246642" y="164334"/>
                  <a:pt x="269726" y="172265"/>
                </a:cubicBezTo>
                <a:cubicBezTo>
                  <a:pt x="282528" y="175494"/>
                  <a:pt x="289779" y="176230"/>
                  <a:pt x="300118" y="176598"/>
                </a:cubicBezTo>
                <a:cubicBezTo>
                  <a:pt x="245028" y="197869"/>
                  <a:pt x="214665" y="214184"/>
                  <a:pt x="214665" y="214184"/>
                </a:cubicBezTo>
                <a:lnTo>
                  <a:pt x="0" y="214184"/>
                </a:lnTo>
                <a:cubicBezTo>
                  <a:pt x="0" y="214184"/>
                  <a:pt x="73726" y="5269"/>
                  <a:pt x="73726" y="5269"/>
                </a:cubicBezTo>
                <a:lnTo>
                  <a:pt x="232169" y="5269"/>
                </a:lnTo>
                <a:cubicBezTo>
                  <a:pt x="232169" y="5269"/>
                  <a:pt x="197812" y="47046"/>
                  <a:pt x="197812" y="47046"/>
                </a:cubicBezTo>
                <a:lnTo>
                  <a:pt x="113351" y="47046"/>
                </a:lnTo>
                <a:cubicBezTo>
                  <a:pt x="113351" y="47046"/>
                  <a:pt x="100435" y="83583"/>
                  <a:pt x="100435" y="83583"/>
                </a:cubicBezTo>
                <a:lnTo>
                  <a:pt x="167732" y="83583"/>
                </a:lnTo>
                <a:cubicBezTo>
                  <a:pt x="167732" y="83583"/>
                  <a:pt x="133432" y="125248"/>
                  <a:pt x="133432" y="125248"/>
                </a:cubicBezTo>
                <a:lnTo>
                  <a:pt x="85736" y="125248"/>
                </a:lnTo>
                <a:cubicBezTo>
                  <a:pt x="85736" y="125248"/>
                  <a:pt x="69109" y="172321"/>
                  <a:pt x="69109" y="172321"/>
                </a:cubicBezTo>
                <a:lnTo>
                  <a:pt x="198378" y="172321"/>
                </a:lnTo>
                <a:cubicBezTo>
                  <a:pt x="187616" y="154534"/>
                  <a:pt x="184302" y="136492"/>
                  <a:pt x="185265" y="118110"/>
                </a:cubicBezTo>
                <a:cubicBezTo>
                  <a:pt x="188494" y="57356"/>
                  <a:pt x="238202" y="0"/>
                  <a:pt x="333200" y="0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47D194E-94FD-7916-A5F7-1BC260B6AAC5}"/>
              </a:ext>
            </a:extLst>
          </p:cNvPr>
          <p:cNvSpPr/>
          <p:nvPr/>
        </p:nvSpPr>
        <p:spPr>
          <a:xfrm>
            <a:off x="1785310" y="1437313"/>
            <a:ext cx="2400034" cy="404320"/>
          </a:xfrm>
          <a:custGeom>
            <a:avLst/>
            <a:gdLst>
              <a:gd name="connsiteX0" fmla="*/ 682969 w 2400034"/>
              <a:gd name="connsiteY0" fmla="*/ 228969 h 404320"/>
              <a:gd name="connsiteX1" fmla="*/ 682969 w 2400034"/>
              <a:gd name="connsiteY1" fmla="*/ 333398 h 404320"/>
              <a:gd name="connsiteX2" fmla="*/ 707554 w 2400034"/>
              <a:gd name="connsiteY2" fmla="*/ 333398 h 404320"/>
              <a:gd name="connsiteX3" fmla="*/ 728230 w 2400034"/>
              <a:gd name="connsiteY3" fmla="*/ 312722 h 404320"/>
              <a:gd name="connsiteX4" fmla="*/ 728230 w 2400034"/>
              <a:gd name="connsiteY4" fmla="*/ 250183 h 404320"/>
              <a:gd name="connsiteX5" fmla="*/ 707554 w 2400034"/>
              <a:gd name="connsiteY5" fmla="*/ 228969 h 404320"/>
              <a:gd name="connsiteX6" fmla="*/ 682969 w 2400034"/>
              <a:gd name="connsiteY6" fmla="*/ 70923 h 404320"/>
              <a:gd name="connsiteX7" fmla="*/ 682969 w 2400034"/>
              <a:gd name="connsiteY7" fmla="*/ 169206 h 404320"/>
              <a:gd name="connsiteX8" fmla="*/ 703645 w 2400034"/>
              <a:gd name="connsiteY8" fmla="*/ 169206 h 404320"/>
              <a:gd name="connsiteX9" fmla="*/ 724859 w 2400034"/>
              <a:gd name="connsiteY9" fmla="*/ 147991 h 404320"/>
              <a:gd name="connsiteX10" fmla="*/ 724859 w 2400034"/>
              <a:gd name="connsiteY10" fmla="*/ 91570 h 404320"/>
              <a:gd name="connsiteX11" fmla="*/ 703645 w 2400034"/>
              <a:gd name="connsiteY11" fmla="*/ 70923 h 404320"/>
              <a:gd name="connsiteX12" fmla="*/ 1236272 w 2400034"/>
              <a:gd name="connsiteY12" fmla="*/ 64210 h 404320"/>
              <a:gd name="connsiteX13" fmla="*/ 1215057 w 2400034"/>
              <a:gd name="connsiteY13" fmla="*/ 84886 h 404320"/>
              <a:gd name="connsiteX14" fmla="*/ 1215057 w 2400034"/>
              <a:gd name="connsiteY14" fmla="*/ 319434 h 404320"/>
              <a:gd name="connsiteX15" fmla="*/ 1236272 w 2400034"/>
              <a:gd name="connsiteY15" fmla="*/ 340082 h 404320"/>
              <a:gd name="connsiteX16" fmla="*/ 1257486 w 2400034"/>
              <a:gd name="connsiteY16" fmla="*/ 319434 h 404320"/>
              <a:gd name="connsiteX17" fmla="*/ 1257486 w 2400034"/>
              <a:gd name="connsiteY17" fmla="*/ 84886 h 404320"/>
              <a:gd name="connsiteX18" fmla="*/ 1236272 w 2400034"/>
              <a:gd name="connsiteY18" fmla="*/ 64210 h 404320"/>
              <a:gd name="connsiteX19" fmla="*/ 1865595 w 2400034"/>
              <a:gd name="connsiteY19" fmla="*/ 6713 h 404320"/>
              <a:gd name="connsiteX20" fmla="*/ 1998518 w 2400034"/>
              <a:gd name="connsiteY20" fmla="*/ 6713 h 404320"/>
              <a:gd name="connsiteX21" fmla="*/ 1998518 w 2400034"/>
              <a:gd name="connsiteY21" fmla="*/ 70951 h 404320"/>
              <a:gd name="connsiteX22" fmla="*/ 1935980 w 2400034"/>
              <a:gd name="connsiteY22" fmla="*/ 70951 h 404320"/>
              <a:gd name="connsiteX23" fmla="*/ 1935980 w 2400034"/>
              <a:gd name="connsiteY23" fmla="*/ 168129 h 404320"/>
              <a:gd name="connsiteX24" fmla="*/ 1992372 w 2400034"/>
              <a:gd name="connsiteY24" fmla="*/ 168129 h 404320"/>
              <a:gd name="connsiteX25" fmla="*/ 1992372 w 2400034"/>
              <a:gd name="connsiteY25" fmla="*/ 230668 h 404320"/>
              <a:gd name="connsiteX26" fmla="*/ 1935980 w 2400034"/>
              <a:gd name="connsiteY26" fmla="*/ 230668 h 404320"/>
              <a:gd name="connsiteX27" fmla="*/ 1935980 w 2400034"/>
              <a:gd name="connsiteY27" fmla="*/ 333426 h 404320"/>
              <a:gd name="connsiteX28" fmla="*/ 1998518 w 2400034"/>
              <a:gd name="connsiteY28" fmla="*/ 333426 h 404320"/>
              <a:gd name="connsiteX29" fmla="*/ 1998518 w 2400034"/>
              <a:gd name="connsiteY29" fmla="*/ 397636 h 404320"/>
              <a:gd name="connsiteX30" fmla="*/ 1865595 w 2400034"/>
              <a:gd name="connsiteY30" fmla="*/ 397636 h 404320"/>
              <a:gd name="connsiteX31" fmla="*/ 1618783 w 2400034"/>
              <a:gd name="connsiteY31" fmla="*/ 6713 h 404320"/>
              <a:gd name="connsiteX32" fmla="*/ 1699760 w 2400034"/>
              <a:gd name="connsiteY32" fmla="*/ 6713 h 404320"/>
              <a:gd name="connsiteX33" fmla="*/ 1739980 w 2400034"/>
              <a:gd name="connsiteY33" fmla="*/ 192120 h 404320"/>
              <a:gd name="connsiteX34" fmla="*/ 1745559 w 2400034"/>
              <a:gd name="connsiteY34" fmla="*/ 241261 h 404320"/>
              <a:gd name="connsiteX35" fmla="*/ 1755048 w 2400034"/>
              <a:gd name="connsiteY35" fmla="*/ 241261 h 404320"/>
              <a:gd name="connsiteX36" fmla="*/ 1748902 w 2400034"/>
              <a:gd name="connsiteY36" fmla="*/ 192120 h 404320"/>
              <a:gd name="connsiteX37" fmla="*/ 1748902 w 2400034"/>
              <a:gd name="connsiteY37" fmla="*/ 6713 h 404320"/>
              <a:gd name="connsiteX38" fmla="*/ 1819258 w 2400034"/>
              <a:gd name="connsiteY38" fmla="*/ 6713 h 404320"/>
              <a:gd name="connsiteX39" fmla="*/ 1819258 w 2400034"/>
              <a:gd name="connsiteY39" fmla="*/ 397636 h 404320"/>
              <a:gd name="connsiteX40" fmla="*/ 1738847 w 2400034"/>
              <a:gd name="connsiteY40" fmla="*/ 397636 h 404320"/>
              <a:gd name="connsiteX41" fmla="*/ 1698627 w 2400034"/>
              <a:gd name="connsiteY41" fmla="*/ 212229 h 404320"/>
              <a:gd name="connsiteX42" fmla="*/ 1692481 w 2400034"/>
              <a:gd name="connsiteY42" fmla="*/ 163088 h 404320"/>
              <a:gd name="connsiteX43" fmla="*/ 1682993 w 2400034"/>
              <a:gd name="connsiteY43" fmla="*/ 163088 h 404320"/>
              <a:gd name="connsiteX44" fmla="*/ 1689139 w 2400034"/>
              <a:gd name="connsiteY44" fmla="*/ 212229 h 404320"/>
              <a:gd name="connsiteX45" fmla="*/ 1689139 w 2400034"/>
              <a:gd name="connsiteY45" fmla="*/ 397636 h 404320"/>
              <a:gd name="connsiteX46" fmla="*/ 1618783 w 2400034"/>
              <a:gd name="connsiteY46" fmla="*/ 397636 h 404320"/>
              <a:gd name="connsiteX47" fmla="*/ 1371942 w 2400034"/>
              <a:gd name="connsiteY47" fmla="*/ 6713 h 404320"/>
              <a:gd name="connsiteX48" fmla="*/ 1452919 w 2400034"/>
              <a:gd name="connsiteY48" fmla="*/ 6713 h 404320"/>
              <a:gd name="connsiteX49" fmla="*/ 1493139 w 2400034"/>
              <a:gd name="connsiteY49" fmla="*/ 192120 h 404320"/>
              <a:gd name="connsiteX50" fmla="*/ 1498719 w 2400034"/>
              <a:gd name="connsiteY50" fmla="*/ 241261 h 404320"/>
              <a:gd name="connsiteX51" fmla="*/ 1508207 w 2400034"/>
              <a:gd name="connsiteY51" fmla="*/ 241261 h 404320"/>
              <a:gd name="connsiteX52" fmla="*/ 1502061 w 2400034"/>
              <a:gd name="connsiteY52" fmla="*/ 192120 h 404320"/>
              <a:gd name="connsiteX53" fmla="*/ 1502061 w 2400034"/>
              <a:gd name="connsiteY53" fmla="*/ 6713 h 404320"/>
              <a:gd name="connsiteX54" fmla="*/ 1572417 w 2400034"/>
              <a:gd name="connsiteY54" fmla="*/ 6713 h 404320"/>
              <a:gd name="connsiteX55" fmla="*/ 1572417 w 2400034"/>
              <a:gd name="connsiteY55" fmla="*/ 397636 h 404320"/>
              <a:gd name="connsiteX56" fmla="*/ 1492006 w 2400034"/>
              <a:gd name="connsiteY56" fmla="*/ 397636 h 404320"/>
              <a:gd name="connsiteX57" fmla="*/ 1451787 w 2400034"/>
              <a:gd name="connsiteY57" fmla="*/ 212229 h 404320"/>
              <a:gd name="connsiteX58" fmla="*/ 1445640 w 2400034"/>
              <a:gd name="connsiteY58" fmla="*/ 163088 h 404320"/>
              <a:gd name="connsiteX59" fmla="*/ 1436152 w 2400034"/>
              <a:gd name="connsiteY59" fmla="*/ 163088 h 404320"/>
              <a:gd name="connsiteX60" fmla="*/ 1442298 w 2400034"/>
              <a:gd name="connsiteY60" fmla="*/ 212229 h 404320"/>
              <a:gd name="connsiteX61" fmla="*/ 1442298 w 2400034"/>
              <a:gd name="connsiteY61" fmla="*/ 397636 h 404320"/>
              <a:gd name="connsiteX62" fmla="*/ 1371942 w 2400034"/>
              <a:gd name="connsiteY62" fmla="*/ 397636 h 404320"/>
              <a:gd name="connsiteX63" fmla="*/ 612613 w 2400034"/>
              <a:gd name="connsiteY63" fmla="*/ 6713 h 404320"/>
              <a:gd name="connsiteX64" fmla="*/ 712029 w 2400034"/>
              <a:gd name="connsiteY64" fmla="*/ 6713 h 404320"/>
              <a:gd name="connsiteX65" fmla="*/ 795244 w 2400034"/>
              <a:gd name="connsiteY65" fmla="*/ 83215 h 404320"/>
              <a:gd name="connsiteX66" fmla="*/ 795244 w 2400034"/>
              <a:gd name="connsiteY66" fmla="*/ 136265 h 404320"/>
              <a:gd name="connsiteX67" fmla="*/ 762842 w 2400034"/>
              <a:gd name="connsiteY67" fmla="*/ 193791 h 404320"/>
              <a:gd name="connsiteX68" fmla="*/ 762842 w 2400034"/>
              <a:gd name="connsiteY68" fmla="*/ 197133 h 404320"/>
              <a:gd name="connsiteX69" fmla="*/ 798586 w 2400034"/>
              <a:gd name="connsiteY69" fmla="*/ 257434 h 404320"/>
              <a:gd name="connsiteX70" fmla="*/ 798586 w 2400034"/>
              <a:gd name="connsiteY70" fmla="*/ 321105 h 404320"/>
              <a:gd name="connsiteX71" fmla="*/ 715371 w 2400034"/>
              <a:gd name="connsiteY71" fmla="*/ 397608 h 404320"/>
              <a:gd name="connsiteX72" fmla="*/ 612613 w 2400034"/>
              <a:gd name="connsiteY72" fmla="*/ 397608 h 404320"/>
              <a:gd name="connsiteX73" fmla="*/ 226731 w 2400034"/>
              <a:gd name="connsiteY73" fmla="*/ 6713 h 404320"/>
              <a:gd name="connsiteX74" fmla="*/ 297087 w 2400034"/>
              <a:gd name="connsiteY74" fmla="*/ 6713 h 404320"/>
              <a:gd name="connsiteX75" fmla="*/ 297087 w 2400034"/>
              <a:gd name="connsiteY75" fmla="*/ 333426 h 404320"/>
              <a:gd name="connsiteX76" fmla="*/ 356284 w 2400034"/>
              <a:gd name="connsiteY76" fmla="*/ 333426 h 404320"/>
              <a:gd name="connsiteX77" fmla="*/ 356284 w 2400034"/>
              <a:gd name="connsiteY77" fmla="*/ 397636 h 404320"/>
              <a:gd name="connsiteX78" fmla="*/ 226731 w 2400034"/>
              <a:gd name="connsiteY78" fmla="*/ 397636 h 404320"/>
              <a:gd name="connsiteX79" fmla="*/ 2249239 w 2400034"/>
              <a:gd name="connsiteY79" fmla="*/ 6684 h 404320"/>
              <a:gd name="connsiteX80" fmla="*/ 2400034 w 2400034"/>
              <a:gd name="connsiteY80" fmla="*/ 6684 h 404320"/>
              <a:gd name="connsiteX81" fmla="*/ 2400034 w 2400034"/>
              <a:gd name="connsiteY81" fmla="*/ 70923 h 404320"/>
              <a:gd name="connsiteX82" fmla="*/ 2359815 w 2400034"/>
              <a:gd name="connsiteY82" fmla="*/ 70923 h 404320"/>
              <a:gd name="connsiteX83" fmla="*/ 2359815 w 2400034"/>
              <a:gd name="connsiteY83" fmla="*/ 397608 h 404320"/>
              <a:gd name="connsiteX84" fmla="*/ 2289459 w 2400034"/>
              <a:gd name="connsiteY84" fmla="*/ 397608 h 404320"/>
              <a:gd name="connsiteX85" fmla="*/ 2289459 w 2400034"/>
              <a:gd name="connsiteY85" fmla="*/ 70923 h 404320"/>
              <a:gd name="connsiteX86" fmla="*/ 2249239 w 2400034"/>
              <a:gd name="connsiteY86" fmla="*/ 70923 h 404320"/>
              <a:gd name="connsiteX87" fmla="*/ 384777 w 2400034"/>
              <a:gd name="connsiteY87" fmla="*/ 6684 h 404320"/>
              <a:gd name="connsiteX88" fmla="*/ 455133 w 2400034"/>
              <a:gd name="connsiteY88" fmla="*/ 6684 h 404320"/>
              <a:gd name="connsiteX89" fmla="*/ 455133 w 2400034"/>
              <a:gd name="connsiteY89" fmla="*/ 319434 h 404320"/>
              <a:gd name="connsiteX90" fmla="*/ 475810 w 2400034"/>
              <a:gd name="connsiteY90" fmla="*/ 340082 h 404320"/>
              <a:gd name="connsiteX91" fmla="*/ 497024 w 2400034"/>
              <a:gd name="connsiteY91" fmla="*/ 319434 h 404320"/>
              <a:gd name="connsiteX92" fmla="*/ 497024 w 2400034"/>
              <a:gd name="connsiteY92" fmla="*/ 6684 h 404320"/>
              <a:gd name="connsiteX93" fmla="*/ 567380 w 2400034"/>
              <a:gd name="connsiteY93" fmla="*/ 6684 h 404320"/>
              <a:gd name="connsiteX94" fmla="*/ 567380 w 2400034"/>
              <a:gd name="connsiteY94" fmla="*/ 319434 h 404320"/>
              <a:gd name="connsiteX95" fmla="*/ 475781 w 2400034"/>
              <a:gd name="connsiteY95" fmla="*/ 404320 h 404320"/>
              <a:gd name="connsiteX96" fmla="*/ 384749 w 2400034"/>
              <a:gd name="connsiteY96" fmla="*/ 319434 h 404320"/>
              <a:gd name="connsiteX97" fmla="*/ 384777 w 2400034"/>
              <a:gd name="connsiteY97" fmla="*/ 319434 h 404320"/>
              <a:gd name="connsiteX98" fmla="*/ 2127532 w 2400034"/>
              <a:gd name="connsiteY98" fmla="*/ 0 h 404320"/>
              <a:gd name="connsiteX99" fmla="*/ 2219131 w 2400034"/>
              <a:gd name="connsiteY99" fmla="*/ 84320 h 404320"/>
              <a:gd name="connsiteX100" fmla="*/ 2219131 w 2400034"/>
              <a:gd name="connsiteY100" fmla="*/ 165863 h 404320"/>
              <a:gd name="connsiteX101" fmla="*/ 2148775 w 2400034"/>
              <a:gd name="connsiteY101" fmla="*/ 165863 h 404320"/>
              <a:gd name="connsiteX102" fmla="*/ 2148775 w 2400034"/>
              <a:gd name="connsiteY102" fmla="*/ 84886 h 404320"/>
              <a:gd name="connsiteX103" fmla="*/ 2127561 w 2400034"/>
              <a:gd name="connsiteY103" fmla="*/ 64210 h 404320"/>
              <a:gd name="connsiteX104" fmla="*/ 2106346 w 2400034"/>
              <a:gd name="connsiteY104" fmla="*/ 84886 h 404320"/>
              <a:gd name="connsiteX105" fmla="*/ 2106346 w 2400034"/>
              <a:gd name="connsiteY105" fmla="*/ 319434 h 404320"/>
              <a:gd name="connsiteX106" fmla="*/ 2127561 w 2400034"/>
              <a:gd name="connsiteY106" fmla="*/ 340082 h 404320"/>
              <a:gd name="connsiteX107" fmla="*/ 2148775 w 2400034"/>
              <a:gd name="connsiteY107" fmla="*/ 319434 h 404320"/>
              <a:gd name="connsiteX108" fmla="*/ 2148775 w 2400034"/>
              <a:gd name="connsiteY108" fmla="*/ 232877 h 404320"/>
              <a:gd name="connsiteX109" fmla="*/ 2219131 w 2400034"/>
              <a:gd name="connsiteY109" fmla="*/ 232877 h 404320"/>
              <a:gd name="connsiteX110" fmla="*/ 2219131 w 2400034"/>
              <a:gd name="connsiteY110" fmla="*/ 319434 h 404320"/>
              <a:gd name="connsiteX111" fmla="*/ 2127532 w 2400034"/>
              <a:gd name="connsiteY111" fmla="*/ 404320 h 404320"/>
              <a:gd name="connsiteX112" fmla="*/ 2035934 w 2400034"/>
              <a:gd name="connsiteY112" fmla="*/ 319434 h 404320"/>
              <a:gd name="connsiteX113" fmla="*/ 2035934 w 2400034"/>
              <a:gd name="connsiteY113" fmla="*/ 84320 h 404320"/>
              <a:gd name="connsiteX114" fmla="*/ 2127532 w 2400034"/>
              <a:gd name="connsiteY114" fmla="*/ 0 h 404320"/>
              <a:gd name="connsiteX115" fmla="*/ 1236272 w 2400034"/>
              <a:gd name="connsiteY115" fmla="*/ 0 h 404320"/>
              <a:gd name="connsiteX116" fmla="*/ 1327871 w 2400034"/>
              <a:gd name="connsiteY116" fmla="*/ 84320 h 404320"/>
              <a:gd name="connsiteX117" fmla="*/ 1327871 w 2400034"/>
              <a:gd name="connsiteY117" fmla="*/ 319434 h 404320"/>
              <a:gd name="connsiteX118" fmla="*/ 1236272 w 2400034"/>
              <a:gd name="connsiteY118" fmla="*/ 404320 h 404320"/>
              <a:gd name="connsiteX119" fmla="*/ 1144673 w 2400034"/>
              <a:gd name="connsiteY119" fmla="*/ 319434 h 404320"/>
              <a:gd name="connsiteX120" fmla="*/ 1144673 w 2400034"/>
              <a:gd name="connsiteY120" fmla="*/ 84320 h 404320"/>
              <a:gd name="connsiteX121" fmla="*/ 1236272 w 2400034"/>
              <a:gd name="connsiteY121" fmla="*/ 0 h 404320"/>
              <a:gd name="connsiteX122" fmla="*/ 1011778 w 2400034"/>
              <a:gd name="connsiteY122" fmla="*/ 0 h 404320"/>
              <a:gd name="connsiteX123" fmla="*/ 1103377 w 2400034"/>
              <a:gd name="connsiteY123" fmla="*/ 84320 h 404320"/>
              <a:gd name="connsiteX124" fmla="*/ 1103377 w 2400034"/>
              <a:gd name="connsiteY124" fmla="*/ 165863 h 404320"/>
              <a:gd name="connsiteX125" fmla="*/ 1033021 w 2400034"/>
              <a:gd name="connsiteY125" fmla="*/ 165863 h 404320"/>
              <a:gd name="connsiteX126" fmla="*/ 1033021 w 2400034"/>
              <a:gd name="connsiteY126" fmla="*/ 84886 h 404320"/>
              <a:gd name="connsiteX127" fmla="*/ 1011807 w 2400034"/>
              <a:gd name="connsiteY127" fmla="*/ 64210 h 404320"/>
              <a:gd name="connsiteX128" fmla="*/ 990592 w 2400034"/>
              <a:gd name="connsiteY128" fmla="*/ 84886 h 404320"/>
              <a:gd name="connsiteX129" fmla="*/ 990592 w 2400034"/>
              <a:gd name="connsiteY129" fmla="*/ 319434 h 404320"/>
              <a:gd name="connsiteX130" fmla="*/ 1011807 w 2400034"/>
              <a:gd name="connsiteY130" fmla="*/ 340082 h 404320"/>
              <a:gd name="connsiteX131" fmla="*/ 1033021 w 2400034"/>
              <a:gd name="connsiteY131" fmla="*/ 319434 h 404320"/>
              <a:gd name="connsiteX132" fmla="*/ 1033021 w 2400034"/>
              <a:gd name="connsiteY132" fmla="*/ 232877 h 404320"/>
              <a:gd name="connsiteX133" fmla="*/ 1103377 w 2400034"/>
              <a:gd name="connsiteY133" fmla="*/ 232877 h 404320"/>
              <a:gd name="connsiteX134" fmla="*/ 1103377 w 2400034"/>
              <a:gd name="connsiteY134" fmla="*/ 319434 h 404320"/>
              <a:gd name="connsiteX135" fmla="*/ 1011778 w 2400034"/>
              <a:gd name="connsiteY135" fmla="*/ 404320 h 404320"/>
              <a:gd name="connsiteX136" fmla="*/ 920179 w 2400034"/>
              <a:gd name="connsiteY136" fmla="*/ 319434 h 404320"/>
              <a:gd name="connsiteX137" fmla="*/ 920179 w 2400034"/>
              <a:gd name="connsiteY137" fmla="*/ 84320 h 404320"/>
              <a:gd name="connsiteX138" fmla="*/ 1011778 w 2400034"/>
              <a:gd name="connsiteY138" fmla="*/ 0 h 404320"/>
              <a:gd name="connsiteX139" fmla="*/ 91599 w 2400034"/>
              <a:gd name="connsiteY139" fmla="*/ 0 h 404320"/>
              <a:gd name="connsiteX140" fmla="*/ 183198 w 2400034"/>
              <a:gd name="connsiteY140" fmla="*/ 84320 h 404320"/>
              <a:gd name="connsiteX141" fmla="*/ 183198 w 2400034"/>
              <a:gd name="connsiteY141" fmla="*/ 165863 h 404320"/>
              <a:gd name="connsiteX142" fmla="*/ 112842 w 2400034"/>
              <a:gd name="connsiteY142" fmla="*/ 165863 h 404320"/>
              <a:gd name="connsiteX143" fmla="*/ 112842 w 2400034"/>
              <a:gd name="connsiteY143" fmla="*/ 84886 h 404320"/>
              <a:gd name="connsiteX144" fmla="*/ 91627 w 2400034"/>
              <a:gd name="connsiteY144" fmla="*/ 64210 h 404320"/>
              <a:gd name="connsiteX145" fmla="*/ 70413 w 2400034"/>
              <a:gd name="connsiteY145" fmla="*/ 84886 h 404320"/>
              <a:gd name="connsiteX146" fmla="*/ 70413 w 2400034"/>
              <a:gd name="connsiteY146" fmla="*/ 319434 h 404320"/>
              <a:gd name="connsiteX147" fmla="*/ 91627 w 2400034"/>
              <a:gd name="connsiteY147" fmla="*/ 340082 h 404320"/>
              <a:gd name="connsiteX148" fmla="*/ 112842 w 2400034"/>
              <a:gd name="connsiteY148" fmla="*/ 319434 h 404320"/>
              <a:gd name="connsiteX149" fmla="*/ 112842 w 2400034"/>
              <a:gd name="connsiteY149" fmla="*/ 232877 h 404320"/>
              <a:gd name="connsiteX150" fmla="*/ 183198 w 2400034"/>
              <a:gd name="connsiteY150" fmla="*/ 232877 h 404320"/>
              <a:gd name="connsiteX151" fmla="*/ 183198 w 2400034"/>
              <a:gd name="connsiteY151" fmla="*/ 319434 h 404320"/>
              <a:gd name="connsiteX152" fmla="*/ 91599 w 2400034"/>
              <a:gd name="connsiteY152" fmla="*/ 404320 h 404320"/>
              <a:gd name="connsiteX153" fmla="*/ 0 w 2400034"/>
              <a:gd name="connsiteY153" fmla="*/ 319434 h 404320"/>
              <a:gd name="connsiteX154" fmla="*/ 0 w 2400034"/>
              <a:gd name="connsiteY154" fmla="*/ 84320 h 404320"/>
              <a:gd name="connsiteX155" fmla="*/ 91599 w 2400034"/>
              <a:gd name="connsiteY155" fmla="*/ 0 h 404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</a:cxnLst>
            <a:rect l="l" t="t" r="r" b="b"/>
            <a:pathLst>
              <a:path w="2400034" h="404320">
                <a:moveTo>
                  <a:pt x="682969" y="228969"/>
                </a:moveTo>
                <a:lnTo>
                  <a:pt x="682969" y="333398"/>
                </a:lnTo>
                <a:lnTo>
                  <a:pt x="707554" y="333398"/>
                </a:lnTo>
                <a:cubicBezTo>
                  <a:pt x="719846" y="333398"/>
                  <a:pt x="728230" y="325581"/>
                  <a:pt x="728230" y="312722"/>
                </a:cubicBezTo>
                <a:lnTo>
                  <a:pt x="728230" y="250183"/>
                </a:lnTo>
                <a:cubicBezTo>
                  <a:pt x="728230" y="237352"/>
                  <a:pt x="719846" y="228969"/>
                  <a:pt x="707554" y="228969"/>
                </a:cubicBezTo>
                <a:close/>
                <a:moveTo>
                  <a:pt x="682969" y="70923"/>
                </a:moveTo>
                <a:lnTo>
                  <a:pt x="682969" y="169206"/>
                </a:lnTo>
                <a:lnTo>
                  <a:pt x="703645" y="169206"/>
                </a:lnTo>
                <a:cubicBezTo>
                  <a:pt x="716476" y="169206"/>
                  <a:pt x="724859" y="160822"/>
                  <a:pt x="724859" y="147991"/>
                </a:cubicBezTo>
                <a:lnTo>
                  <a:pt x="724859" y="91570"/>
                </a:lnTo>
                <a:cubicBezTo>
                  <a:pt x="724859" y="78740"/>
                  <a:pt x="716476" y="70923"/>
                  <a:pt x="703645" y="70923"/>
                </a:cubicBezTo>
                <a:close/>
                <a:moveTo>
                  <a:pt x="1236272" y="64210"/>
                </a:moveTo>
                <a:cubicBezTo>
                  <a:pt x="1223441" y="64210"/>
                  <a:pt x="1215057" y="72027"/>
                  <a:pt x="1215057" y="84886"/>
                </a:cubicBezTo>
                <a:lnTo>
                  <a:pt x="1215057" y="319434"/>
                </a:lnTo>
                <a:cubicBezTo>
                  <a:pt x="1215057" y="332265"/>
                  <a:pt x="1223441" y="340082"/>
                  <a:pt x="1236272" y="340082"/>
                </a:cubicBezTo>
                <a:cubicBezTo>
                  <a:pt x="1249102" y="340082"/>
                  <a:pt x="1257486" y="332265"/>
                  <a:pt x="1257486" y="319434"/>
                </a:cubicBezTo>
                <a:lnTo>
                  <a:pt x="1257486" y="84886"/>
                </a:lnTo>
                <a:cubicBezTo>
                  <a:pt x="1257486" y="72055"/>
                  <a:pt x="1249102" y="64210"/>
                  <a:pt x="1236272" y="64210"/>
                </a:cubicBezTo>
                <a:close/>
                <a:moveTo>
                  <a:pt x="1865595" y="6713"/>
                </a:moveTo>
                <a:lnTo>
                  <a:pt x="1998518" y="6713"/>
                </a:lnTo>
                <a:lnTo>
                  <a:pt x="1998518" y="70951"/>
                </a:lnTo>
                <a:lnTo>
                  <a:pt x="1935980" y="70951"/>
                </a:lnTo>
                <a:lnTo>
                  <a:pt x="1935980" y="168129"/>
                </a:lnTo>
                <a:lnTo>
                  <a:pt x="1992372" y="168129"/>
                </a:lnTo>
                <a:lnTo>
                  <a:pt x="1992372" y="230668"/>
                </a:lnTo>
                <a:lnTo>
                  <a:pt x="1935980" y="230668"/>
                </a:lnTo>
                <a:lnTo>
                  <a:pt x="1935980" y="333426"/>
                </a:lnTo>
                <a:lnTo>
                  <a:pt x="1998518" y="333426"/>
                </a:lnTo>
                <a:lnTo>
                  <a:pt x="1998518" y="397636"/>
                </a:lnTo>
                <a:lnTo>
                  <a:pt x="1865595" y="397636"/>
                </a:lnTo>
                <a:close/>
                <a:moveTo>
                  <a:pt x="1618783" y="6713"/>
                </a:moveTo>
                <a:lnTo>
                  <a:pt x="1699760" y="6713"/>
                </a:lnTo>
                <a:lnTo>
                  <a:pt x="1739980" y="192120"/>
                </a:lnTo>
                <a:lnTo>
                  <a:pt x="1745559" y="241261"/>
                </a:lnTo>
                <a:lnTo>
                  <a:pt x="1755048" y="241261"/>
                </a:lnTo>
                <a:lnTo>
                  <a:pt x="1748902" y="192120"/>
                </a:lnTo>
                <a:lnTo>
                  <a:pt x="1748902" y="6713"/>
                </a:lnTo>
                <a:lnTo>
                  <a:pt x="1819258" y="6713"/>
                </a:lnTo>
                <a:lnTo>
                  <a:pt x="1819258" y="397636"/>
                </a:lnTo>
                <a:lnTo>
                  <a:pt x="1738847" y="397636"/>
                </a:lnTo>
                <a:lnTo>
                  <a:pt x="1698627" y="212229"/>
                </a:lnTo>
                <a:lnTo>
                  <a:pt x="1692481" y="163088"/>
                </a:lnTo>
                <a:lnTo>
                  <a:pt x="1682993" y="163088"/>
                </a:lnTo>
                <a:lnTo>
                  <a:pt x="1689139" y="212229"/>
                </a:lnTo>
                <a:lnTo>
                  <a:pt x="1689139" y="397636"/>
                </a:lnTo>
                <a:lnTo>
                  <a:pt x="1618783" y="397636"/>
                </a:lnTo>
                <a:close/>
                <a:moveTo>
                  <a:pt x="1371942" y="6713"/>
                </a:moveTo>
                <a:lnTo>
                  <a:pt x="1452919" y="6713"/>
                </a:lnTo>
                <a:lnTo>
                  <a:pt x="1493139" y="192120"/>
                </a:lnTo>
                <a:lnTo>
                  <a:pt x="1498719" y="241261"/>
                </a:lnTo>
                <a:lnTo>
                  <a:pt x="1508207" y="241261"/>
                </a:lnTo>
                <a:lnTo>
                  <a:pt x="1502061" y="192120"/>
                </a:lnTo>
                <a:lnTo>
                  <a:pt x="1502061" y="6713"/>
                </a:lnTo>
                <a:lnTo>
                  <a:pt x="1572417" y="6713"/>
                </a:lnTo>
                <a:lnTo>
                  <a:pt x="1572417" y="397636"/>
                </a:lnTo>
                <a:lnTo>
                  <a:pt x="1492006" y="397636"/>
                </a:lnTo>
                <a:lnTo>
                  <a:pt x="1451787" y="212229"/>
                </a:lnTo>
                <a:lnTo>
                  <a:pt x="1445640" y="163088"/>
                </a:lnTo>
                <a:lnTo>
                  <a:pt x="1436152" y="163088"/>
                </a:lnTo>
                <a:lnTo>
                  <a:pt x="1442298" y="212229"/>
                </a:lnTo>
                <a:lnTo>
                  <a:pt x="1442298" y="397636"/>
                </a:lnTo>
                <a:lnTo>
                  <a:pt x="1371942" y="397636"/>
                </a:lnTo>
                <a:close/>
                <a:moveTo>
                  <a:pt x="612613" y="6713"/>
                </a:moveTo>
                <a:lnTo>
                  <a:pt x="712029" y="6713"/>
                </a:lnTo>
                <a:cubicBezTo>
                  <a:pt x="761737" y="6713"/>
                  <a:pt x="795244" y="37444"/>
                  <a:pt x="795244" y="83215"/>
                </a:cubicBezTo>
                <a:lnTo>
                  <a:pt x="795244" y="136265"/>
                </a:lnTo>
                <a:cubicBezTo>
                  <a:pt x="795244" y="159717"/>
                  <a:pt x="784623" y="183736"/>
                  <a:pt x="762842" y="193791"/>
                </a:cubicBezTo>
                <a:lnTo>
                  <a:pt x="762842" y="197133"/>
                </a:lnTo>
                <a:cubicBezTo>
                  <a:pt x="786293" y="207188"/>
                  <a:pt x="798586" y="232311"/>
                  <a:pt x="798586" y="257434"/>
                </a:cubicBezTo>
                <a:lnTo>
                  <a:pt x="798586" y="321105"/>
                </a:lnTo>
                <a:cubicBezTo>
                  <a:pt x="798586" y="366905"/>
                  <a:pt x="765646" y="397608"/>
                  <a:pt x="715371" y="397608"/>
                </a:cubicBezTo>
                <a:lnTo>
                  <a:pt x="612613" y="397608"/>
                </a:lnTo>
                <a:close/>
                <a:moveTo>
                  <a:pt x="226731" y="6713"/>
                </a:moveTo>
                <a:lnTo>
                  <a:pt x="297087" y="6713"/>
                </a:lnTo>
                <a:lnTo>
                  <a:pt x="297087" y="333426"/>
                </a:lnTo>
                <a:lnTo>
                  <a:pt x="356284" y="333426"/>
                </a:lnTo>
                <a:lnTo>
                  <a:pt x="356284" y="397636"/>
                </a:lnTo>
                <a:lnTo>
                  <a:pt x="226731" y="397636"/>
                </a:lnTo>
                <a:close/>
                <a:moveTo>
                  <a:pt x="2249239" y="6684"/>
                </a:moveTo>
                <a:lnTo>
                  <a:pt x="2400034" y="6684"/>
                </a:lnTo>
                <a:lnTo>
                  <a:pt x="2400034" y="70923"/>
                </a:lnTo>
                <a:lnTo>
                  <a:pt x="2359815" y="70923"/>
                </a:lnTo>
                <a:lnTo>
                  <a:pt x="2359815" y="397608"/>
                </a:lnTo>
                <a:lnTo>
                  <a:pt x="2289459" y="397608"/>
                </a:lnTo>
                <a:lnTo>
                  <a:pt x="2289459" y="70923"/>
                </a:lnTo>
                <a:lnTo>
                  <a:pt x="2249239" y="70923"/>
                </a:lnTo>
                <a:close/>
                <a:moveTo>
                  <a:pt x="384777" y="6684"/>
                </a:moveTo>
                <a:lnTo>
                  <a:pt x="455133" y="6684"/>
                </a:lnTo>
                <a:lnTo>
                  <a:pt x="455133" y="319434"/>
                </a:lnTo>
                <a:cubicBezTo>
                  <a:pt x="455133" y="332265"/>
                  <a:pt x="463517" y="340082"/>
                  <a:pt x="475810" y="340082"/>
                </a:cubicBezTo>
                <a:cubicBezTo>
                  <a:pt x="488102" y="340082"/>
                  <a:pt x="497024" y="332265"/>
                  <a:pt x="497024" y="319434"/>
                </a:cubicBezTo>
                <a:lnTo>
                  <a:pt x="497024" y="6684"/>
                </a:lnTo>
                <a:lnTo>
                  <a:pt x="567380" y="6684"/>
                </a:lnTo>
                <a:lnTo>
                  <a:pt x="567380" y="319434"/>
                </a:lnTo>
                <a:cubicBezTo>
                  <a:pt x="567380" y="370247"/>
                  <a:pt x="530531" y="404320"/>
                  <a:pt x="475781" y="404320"/>
                </a:cubicBezTo>
                <a:cubicBezTo>
                  <a:pt x="421031" y="404320"/>
                  <a:pt x="384749" y="370247"/>
                  <a:pt x="384749" y="319434"/>
                </a:cubicBezTo>
                <a:lnTo>
                  <a:pt x="384777" y="319434"/>
                </a:lnTo>
                <a:close/>
                <a:moveTo>
                  <a:pt x="2127532" y="0"/>
                </a:moveTo>
                <a:cubicBezTo>
                  <a:pt x="2182282" y="0"/>
                  <a:pt x="2219131" y="34073"/>
                  <a:pt x="2219131" y="84320"/>
                </a:cubicBezTo>
                <a:lnTo>
                  <a:pt x="2219131" y="165863"/>
                </a:lnTo>
                <a:lnTo>
                  <a:pt x="2148775" y="165863"/>
                </a:lnTo>
                <a:lnTo>
                  <a:pt x="2148775" y="84886"/>
                </a:lnTo>
                <a:cubicBezTo>
                  <a:pt x="2148775" y="72055"/>
                  <a:pt x="2140391" y="64210"/>
                  <a:pt x="2127561" y="64210"/>
                </a:cubicBezTo>
                <a:cubicBezTo>
                  <a:pt x="2114730" y="64210"/>
                  <a:pt x="2106346" y="72027"/>
                  <a:pt x="2106346" y="84886"/>
                </a:cubicBezTo>
                <a:lnTo>
                  <a:pt x="2106346" y="319434"/>
                </a:lnTo>
                <a:cubicBezTo>
                  <a:pt x="2106346" y="332265"/>
                  <a:pt x="2114730" y="340082"/>
                  <a:pt x="2127561" y="340082"/>
                </a:cubicBezTo>
                <a:cubicBezTo>
                  <a:pt x="2140391" y="340082"/>
                  <a:pt x="2148775" y="332265"/>
                  <a:pt x="2148775" y="319434"/>
                </a:cubicBezTo>
                <a:lnTo>
                  <a:pt x="2148775" y="232877"/>
                </a:lnTo>
                <a:lnTo>
                  <a:pt x="2219131" y="232877"/>
                </a:lnTo>
                <a:lnTo>
                  <a:pt x="2219131" y="319434"/>
                </a:lnTo>
                <a:cubicBezTo>
                  <a:pt x="2219131" y="370247"/>
                  <a:pt x="2182282" y="404320"/>
                  <a:pt x="2127532" y="404320"/>
                </a:cubicBezTo>
                <a:cubicBezTo>
                  <a:pt x="2072783" y="404320"/>
                  <a:pt x="2035934" y="370247"/>
                  <a:pt x="2035934" y="319434"/>
                </a:cubicBezTo>
                <a:lnTo>
                  <a:pt x="2035934" y="84320"/>
                </a:lnTo>
                <a:cubicBezTo>
                  <a:pt x="2035934" y="34045"/>
                  <a:pt x="2072783" y="0"/>
                  <a:pt x="2127532" y="0"/>
                </a:cubicBezTo>
                <a:close/>
                <a:moveTo>
                  <a:pt x="1236272" y="0"/>
                </a:moveTo>
                <a:cubicBezTo>
                  <a:pt x="1291021" y="0"/>
                  <a:pt x="1327871" y="34073"/>
                  <a:pt x="1327871" y="84320"/>
                </a:cubicBezTo>
                <a:lnTo>
                  <a:pt x="1327871" y="319434"/>
                </a:lnTo>
                <a:cubicBezTo>
                  <a:pt x="1327871" y="370247"/>
                  <a:pt x="1291021" y="404320"/>
                  <a:pt x="1236272" y="404320"/>
                </a:cubicBezTo>
                <a:cubicBezTo>
                  <a:pt x="1181522" y="404320"/>
                  <a:pt x="1144673" y="370247"/>
                  <a:pt x="1144673" y="319434"/>
                </a:cubicBezTo>
                <a:lnTo>
                  <a:pt x="1144673" y="84320"/>
                </a:lnTo>
                <a:cubicBezTo>
                  <a:pt x="1144673" y="34045"/>
                  <a:pt x="1181522" y="0"/>
                  <a:pt x="1236272" y="0"/>
                </a:cubicBezTo>
                <a:close/>
                <a:moveTo>
                  <a:pt x="1011778" y="0"/>
                </a:moveTo>
                <a:cubicBezTo>
                  <a:pt x="1066528" y="0"/>
                  <a:pt x="1103377" y="34073"/>
                  <a:pt x="1103377" y="84320"/>
                </a:cubicBezTo>
                <a:lnTo>
                  <a:pt x="1103377" y="165863"/>
                </a:lnTo>
                <a:lnTo>
                  <a:pt x="1033021" y="165863"/>
                </a:lnTo>
                <a:lnTo>
                  <a:pt x="1033021" y="84886"/>
                </a:lnTo>
                <a:cubicBezTo>
                  <a:pt x="1033021" y="72055"/>
                  <a:pt x="1024637" y="64210"/>
                  <a:pt x="1011807" y="64210"/>
                </a:cubicBezTo>
                <a:cubicBezTo>
                  <a:pt x="998976" y="64210"/>
                  <a:pt x="990592" y="72027"/>
                  <a:pt x="990592" y="84886"/>
                </a:cubicBezTo>
                <a:lnTo>
                  <a:pt x="990592" y="319434"/>
                </a:lnTo>
                <a:cubicBezTo>
                  <a:pt x="990592" y="332265"/>
                  <a:pt x="998976" y="340082"/>
                  <a:pt x="1011807" y="340082"/>
                </a:cubicBezTo>
                <a:cubicBezTo>
                  <a:pt x="1024637" y="340082"/>
                  <a:pt x="1033021" y="332265"/>
                  <a:pt x="1033021" y="319434"/>
                </a:cubicBezTo>
                <a:lnTo>
                  <a:pt x="1033021" y="232877"/>
                </a:lnTo>
                <a:lnTo>
                  <a:pt x="1103377" y="232877"/>
                </a:lnTo>
                <a:lnTo>
                  <a:pt x="1103377" y="319434"/>
                </a:lnTo>
                <a:cubicBezTo>
                  <a:pt x="1103377" y="370247"/>
                  <a:pt x="1066528" y="404320"/>
                  <a:pt x="1011778" y="404320"/>
                </a:cubicBezTo>
                <a:cubicBezTo>
                  <a:pt x="957029" y="404320"/>
                  <a:pt x="920179" y="370247"/>
                  <a:pt x="920179" y="319434"/>
                </a:cubicBezTo>
                <a:lnTo>
                  <a:pt x="920179" y="84320"/>
                </a:lnTo>
                <a:cubicBezTo>
                  <a:pt x="920179" y="34045"/>
                  <a:pt x="957029" y="0"/>
                  <a:pt x="1011778" y="0"/>
                </a:cubicBezTo>
                <a:close/>
                <a:moveTo>
                  <a:pt x="91599" y="0"/>
                </a:moveTo>
                <a:cubicBezTo>
                  <a:pt x="146349" y="0"/>
                  <a:pt x="183198" y="34073"/>
                  <a:pt x="183198" y="84320"/>
                </a:cubicBezTo>
                <a:lnTo>
                  <a:pt x="183198" y="165863"/>
                </a:lnTo>
                <a:lnTo>
                  <a:pt x="112842" y="165863"/>
                </a:lnTo>
                <a:lnTo>
                  <a:pt x="112842" y="84886"/>
                </a:lnTo>
                <a:cubicBezTo>
                  <a:pt x="112842" y="72055"/>
                  <a:pt x="104458" y="64210"/>
                  <a:pt x="91627" y="64210"/>
                </a:cubicBezTo>
                <a:cubicBezTo>
                  <a:pt x="78797" y="64210"/>
                  <a:pt x="70413" y="72027"/>
                  <a:pt x="70413" y="84886"/>
                </a:cubicBezTo>
                <a:lnTo>
                  <a:pt x="70413" y="319434"/>
                </a:lnTo>
                <a:cubicBezTo>
                  <a:pt x="70413" y="332265"/>
                  <a:pt x="78797" y="340082"/>
                  <a:pt x="91627" y="340082"/>
                </a:cubicBezTo>
                <a:cubicBezTo>
                  <a:pt x="104458" y="340082"/>
                  <a:pt x="112842" y="332265"/>
                  <a:pt x="112842" y="319434"/>
                </a:cubicBezTo>
                <a:lnTo>
                  <a:pt x="112842" y="232877"/>
                </a:lnTo>
                <a:lnTo>
                  <a:pt x="183198" y="232877"/>
                </a:lnTo>
                <a:lnTo>
                  <a:pt x="183198" y="319434"/>
                </a:lnTo>
                <a:cubicBezTo>
                  <a:pt x="183198" y="370247"/>
                  <a:pt x="146349" y="404320"/>
                  <a:pt x="91599" y="404320"/>
                </a:cubicBezTo>
                <a:cubicBezTo>
                  <a:pt x="36849" y="404320"/>
                  <a:pt x="0" y="370247"/>
                  <a:pt x="0" y="319434"/>
                </a:cubicBezTo>
                <a:lnTo>
                  <a:pt x="0" y="84320"/>
                </a:lnTo>
                <a:cubicBezTo>
                  <a:pt x="0" y="34045"/>
                  <a:pt x="36849" y="0"/>
                  <a:pt x="91599" y="0"/>
                </a:cubicBez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6799845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5A15758-18A4-F8B5-8475-885D1E2F41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3" y="553"/>
            <a:ext cx="12190033" cy="685689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C2B404-9FBA-1E87-C027-2BB6C644C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110772"/>
            <a:ext cx="6826250" cy="1673731"/>
          </a:xfrm>
        </p:spPr>
        <p:txBody>
          <a:bodyPr anchor="b"/>
          <a:lstStyle>
            <a:lvl1pPr>
              <a:defRPr sz="5000">
                <a:solidFill>
                  <a:schemeClr val="tx2"/>
                </a:solidFill>
              </a:defRPr>
            </a:lvl1pPr>
          </a:lstStyle>
          <a:p>
            <a:r>
              <a:rPr lang="en-US"/>
              <a:t>Sustainability Slide - Add Text her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8598D-4FA6-4246-6447-7B759D632FD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811492"/>
            <a:ext cx="6826250" cy="34727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optional 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B53587-0701-2BC6-CC8A-7319C380CA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849" y="6327552"/>
            <a:ext cx="6868450" cy="347270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Add optional date</a:t>
            </a:r>
            <a:endParaRPr lang="en-GB"/>
          </a:p>
        </p:txBody>
      </p:sp>
      <p:pic>
        <p:nvPicPr>
          <p:cNvPr id="6" name="Picture 5" descr="A green circle with a black background&#10;&#10;Description automatically generated">
            <a:extLst>
              <a:ext uri="{FF2B5EF4-FFF2-40B4-BE49-F238E27FC236}">
                <a16:creationId xmlns:a16="http://schemas.microsoft.com/office/drawing/2014/main" id="{0C2CE78B-D849-94A6-D32A-4BE4EB75B10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51450" y="995107"/>
            <a:ext cx="998222" cy="998222"/>
          </a:xfrm>
          <a:prstGeom prst="rect">
            <a:avLst/>
          </a:prstGeom>
        </p:spPr>
      </p:pic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4418984-0AF7-1C16-99CC-23C3D34FAB6A}"/>
              </a:ext>
            </a:extLst>
          </p:cNvPr>
          <p:cNvSpPr/>
          <p:nvPr userDrawn="1"/>
        </p:nvSpPr>
        <p:spPr>
          <a:xfrm>
            <a:off x="1785310" y="1154191"/>
            <a:ext cx="567380" cy="219877"/>
          </a:xfrm>
          <a:custGeom>
            <a:avLst/>
            <a:gdLst>
              <a:gd name="connsiteX0" fmla="*/ 557382 w 567380"/>
              <a:gd name="connsiteY0" fmla="*/ 128448 h 219877"/>
              <a:gd name="connsiteX1" fmla="*/ 567380 w 567380"/>
              <a:gd name="connsiteY1" fmla="*/ 214156 h 219877"/>
              <a:gd name="connsiteX2" fmla="*/ 510817 w 567380"/>
              <a:gd name="connsiteY2" fmla="*/ 214156 h 219877"/>
              <a:gd name="connsiteX3" fmla="*/ 507079 w 567380"/>
              <a:gd name="connsiteY3" fmla="*/ 172378 h 219877"/>
              <a:gd name="connsiteX4" fmla="*/ 403272 w 567380"/>
              <a:gd name="connsiteY4" fmla="*/ 172378 h 219877"/>
              <a:gd name="connsiteX5" fmla="*/ 294538 w 567380"/>
              <a:gd name="connsiteY5" fmla="*/ 219877 h 219877"/>
              <a:gd name="connsiteX6" fmla="*/ 250069 w 567380"/>
              <a:gd name="connsiteY6" fmla="*/ 214156 h 219877"/>
              <a:gd name="connsiteX7" fmla="*/ 557382 w 567380"/>
              <a:gd name="connsiteY7" fmla="*/ 128448 h 219877"/>
              <a:gd name="connsiteX8" fmla="*/ 483825 w 567380"/>
              <a:gd name="connsiteY8" fmla="*/ 5240 h 219877"/>
              <a:gd name="connsiteX9" fmla="*/ 542823 w 567380"/>
              <a:gd name="connsiteY9" fmla="*/ 5240 h 219877"/>
              <a:gd name="connsiteX10" fmla="*/ 556135 w 567380"/>
              <a:gd name="connsiteY10" fmla="*/ 118081 h 219877"/>
              <a:gd name="connsiteX11" fmla="*/ 502575 w 567380"/>
              <a:gd name="connsiteY11" fmla="*/ 124171 h 219877"/>
              <a:gd name="connsiteX12" fmla="*/ 496599 w 567380"/>
              <a:gd name="connsiteY12" fmla="*/ 56846 h 219877"/>
              <a:gd name="connsiteX13" fmla="*/ 431653 w 567380"/>
              <a:gd name="connsiteY13" fmla="*/ 137087 h 219877"/>
              <a:gd name="connsiteX14" fmla="*/ 431624 w 567380"/>
              <a:gd name="connsiteY14" fmla="*/ 137087 h 219877"/>
              <a:gd name="connsiteX15" fmla="*/ 358634 w 567380"/>
              <a:gd name="connsiteY15" fmla="*/ 156488 h 219877"/>
              <a:gd name="connsiteX16" fmla="*/ 483825 w 567380"/>
              <a:gd name="connsiteY16" fmla="*/ 5240 h 219877"/>
              <a:gd name="connsiteX17" fmla="*/ 333200 w 567380"/>
              <a:gd name="connsiteY17" fmla="*/ 0 h 219877"/>
              <a:gd name="connsiteX18" fmla="*/ 418765 w 567380"/>
              <a:gd name="connsiteY18" fmla="*/ 28749 h 219877"/>
              <a:gd name="connsiteX19" fmla="*/ 387241 w 567380"/>
              <a:gd name="connsiteY19" fmla="*/ 67750 h 219877"/>
              <a:gd name="connsiteX20" fmla="*/ 387241 w 567380"/>
              <a:gd name="connsiteY20" fmla="*/ 67779 h 219877"/>
              <a:gd name="connsiteX21" fmla="*/ 324985 w 567380"/>
              <a:gd name="connsiteY21" fmla="*/ 42939 h 219877"/>
              <a:gd name="connsiteX22" fmla="*/ 238966 w 567380"/>
              <a:gd name="connsiteY22" fmla="*/ 115164 h 219877"/>
              <a:gd name="connsiteX23" fmla="*/ 269726 w 567380"/>
              <a:gd name="connsiteY23" fmla="*/ 172265 h 219877"/>
              <a:gd name="connsiteX24" fmla="*/ 300118 w 567380"/>
              <a:gd name="connsiteY24" fmla="*/ 176598 h 219877"/>
              <a:gd name="connsiteX25" fmla="*/ 214665 w 567380"/>
              <a:gd name="connsiteY25" fmla="*/ 214184 h 219877"/>
              <a:gd name="connsiteX26" fmla="*/ 0 w 567380"/>
              <a:gd name="connsiteY26" fmla="*/ 214184 h 219877"/>
              <a:gd name="connsiteX27" fmla="*/ 73726 w 567380"/>
              <a:gd name="connsiteY27" fmla="*/ 5269 h 219877"/>
              <a:gd name="connsiteX28" fmla="*/ 232169 w 567380"/>
              <a:gd name="connsiteY28" fmla="*/ 5269 h 219877"/>
              <a:gd name="connsiteX29" fmla="*/ 197812 w 567380"/>
              <a:gd name="connsiteY29" fmla="*/ 47046 h 219877"/>
              <a:gd name="connsiteX30" fmla="*/ 113351 w 567380"/>
              <a:gd name="connsiteY30" fmla="*/ 47046 h 219877"/>
              <a:gd name="connsiteX31" fmla="*/ 100435 w 567380"/>
              <a:gd name="connsiteY31" fmla="*/ 83583 h 219877"/>
              <a:gd name="connsiteX32" fmla="*/ 167732 w 567380"/>
              <a:gd name="connsiteY32" fmla="*/ 83583 h 219877"/>
              <a:gd name="connsiteX33" fmla="*/ 133432 w 567380"/>
              <a:gd name="connsiteY33" fmla="*/ 125248 h 219877"/>
              <a:gd name="connsiteX34" fmla="*/ 85736 w 567380"/>
              <a:gd name="connsiteY34" fmla="*/ 125248 h 219877"/>
              <a:gd name="connsiteX35" fmla="*/ 69109 w 567380"/>
              <a:gd name="connsiteY35" fmla="*/ 172321 h 219877"/>
              <a:gd name="connsiteX36" fmla="*/ 198378 w 567380"/>
              <a:gd name="connsiteY36" fmla="*/ 172321 h 219877"/>
              <a:gd name="connsiteX37" fmla="*/ 185265 w 567380"/>
              <a:gd name="connsiteY37" fmla="*/ 118110 h 219877"/>
              <a:gd name="connsiteX38" fmla="*/ 333200 w 567380"/>
              <a:gd name="connsiteY38" fmla="*/ 0 h 219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567380" h="219877">
                <a:moveTo>
                  <a:pt x="557382" y="128448"/>
                </a:moveTo>
                <a:lnTo>
                  <a:pt x="567380" y="214156"/>
                </a:lnTo>
                <a:lnTo>
                  <a:pt x="510817" y="214156"/>
                </a:lnTo>
                <a:cubicBezTo>
                  <a:pt x="510817" y="214156"/>
                  <a:pt x="507079" y="172378"/>
                  <a:pt x="507079" y="172378"/>
                </a:cubicBezTo>
                <a:lnTo>
                  <a:pt x="403272" y="172378"/>
                </a:lnTo>
                <a:cubicBezTo>
                  <a:pt x="369426" y="209765"/>
                  <a:pt x="341300" y="219877"/>
                  <a:pt x="294538" y="219877"/>
                </a:cubicBezTo>
                <a:cubicBezTo>
                  <a:pt x="277657" y="219877"/>
                  <a:pt x="261824" y="217951"/>
                  <a:pt x="250069" y="214156"/>
                </a:cubicBezTo>
                <a:cubicBezTo>
                  <a:pt x="250069" y="214156"/>
                  <a:pt x="384834" y="144706"/>
                  <a:pt x="557382" y="128448"/>
                </a:cubicBezTo>
                <a:close/>
                <a:moveTo>
                  <a:pt x="483825" y="5240"/>
                </a:moveTo>
                <a:lnTo>
                  <a:pt x="542823" y="5240"/>
                </a:lnTo>
                <a:lnTo>
                  <a:pt x="556135" y="118081"/>
                </a:lnTo>
                <a:cubicBezTo>
                  <a:pt x="538291" y="119979"/>
                  <a:pt x="519994" y="121480"/>
                  <a:pt x="502575" y="124171"/>
                </a:cubicBezTo>
                <a:lnTo>
                  <a:pt x="496599" y="56846"/>
                </a:lnTo>
                <a:lnTo>
                  <a:pt x="431653" y="137087"/>
                </a:lnTo>
                <a:lnTo>
                  <a:pt x="431624" y="137087"/>
                </a:lnTo>
                <a:cubicBezTo>
                  <a:pt x="406699" y="142695"/>
                  <a:pt x="382369" y="149181"/>
                  <a:pt x="358634" y="156488"/>
                </a:cubicBezTo>
                <a:cubicBezTo>
                  <a:pt x="358634" y="156488"/>
                  <a:pt x="483825" y="5240"/>
                  <a:pt x="483825" y="5240"/>
                </a:cubicBezTo>
                <a:close/>
                <a:moveTo>
                  <a:pt x="333200" y="0"/>
                </a:moveTo>
                <a:cubicBezTo>
                  <a:pt x="369567" y="0"/>
                  <a:pt x="398967" y="10905"/>
                  <a:pt x="418765" y="28749"/>
                </a:cubicBezTo>
                <a:lnTo>
                  <a:pt x="387241" y="67750"/>
                </a:lnTo>
                <a:lnTo>
                  <a:pt x="387241" y="67779"/>
                </a:lnTo>
                <a:cubicBezTo>
                  <a:pt x="374892" y="53957"/>
                  <a:pt x="350023" y="42939"/>
                  <a:pt x="324985" y="42939"/>
                </a:cubicBezTo>
                <a:cubicBezTo>
                  <a:pt x="274258" y="42939"/>
                  <a:pt x="242507" y="79080"/>
                  <a:pt x="238966" y="115164"/>
                </a:cubicBezTo>
                <a:cubicBezTo>
                  <a:pt x="235964" y="145839"/>
                  <a:pt x="246642" y="164334"/>
                  <a:pt x="269726" y="172265"/>
                </a:cubicBezTo>
                <a:cubicBezTo>
                  <a:pt x="282528" y="175494"/>
                  <a:pt x="289779" y="176230"/>
                  <a:pt x="300118" y="176598"/>
                </a:cubicBezTo>
                <a:cubicBezTo>
                  <a:pt x="245028" y="197869"/>
                  <a:pt x="214665" y="214184"/>
                  <a:pt x="214665" y="214184"/>
                </a:cubicBezTo>
                <a:lnTo>
                  <a:pt x="0" y="214184"/>
                </a:lnTo>
                <a:cubicBezTo>
                  <a:pt x="0" y="214184"/>
                  <a:pt x="73726" y="5269"/>
                  <a:pt x="73726" y="5269"/>
                </a:cubicBezTo>
                <a:lnTo>
                  <a:pt x="232169" y="5269"/>
                </a:lnTo>
                <a:cubicBezTo>
                  <a:pt x="232169" y="5269"/>
                  <a:pt x="197812" y="47046"/>
                  <a:pt x="197812" y="47046"/>
                </a:cubicBezTo>
                <a:lnTo>
                  <a:pt x="113351" y="47046"/>
                </a:lnTo>
                <a:cubicBezTo>
                  <a:pt x="113351" y="47046"/>
                  <a:pt x="100435" y="83583"/>
                  <a:pt x="100435" y="83583"/>
                </a:cubicBezTo>
                <a:lnTo>
                  <a:pt x="167732" y="83583"/>
                </a:lnTo>
                <a:cubicBezTo>
                  <a:pt x="167732" y="83583"/>
                  <a:pt x="133432" y="125248"/>
                  <a:pt x="133432" y="125248"/>
                </a:cubicBezTo>
                <a:lnTo>
                  <a:pt x="85736" y="125248"/>
                </a:lnTo>
                <a:cubicBezTo>
                  <a:pt x="85736" y="125248"/>
                  <a:pt x="69109" y="172321"/>
                  <a:pt x="69109" y="172321"/>
                </a:cubicBezTo>
                <a:lnTo>
                  <a:pt x="198378" y="172321"/>
                </a:lnTo>
                <a:cubicBezTo>
                  <a:pt x="187616" y="154534"/>
                  <a:pt x="184302" y="136492"/>
                  <a:pt x="185265" y="118110"/>
                </a:cubicBezTo>
                <a:cubicBezTo>
                  <a:pt x="188494" y="57356"/>
                  <a:pt x="238202" y="0"/>
                  <a:pt x="333200" y="0"/>
                </a:cubicBezTo>
                <a:close/>
              </a:path>
            </a:pathLst>
          </a:custGeom>
          <a:solidFill>
            <a:schemeClr val="accent1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66C4D86F-C55F-5FE0-C743-1C648FF1E169}"/>
              </a:ext>
            </a:extLst>
          </p:cNvPr>
          <p:cNvSpPr/>
          <p:nvPr userDrawn="1"/>
        </p:nvSpPr>
        <p:spPr>
          <a:xfrm>
            <a:off x="1785310" y="1437313"/>
            <a:ext cx="2400034" cy="404320"/>
          </a:xfrm>
          <a:custGeom>
            <a:avLst/>
            <a:gdLst>
              <a:gd name="connsiteX0" fmla="*/ 682969 w 2400034"/>
              <a:gd name="connsiteY0" fmla="*/ 228969 h 404320"/>
              <a:gd name="connsiteX1" fmla="*/ 682969 w 2400034"/>
              <a:gd name="connsiteY1" fmla="*/ 333398 h 404320"/>
              <a:gd name="connsiteX2" fmla="*/ 707554 w 2400034"/>
              <a:gd name="connsiteY2" fmla="*/ 333398 h 404320"/>
              <a:gd name="connsiteX3" fmla="*/ 728230 w 2400034"/>
              <a:gd name="connsiteY3" fmla="*/ 312722 h 404320"/>
              <a:gd name="connsiteX4" fmla="*/ 728230 w 2400034"/>
              <a:gd name="connsiteY4" fmla="*/ 250183 h 404320"/>
              <a:gd name="connsiteX5" fmla="*/ 707554 w 2400034"/>
              <a:gd name="connsiteY5" fmla="*/ 228969 h 404320"/>
              <a:gd name="connsiteX6" fmla="*/ 682969 w 2400034"/>
              <a:gd name="connsiteY6" fmla="*/ 70923 h 404320"/>
              <a:gd name="connsiteX7" fmla="*/ 682969 w 2400034"/>
              <a:gd name="connsiteY7" fmla="*/ 169206 h 404320"/>
              <a:gd name="connsiteX8" fmla="*/ 703645 w 2400034"/>
              <a:gd name="connsiteY8" fmla="*/ 169206 h 404320"/>
              <a:gd name="connsiteX9" fmla="*/ 724859 w 2400034"/>
              <a:gd name="connsiteY9" fmla="*/ 147991 h 404320"/>
              <a:gd name="connsiteX10" fmla="*/ 724859 w 2400034"/>
              <a:gd name="connsiteY10" fmla="*/ 91570 h 404320"/>
              <a:gd name="connsiteX11" fmla="*/ 703645 w 2400034"/>
              <a:gd name="connsiteY11" fmla="*/ 70923 h 404320"/>
              <a:gd name="connsiteX12" fmla="*/ 1236272 w 2400034"/>
              <a:gd name="connsiteY12" fmla="*/ 64210 h 404320"/>
              <a:gd name="connsiteX13" fmla="*/ 1215057 w 2400034"/>
              <a:gd name="connsiteY13" fmla="*/ 84886 h 404320"/>
              <a:gd name="connsiteX14" fmla="*/ 1215057 w 2400034"/>
              <a:gd name="connsiteY14" fmla="*/ 319434 h 404320"/>
              <a:gd name="connsiteX15" fmla="*/ 1236272 w 2400034"/>
              <a:gd name="connsiteY15" fmla="*/ 340082 h 404320"/>
              <a:gd name="connsiteX16" fmla="*/ 1257486 w 2400034"/>
              <a:gd name="connsiteY16" fmla="*/ 319434 h 404320"/>
              <a:gd name="connsiteX17" fmla="*/ 1257486 w 2400034"/>
              <a:gd name="connsiteY17" fmla="*/ 84886 h 404320"/>
              <a:gd name="connsiteX18" fmla="*/ 1236272 w 2400034"/>
              <a:gd name="connsiteY18" fmla="*/ 64210 h 404320"/>
              <a:gd name="connsiteX19" fmla="*/ 1865595 w 2400034"/>
              <a:gd name="connsiteY19" fmla="*/ 6713 h 404320"/>
              <a:gd name="connsiteX20" fmla="*/ 1998518 w 2400034"/>
              <a:gd name="connsiteY20" fmla="*/ 6713 h 404320"/>
              <a:gd name="connsiteX21" fmla="*/ 1998518 w 2400034"/>
              <a:gd name="connsiteY21" fmla="*/ 70951 h 404320"/>
              <a:gd name="connsiteX22" fmla="*/ 1935980 w 2400034"/>
              <a:gd name="connsiteY22" fmla="*/ 70951 h 404320"/>
              <a:gd name="connsiteX23" fmla="*/ 1935980 w 2400034"/>
              <a:gd name="connsiteY23" fmla="*/ 168129 h 404320"/>
              <a:gd name="connsiteX24" fmla="*/ 1992372 w 2400034"/>
              <a:gd name="connsiteY24" fmla="*/ 168129 h 404320"/>
              <a:gd name="connsiteX25" fmla="*/ 1992372 w 2400034"/>
              <a:gd name="connsiteY25" fmla="*/ 230668 h 404320"/>
              <a:gd name="connsiteX26" fmla="*/ 1935980 w 2400034"/>
              <a:gd name="connsiteY26" fmla="*/ 230668 h 404320"/>
              <a:gd name="connsiteX27" fmla="*/ 1935980 w 2400034"/>
              <a:gd name="connsiteY27" fmla="*/ 333426 h 404320"/>
              <a:gd name="connsiteX28" fmla="*/ 1998518 w 2400034"/>
              <a:gd name="connsiteY28" fmla="*/ 333426 h 404320"/>
              <a:gd name="connsiteX29" fmla="*/ 1998518 w 2400034"/>
              <a:gd name="connsiteY29" fmla="*/ 397636 h 404320"/>
              <a:gd name="connsiteX30" fmla="*/ 1865595 w 2400034"/>
              <a:gd name="connsiteY30" fmla="*/ 397636 h 404320"/>
              <a:gd name="connsiteX31" fmla="*/ 1618783 w 2400034"/>
              <a:gd name="connsiteY31" fmla="*/ 6713 h 404320"/>
              <a:gd name="connsiteX32" fmla="*/ 1699760 w 2400034"/>
              <a:gd name="connsiteY32" fmla="*/ 6713 h 404320"/>
              <a:gd name="connsiteX33" fmla="*/ 1739980 w 2400034"/>
              <a:gd name="connsiteY33" fmla="*/ 192120 h 404320"/>
              <a:gd name="connsiteX34" fmla="*/ 1745559 w 2400034"/>
              <a:gd name="connsiteY34" fmla="*/ 241261 h 404320"/>
              <a:gd name="connsiteX35" fmla="*/ 1755048 w 2400034"/>
              <a:gd name="connsiteY35" fmla="*/ 241261 h 404320"/>
              <a:gd name="connsiteX36" fmla="*/ 1748902 w 2400034"/>
              <a:gd name="connsiteY36" fmla="*/ 192120 h 404320"/>
              <a:gd name="connsiteX37" fmla="*/ 1748902 w 2400034"/>
              <a:gd name="connsiteY37" fmla="*/ 6713 h 404320"/>
              <a:gd name="connsiteX38" fmla="*/ 1819258 w 2400034"/>
              <a:gd name="connsiteY38" fmla="*/ 6713 h 404320"/>
              <a:gd name="connsiteX39" fmla="*/ 1819258 w 2400034"/>
              <a:gd name="connsiteY39" fmla="*/ 397636 h 404320"/>
              <a:gd name="connsiteX40" fmla="*/ 1738847 w 2400034"/>
              <a:gd name="connsiteY40" fmla="*/ 397636 h 404320"/>
              <a:gd name="connsiteX41" fmla="*/ 1698627 w 2400034"/>
              <a:gd name="connsiteY41" fmla="*/ 212229 h 404320"/>
              <a:gd name="connsiteX42" fmla="*/ 1692481 w 2400034"/>
              <a:gd name="connsiteY42" fmla="*/ 163088 h 404320"/>
              <a:gd name="connsiteX43" fmla="*/ 1682993 w 2400034"/>
              <a:gd name="connsiteY43" fmla="*/ 163088 h 404320"/>
              <a:gd name="connsiteX44" fmla="*/ 1689139 w 2400034"/>
              <a:gd name="connsiteY44" fmla="*/ 212229 h 404320"/>
              <a:gd name="connsiteX45" fmla="*/ 1689139 w 2400034"/>
              <a:gd name="connsiteY45" fmla="*/ 397636 h 404320"/>
              <a:gd name="connsiteX46" fmla="*/ 1618783 w 2400034"/>
              <a:gd name="connsiteY46" fmla="*/ 397636 h 404320"/>
              <a:gd name="connsiteX47" fmla="*/ 1371942 w 2400034"/>
              <a:gd name="connsiteY47" fmla="*/ 6713 h 404320"/>
              <a:gd name="connsiteX48" fmla="*/ 1452919 w 2400034"/>
              <a:gd name="connsiteY48" fmla="*/ 6713 h 404320"/>
              <a:gd name="connsiteX49" fmla="*/ 1493139 w 2400034"/>
              <a:gd name="connsiteY49" fmla="*/ 192120 h 404320"/>
              <a:gd name="connsiteX50" fmla="*/ 1498719 w 2400034"/>
              <a:gd name="connsiteY50" fmla="*/ 241261 h 404320"/>
              <a:gd name="connsiteX51" fmla="*/ 1508207 w 2400034"/>
              <a:gd name="connsiteY51" fmla="*/ 241261 h 404320"/>
              <a:gd name="connsiteX52" fmla="*/ 1502061 w 2400034"/>
              <a:gd name="connsiteY52" fmla="*/ 192120 h 404320"/>
              <a:gd name="connsiteX53" fmla="*/ 1502061 w 2400034"/>
              <a:gd name="connsiteY53" fmla="*/ 6713 h 404320"/>
              <a:gd name="connsiteX54" fmla="*/ 1572417 w 2400034"/>
              <a:gd name="connsiteY54" fmla="*/ 6713 h 404320"/>
              <a:gd name="connsiteX55" fmla="*/ 1572417 w 2400034"/>
              <a:gd name="connsiteY55" fmla="*/ 397636 h 404320"/>
              <a:gd name="connsiteX56" fmla="*/ 1492006 w 2400034"/>
              <a:gd name="connsiteY56" fmla="*/ 397636 h 404320"/>
              <a:gd name="connsiteX57" fmla="*/ 1451787 w 2400034"/>
              <a:gd name="connsiteY57" fmla="*/ 212229 h 404320"/>
              <a:gd name="connsiteX58" fmla="*/ 1445640 w 2400034"/>
              <a:gd name="connsiteY58" fmla="*/ 163088 h 404320"/>
              <a:gd name="connsiteX59" fmla="*/ 1436152 w 2400034"/>
              <a:gd name="connsiteY59" fmla="*/ 163088 h 404320"/>
              <a:gd name="connsiteX60" fmla="*/ 1442298 w 2400034"/>
              <a:gd name="connsiteY60" fmla="*/ 212229 h 404320"/>
              <a:gd name="connsiteX61" fmla="*/ 1442298 w 2400034"/>
              <a:gd name="connsiteY61" fmla="*/ 397636 h 404320"/>
              <a:gd name="connsiteX62" fmla="*/ 1371942 w 2400034"/>
              <a:gd name="connsiteY62" fmla="*/ 397636 h 404320"/>
              <a:gd name="connsiteX63" fmla="*/ 612613 w 2400034"/>
              <a:gd name="connsiteY63" fmla="*/ 6713 h 404320"/>
              <a:gd name="connsiteX64" fmla="*/ 712029 w 2400034"/>
              <a:gd name="connsiteY64" fmla="*/ 6713 h 404320"/>
              <a:gd name="connsiteX65" fmla="*/ 795244 w 2400034"/>
              <a:gd name="connsiteY65" fmla="*/ 83215 h 404320"/>
              <a:gd name="connsiteX66" fmla="*/ 795244 w 2400034"/>
              <a:gd name="connsiteY66" fmla="*/ 136265 h 404320"/>
              <a:gd name="connsiteX67" fmla="*/ 762842 w 2400034"/>
              <a:gd name="connsiteY67" fmla="*/ 193791 h 404320"/>
              <a:gd name="connsiteX68" fmla="*/ 762842 w 2400034"/>
              <a:gd name="connsiteY68" fmla="*/ 197133 h 404320"/>
              <a:gd name="connsiteX69" fmla="*/ 798586 w 2400034"/>
              <a:gd name="connsiteY69" fmla="*/ 257434 h 404320"/>
              <a:gd name="connsiteX70" fmla="*/ 798586 w 2400034"/>
              <a:gd name="connsiteY70" fmla="*/ 321105 h 404320"/>
              <a:gd name="connsiteX71" fmla="*/ 715371 w 2400034"/>
              <a:gd name="connsiteY71" fmla="*/ 397608 h 404320"/>
              <a:gd name="connsiteX72" fmla="*/ 612613 w 2400034"/>
              <a:gd name="connsiteY72" fmla="*/ 397608 h 404320"/>
              <a:gd name="connsiteX73" fmla="*/ 226731 w 2400034"/>
              <a:gd name="connsiteY73" fmla="*/ 6713 h 404320"/>
              <a:gd name="connsiteX74" fmla="*/ 297087 w 2400034"/>
              <a:gd name="connsiteY74" fmla="*/ 6713 h 404320"/>
              <a:gd name="connsiteX75" fmla="*/ 297087 w 2400034"/>
              <a:gd name="connsiteY75" fmla="*/ 333426 h 404320"/>
              <a:gd name="connsiteX76" fmla="*/ 356284 w 2400034"/>
              <a:gd name="connsiteY76" fmla="*/ 333426 h 404320"/>
              <a:gd name="connsiteX77" fmla="*/ 356284 w 2400034"/>
              <a:gd name="connsiteY77" fmla="*/ 397636 h 404320"/>
              <a:gd name="connsiteX78" fmla="*/ 226731 w 2400034"/>
              <a:gd name="connsiteY78" fmla="*/ 397636 h 404320"/>
              <a:gd name="connsiteX79" fmla="*/ 2249239 w 2400034"/>
              <a:gd name="connsiteY79" fmla="*/ 6684 h 404320"/>
              <a:gd name="connsiteX80" fmla="*/ 2400034 w 2400034"/>
              <a:gd name="connsiteY80" fmla="*/ 6684 h 404320"/>
              <a:gd name="connsiteX81" fmla="*/ 2400034 w 2400034"/>
              <a:gd name="connsiteY81" fmla="*/ 70923 h 404320"/>
              <a:gd name="connsiteX82" fmla="*/ 2359815 w 2400034"/>
              <a:gd name="connsiteY82" fmla="*/ 70923 h 404320"/>
              <a:gd name="connsiteX83" fmla="*/ 2359815 w 2400034"/>
              <a:gd name="connsiteY83" fmla="*/ 397608 h 404320"/>
              <a:gd name="connsiteX84" fmla="*/ 2289459 w 2400034"/>
              <a:gd name="connsiteY84" fmla="*/ 397608 h 404320"/>
              <a:gd name="connsiteX85" fmla="*/ 2289459 w 2400034"/>
              <a:gd name="connsiteY85" fmla="*/ 70923 h 404320"/>
              <a:gd name="connsiteX86" fmla="*/ 2249239 w 2400034"/>
              <a:gd name="connsiteY86" fmla="*/ 70923 h 404320"/>
              <a:gd name="connsiteX87" fmla="*/ 384777 w 2400034"/>
              <a:gd name="connsiteY87" fmla="*/ 6684 h 404320"/>
              <a:gd name="connsiteX88" fmla="*/ 455133 w 2400034"/>
              <a:gd name="connsiteY88" fmla="*/ 6684 h 404320"/>
              <a:gd name="connsiteX89" fmla="*/ 455133 w 2400034"/>
              <a:gd name="connsiteY89" fmla="*/ 319434 h 404320"/>
              <a:gd name="connsiteX90" fmla="*/ 475810 w 2400034"/>
              <a:gd name="connsiteY90" fmla="*/ 340082 h 404320"/>
              <a:gd name="connsiteX91" fmla="*/ 497024 w 2400034"/>
              <a:gd name="connsiteY91" fmla="*/ 319434 h 404320"/>
              <a:gd name="connsiteX92" fmla="*/ 497024 w 2400034"/>
              <a:gd name="connsiteY92" fmla="*/ 6684 h 404320"/>
              <a:gd name="connsiteX93" fmla="*/ 567380 w 2400034"/>
              <a:gd name="connsiteY93" fmla="*/ 6684 h 404320"/>
              <a:gd name="connsiteX94" fmla="*/ 567380 w 2400034"/>
              <a:gd name="connsiteY94" fmla="*/ 319434 h 404320"/>
              <a:gd name="connsiteX95" fmla="*/ 475781 w 2400034"/>
              <a:gd name="connsiteY95" fmla="*/ 404320 h 404320"/>
              <a:gd name="connsiteX96" fmla="*/ 384749 w 2400034"/>
              <a:gd name="connsiteY96" fmla="*/ 319434 h 404320"/>
              <a:gd name="connsiteX97" fmla="*/ 384777 w 2400034"/>
              <a:gd name="connsiteY97" fmla="*/ 319434 h 404320"/>
              <a:gd name="connsiteX98" fmla="*/ 2127532 w 2400034"/>
              <a:gd name="connsiteY98" fmla="*/ 0 h 404320"/>
              <a:gd name="connsiteX99" fmla="*/ 2219131 w 2400034"/>
              <a:gd name="connsiteY99" fmla="*/ 84320 h 404320"/>
              <a:gd name="connsiteX100" fmla="*/ 2219131 w 2400034"/>
              <a:gd name="connsiteY100" fmla="*/ 165863 h 404320"/>
              <a:gd name="connsiteX101" fmla="*/ 2148775 w 2400034"/>
              <a:gd name="connsiteY101" fmla="*/ 165863 h 404320"/>
              <a:gd name="connsiteX102" fmla="*/ 2148775 w 2400034"/>
              <a:gd name="connsiteY102" fmla="*/ 84886 h 404320"/>
              <a:gd name="connsiteX103" fmla="*/ 2127561 w 2400034"/>
              <a:gd name="connsiteY103" fmla="*/ 64210 h 404320"/>
              <a:gd name="connsiteX104" fmla="*/ 2106346 w 2400034"/>
              <a:gd name="connsiteY104" fmla="*/ 84886 h 404320"/>
              <a:gd name="connsiteX105" fmla="*/ 2106346 w 2400034"/>
              <a:gd name="connsiteY105" fmla="*/ 319434 h 404320"/>
              <a:gd name="connsiteX106" fmla="*/ 2127561 w 2400034"/>
              <a:gd name="connsiteY106" fmla="*/ 340082 h 404320"/>
              <a:gd name="connsiteX107" fmla="*/ 2148775 w 2400034"/>
              <a:gd name="connsiteY107" fmla="*/ 319434 h 404320"/>
              <a:gd name="connsiteX108" fmla="*/ 2148775 w 2400034"/>
              <a:gd name="connsiteY108" fmla="*/ 232877 h 404320"/>
              <a:gd name="connsiteX109" fmla="*/ 2219131 w 2400034"/>
              <a:gd name="connsiteY109" fmla="*/ 232877 h 404320"/>
              <a:gd name="connsiteX110" fmla="*/ 2219131 w 2400034"/>
              <a:gd name="connsiteY110" fmla="*/ 319434 h 404320"/>
              <a:gd name="connsiteX111" fmla="*/ 2127532 w 2400034"/>
              <a:gd name="connsiteY111" fmla="*/ 404320 h 404320"/>
              <a:gd name="connsiteX112" fmla="*/ 2035934 w 2400034"/>
              <a:gd name="connsiteY112" fmla="*/ 319434 h 404320"/>
              <a:gd name="connsiteX113" fmla="*/ 2035934 w 2400034"/>
              <a:gd name="connsiteY113" fmla="*/ 84320 h 404320"/>
              <a:gd name="connsiteX114" fmla="*/ 2127532 w 2400034"/>
              <a:gd name="connsiteY114" fmla="*/ 0 h 404320"/>
              <a:gd name="connsiteX115" fmla="*/ 1236272 w 2400034"/>
              <a:gd name="connsiteY115" fmla="*/ 0 h 404320"/>
              <a:gd name="connsiteX116" fmla="*/ 1327871 w 2400034"/>
              <a:gd name="connsiteY116" fmla="*/ 84320 h 404320"/>
              <a:gd name="connsiteX117" fmla="*/ 1327871 w 2400034"/>
              <a:gd name="connsiteY117" fmla="*/ 319434 h 404320"/>
              <a:gd name="connsiteX118" fmla="*/ 1236272 w 2400034"/>
              <a:gd name="connsiteY118" fmla="*/ 404320 h 404320"/>
              <a:gd name="connsiteX119" fmla="*/ 1144673 w 2400034"/>
              <a:gd name="connsiteY119" fmla="*/ 319434 h 404320"/>
              <a:gd name="connsiteX120" fmla="*/ 1144673 w 2400034"/>
              <a:gd name="connsiteY120" fmla="*/ 84320 h 404320"/>
              <a:gd name="connsiteX121" fmla="*/ 1236272 w 2400034"/>
              <a:gd name="connsiteY121" fmla="*/ 0 h 404320"/>
              <a:gd name="connsiteX122" fmla="*/ 1011778 w 2400034"/>
              <a:gd name="connsiteY122" fmla="*/ 0 h 404320"/>
              <a:gd name="connsiteX123" fmla="*/ 1103377 w 2400034"/>
              <a:gd name="connsiteY123" fmla="*/ 84320 h 404320"/>
              <a:gd name="connsiteX124" fmla="*/ 1103377 w 2400034"/>
              <a:gd name="connsiteY124" fmla="*/ 165863 h 404320"/>
              <a:gd name="connsiteX125" fmla="*/ 1033021 w 2400034"/>
              <a:gd name="connsiteY125" fmla="*/ 165863 h 404320"/>
              <a:gd name="connsiteX126" fmla="*/ 1033021 w 2400034"/>
              <a:gd name="connsiteY126" fmla="*/ 84886 h 404320"/>
              <a:gd name="connsiteX127" fmla="*/ 1011807 w 2400034"/>
              <a:gd name="connsiteY127" fmla="*/ 64210 h 404320"/>
              <a:gd name="connsiteX128" fmla="*/ 990592 w 2400034"/>
              <a:gd name="connsiteY128" fmla="*/ 84886 h 404320"/>
              <a:gd name="connsiteX129" fmla="*/ 990592 w 2400034"/>
              <a:gd name="connsiteY129" fmla="*/ 319434 h 404320"/>
              <a:gd name="connsiteX130" fmla="*/ 1011807 w 2400034"/>
              <a:gd name="connsiteY130" fmla="*/ 340082 h 404320"/>
              <a:gd name="connsiteX131" fmla="*/ 1033021 w 2400034"/>
              <a:gd name="connsiteY131" fmla="*/ 319434 h 404320"/>
              <a:gd name="connsiteX132" fmla="*/ 1033021 w 2400034"/>
              <a:gd name="connsiteY132" fmla="*/ 232877 h 404320"/>
              <a:gd name="connsiteX133" fmla="*/ 1103377 w 2400034"/>
              <a:gd name="connsiteY133" fmla="*/ 232877 h 404320"/>
              <a:gd name="connsiteX134" fmla="*/ 1103377 w 2400034"/>
              <a:gd name="connsiteY134" fmla="*/ 319434 h 404320"/>
              <a:gd name="connsiteX135" fmla="*/ 1011778 w 2400034"/>
              <a:gd name="connsiteY135" fmla="*/ 404320 h 404320"/>
              <a:gd name="connsiteX136" fmla="*/ 920179 w 2400034"/>
              <a:gd name="connsiteY136" fmla="*/ 319434 h 404320"/>
              <a:gd name="connsiteX137" fmla="*/ 920179 w 2400034"/>
              <a:gd name="connsiteY137" fmla="*/ 84320 h 404320"/>
              <a:gd name="connsiteX138" fmla="*/ 1011778 w 2400034"/>
              <a:gd name="connsiteY138" fmla="*/ 0 h 404320"/>
              <a:gd name="connsiteX139" fmla="*/ 91599 w 2400034"/>
              <a:gd name="connsiteY139" fmla="*/ 0 h 404320"/>
              <a:gd name="connsiteX140" fmla="*/ 183198 w 2400034"/>
              <a:gd name="connsiteY140" fmla="*/ 84320 h 404320"/>
              <a:gd name="connsiteX141" fmla="*/ 183198 w 2400034"/>
              <a:gd name="connsiteY141" fmla="*/ 165863 h 404320"/>
              <a:gd name="connsiteX142" fmla="*/ 112842 w 2400034"/>
              <a:gd name="connsiteY142" fmla="*/ 165863 h 404320"/>
              <a:gd name="connsiteX143" fmla="*/ 112842 w 2400034"/>
              <a:gd name="connsiteY143" fmla="*/ 84886 h 404320"/>
              <a:gd name="connsiteX144" fmla="*/ 91627 w 2400034"/>
              <a:gd name="connsiteY144" fmla="*/ 64210 h 404320"/>
              <a:gd name="connsiteX145" fmla="*/ 70413 w 2400034"/>
              <a:gd name="connsiteY145" fmla="*/ 84886 h 404320"/>
              <a:gd name="connsiteX146" fmla="*/ 70413 w 2400034"/>
              <a:gd name="connsiteY146" fmla="*/ 319434 h 404320"/>
              <a:gd name="connsiteX147" fmla="*/ 91627 w 2400034"/>
              <a:gd name="connsiteY147" fmla="*/ 340082 h 404320"/>
              <a:gd name="connsiteX148" fmla="*/ 112842 w 2400034"/>
              <a:gd name="connsiteY148" fmla="*/ 319434 h 404320"/>
              <a:gd name="connsiteX149" fmla="*/ 112842 w 2400034"/>
              <a:gd name="connsiteY149" fmla="*/ 232877 h 404320"/>
              <a:gd name="connsiteX150" fmla="*/ 183198 w 2400034"/>
              <a:gd name="connsiteY150" fmla="*/ 232877 h 404320"/>
              <a:gd name="connsiteX151" fmla="*/ 183198 w 2400034"/>
              <a:gd name="connsiteY151" fmla="*/ 319434 h 404320"/>
              <a:gd name="connsiteX152" fmla="*/ 91599 w 2400034"/>
              <a:gd name="connsiteY152" fmla="*/ 404320 h 404320"/>
              <a:gd name="connsiteX153" fmla="*/ 0 w 2400034"/>
              <a:gd name="connsiteY153" fmla="*/ 319434 h 404320"/>
              <a:gd name="connsiteX154" fmla="*/ 0 w 2400034"/>
              <a:gd name="connsiteY154" fmla="*/ 84320 h 404320"/>
              <a:gd name="connsiteX155" fmla="*/ 91599 w 2400034"/>
              <a:gd name="connsiteY155" fmla="*/ 0 h 404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</a:cxnLst>
            <a:rect l="l" t="t" r="r" b="b"/>
            <a:pathLst>
              <a:path w="2400034" h="404320">
                <a:moveTo>
                  <a:pt x="682969" y="228969"/>
                </a:moveTo>
                <a:lnTo>
                  <a:pt x="682969" y="333398"/>
                </a:lnTo>
                <a:lnTo>
                  <a:pt x="707554" y="333398"/>
                </a:lnTo>
                <a:cubicBezTo>
                  <a:pt x="719846" y="333398"/>
                  <a:pt x="728230" y="325581"/>
                  <a:pt x="728230" y="312722"/>
                </a:cubicBezTo>
                <a:lnTo>
                  <a:pt x="728230" y="250183"/>
                </a:lnTo>
                <a:cubicBezTo>
                  <a:pt x="728230" y="237352"/>
                  <a:pt x="719846" y="228969"/>
                  <a:pt x="707554" y="228969"/>
                </a:cubicBezTo>
                <a:close/>
                <a:moveTo>
                  <a:pt x="682969" y="70923"/>
                </a:moveTo>
                <a:lnTo>
                  <a:pt x="682969" y="169206"/>
                </a:lnTo>
                <a:lnTo>
                  <a:pt x="703645" y="169206"/>
                </a:lnTo>
                <a:cubicBezTo>
                  <a:pt x="716476" y="169206"/>
                  <a:pt x="724859" y="160822"/>
                  <a:pt x="724859" y="147991"/>
                </a:cubicBezTo>
                <a:lnTo>
                  <a:pt x="724859" y="91570"/>
                </a:lnTo>
                <a:cubicBezTo>
                  <a:pt x="724859" y="78740"/>
                  <a:pt x="716476" y="70923"/>
                  <a:pt x="703645" y="70923"/>
                </a:cubicBezTo>
                <a:close/>
                <a:moveTo>
                  <a:pt x="1236272" y="64210"/>
                </a:moveTo>
                <a:cubicBezTo>
                  <a:pt x="1223441" y="64210"/>
                  <a:pt x="1215057" y="72027"/>
                  <a:pt x="1215057" y="84886"/>
                </a:cubicBezTo>
                <a:lnTo>
                  <a:pt x="1215057" y="319434"/>
                </a:lnTo>
                <a:cubicBezTo>
                  <a:pt x="1215057" y="332265"/>
                  <a:pt x="1223441" y="340082"/>
                  <a:pt x="1236272" y="340082"/>
                </a:cubicBezTo>
                <a:cubicBezTo>
                  <a:pt x="1249102" y="340082"/>
                  <a:pt x="1257486" y="332265"/>
                  <a:pt x="1257486" y="319434"/>
                </a:cubicBezTo>
                <a:lnTo>
                  <a:pt x="1257486" y="84886"/>
                </a:lnTo>
                <a:cubicBezTo>
                  <a:pt x="1257486" y="72055"/>
                  <a:pt x="1249102" y="64210"/>
                  <a:pt x="1236272" y="64210"/>
                </a:cubicBezTo>
                <a:close/>
                <a:moveTo>
                  <a:pt x="1865595" y="6713"/>
                </a:moveTo>
                <a:lnTo>
                  <a:pt x="1998518" y="6713"/>
                </a:lnTo>
                <a:lnTo>
                  <a:pt x="1998518" y="70951"/>
                </a:lnTo>
                <a:lnTo>
                  <a:pt x="1935980" y="70951"/>
                </a:lnTo>
                <a:lnTo>
                  <a:pt x="1935980" y="168129"/>
                </a:lnTo>
                <a:lnTo>
                  <a:pt x="1992372" y="168129"/>
                </a:lnTo>
                <a:lnTo>
                  <a:pt x="1992372" y="230668"/>
                </a:lnTo>
                <a:lnTo>
                  <a:pt x="1935980" y="230668"/>
                </a:lnTo>
                <a:lnTo>
                  <a:pt x="1935980" y="333426"/>
                </a:lnTo>
                <a:lnTo>
                  <a:pt x="1998518" y="333426"/>
                </a:lnTo>
                <a:lnTo>
                  <a:pt x="1998518" y="397636"/>
                </a:lnTo>
                <a:lnTo>
                  <a:pt x="1865595" y="397636"/>
                </a:lnTo>
                <a:close/>
                <a:moveTo>
                  <a:pt x="1618783" y="6713"/>
                </a:moveTo>
                <a:lnTo>
                  <a:pt x="1699760" y="6713"/>
                </a:lnTo>
                <a:lnTo>
                  <a:pt x="1739980" y="192120"/>
                </a:lnTo>
                <a:lnTo>
                  <a:pt x="1745559" y="241261"/>
                </a:lnTo>
                <a:lnTo>
                  <a:pt x="1755048" y="241261"/>
                </a:lnTo>
                <a:lnTo>
                  <a:pt x="1748902" y="192120"/>
                </a:lnTo>
                <a:lnTo>
                  <a:pt x="1748902" y="6713"/>
                </a:lnTo>
                <a:lnTo>
                  <a:pt x="1819258" y="6713"/>
                </a:lnTo>
                <a:lnTo>
                  <a:pt x="1819258" y="397636"/>
                </a:lnTo>
                <a:lnTo>
                  <a:pt x="1738847" y="397636"/>
                </a:lnTo>
                <a:lnTo>
                  <a:pt x="1698627" y="212229"/>
                </a:lnTo>
                <a:lnTo>
                  <a:pt x="1692481" y="163088"/>
                </a:lnTo>
                <a:lnTo>
                  <a:pt x="1682993" y="163088"/>
                </a:lnTo>
                <a:lnTo>
                  <a:pt x="1689139" y="212229"/>
                </a:lnTo>
                <a:lnTo>
                  <a:pt x="1689139" y="397636"/>
                </a:lnTo>
                <a:lnTo>
                  <a:pt x="1618783" y="397636"/>
                </a:lnTo>
                <a:close/>
                <a:moveTo>
                  <a:pt x="1371942" y="6713"/>
                </a:moveTo>
                <a:lnTo>
                  <a:pt x="1452919" y="6713"/>
                </a:lnTo>
                <a:lnTo>
                  <a:pt x="1493139" y="192120"/>
                </a:lnTo>
                <a:lnTo>
                  <a:pt x="1498719" y="241261"/>
                </a:lnTo>
                <a:lnTo>
                  <a:pt x="1508207" y="241261"/>
                </a:lnTo>
                <a:lnTo>
                  <a:pt x="1502061" y="192120"/>
                </a:lnTo>
                <a:lnTo>
                  <a:pt x="1502061" y="6713"/>
                </a:lnTo>
                <a:lnTo>
                  <a:pt x="1572417" y="6713"/>
                </a:lnTo>
                <a:lnTo>
                  <a:pt x="1572417" y="397636"/>
                </a:lnTo>
                <a:lnTo>
                  <a:pt x="1492006" y="397636"/>
                </a:lnTo>
                <a:lnTo>
                  <a:pt x="1451787" y="212229"/>
                </a:lnTo>
                <a:lnTo>
                  <a:pt x="1445640" y="163088"/>
                </a:lnTo>
                <a:lnTo>
                  <a:pt x="1436152" y="163088"/>
                </a:lnTo>
                <a:lnTo>
                  <a:pt x="1442298" y="212229"/>
                </a:lnTo>
                <a:lnTo>
                  <a:pt x="1442298" y="397636"/>
                </a:lnTo>
                <a:lnTo>
                  <a:pt x="1371942" y="397636"/>
                </a:lnTo>
                <a:close/>
                <a:moveTo>
                  <a:pt x="612613" y="6713"/>
                </a:moveTo>
                <a:lnTo>
                  <a:pt x="712029" y="6713"/>
                </a:lnTo>
                <a:cubicBezTo>
                  <a:pt x="761737" y="6713"/>
                  <a:pt x="795244" y="37444"/>
                  <a:pt x="795244" y="83215"/>
                </a:cubicBezTo>
                <a:lnTo>
                  <a:pt x="795244" y="136265"/>
                </a:lnTo>
                <a:cubicBezTo>
                  <a:pt x="795244" y="159717"/>
                  <a:pt x="784623" y="183736"/>
                  <a:pt x="762842" y="193791"/>
                </a:cubicBezTo>
                <a:lnTo>
                  <a:pt x="762842" y="197133"/>
                </a:lnTo>
                <a:cubicBezTo>
                  <a:pt x="786293" y="207188"/>
                  <a:pt x="798586" y="232311"/>
                  <a:pt x="798586" y="257434"/>
                </a:cubicBezTo>
                <a:lnTo>
                  <a:pt x="798586" y="321105"/>
                </a:lnTo>
                <a:cubicBezTo>
                  <a:pt x="798586" y="366905"/>
                  <a:pt x="765646" y="397608"/>
                  <a:pt x="715371" y="397608"/>
                </a:cubicBezTo>
                <a:lnTo>
                  <a:pt x="612613" y="397608"/>
                </a:lnTo>
                <a:close/>
                <a:moveTo>
                  <a:pt x="226731" y="6713"/>
                </a:moveTo>
                <a:lnTo>
                  <a:pt x="297087" y="6713"/>
                </a:lnTo>
                <a:lnTo>
                  <a:pt x="297087" y="333426"/>
                </a:lnTo>
                <a:lnTo>
                  <a:pt x="356284" y="333426"/>
                </a:lnTo>
                <a:lnTo>
                  <a:pt x="356284" y="397636"/>
                </a:lnTo>
                <a:lnTo>
                  <a:pt x="226731" y="397636"/>
                </a:lnTo>
                <a:close/>
                <a:moveTo>
                  <a:pt x="2249239" y="6684"/>
                </a:moveTo>
                <a:lnTo>
                  <a:pt x="2400034" y="6684"/>
                </a:lnTo>
                <a:lnTo>
                  <a:pt x="2400034" y="70923"/>
                </a:lnTo>
                <a:lnTo>
                  <a:pt x="2359815" y="70923"/>
                </a:lnTo>
                <a:lnTo>
                  <a:pt x="2359815" y="397608"/>
                </a:lnTo>
                <a:lnTo>
                  <a:pt x="2289459" y="397608"/>
                </a:lnTo>
                <a:lnTo>
                  <a:pt x="2289459" y="70923"/>
                </a:lnTo>
                <a:lnTo>
                  <a:pt x="2249239" y="70923"/>
                </a:lnTo>
                <a:close/>
                <a:moveTo>
                  <a:pt x="384777" y="6684"/>
                </a:moveTo>
                <a:lnTo>
                  <a:pt x="455133" y="6684"/>
                </a:lnTo>
                <a:lnTo>
                  <a:pt x="455133" y="319434"/>
                </a:lnTo>
                <a:cubicBezTo>
                  <a:pt x="455133" y="332265"/>
                  <a:pt x="463517" y="340082"/>
                  <a:pt x="475810" y="340082"/>
                </a:cubicBezTo>
                <a:cubicBezTo>
                  <a:pt x="488102" y="340082"/>
                  <a:pt x="497024" y="332265"/>
                  <a:pt x="497024" y="319434"/>
                </a:cubicBezTo>
                <a:lnTo>
                  <a:pt x="497024" y="6684"/>
                </a:lnTo>
                <a:lnTo>
                  <a:pt x="567380" y="6684"/>
                </a:lnTo>
                <a:lnTo>
                  <a:pt x="567380" y="319434"/>
                </a:lnTo>
                <a:cubicBezTo>
                  <a:pt x="567380" y="370247"/>
                  <a:pt x="530531" y="404320"/>
                  <a:pt x="475781" y="404320"/>
                </a:cubicBezTo>
                <a:cubicBezTo>
                  <a:pt x="421031" y="404320"/>
                  <a:pt x="384749" y="370247"/>
                  <a:pt x="384749" y="319434"/>
                </a:cubicBezTo>
                <a:lnTo>
                  <a:pt x="384777" y="319434"/>
                </a:lnTo>
                <a:close/>
                <a:moveTo>
                  <a:pt x="2127532" y="0"/>
                </a:moveTo>
                <a:cubicBezTo>
                  <a:pt x="2182282" y="0"/>
                  <a:pt x="2219131" y="34073"/>
                  <a:pt x="2219131" y="84320"/>
                </a:cubicBezTo>
                <a:lnTo>
                  <a:pt x="2219131" y="165863"/>
                </a:lnTo>
                <a:lnTo>
                  <a:pt x="2148775" y="165863"/>
                </a:lnTo>
                <a:lnTo>
                  <a:pt x="2148775" y="84886"/>
                </a:lnTo>
                <a:cubicBezTo>
                  <a:pt x="2148775" y="72055"/>
                  <a:pt x="2140391" y="64210"/>
                  <a:pt x="2127561" y="64210"/>
                </a:cubicBezTo>
                <a:cubicBezTo>
                  <a:pt x="2114730" y="64210"/>
                  <a:pt x="2106346" y="72027"/>
                  <a:pt x="2106346" y="84886"/>
                </a:cubicBezTo>
                <a:lnTo>
                  <a:pt x="2106346" y="319434"/>
                </a:lnTo>
                <a:cubicBezTo>
                  <a:pt x="2106346" y="332265"/>
                  <a:pt x="2114730" y="340082"/>
                  <a:pt x="2127561" y="340082"/>
                </a:cubicBezTo>
                <a:cubicBezTo>
                  <a:pt x="2140391" y="340082"/>
                  <a:pt x="2148775" y="332265"/>
                  <a:pt x="2148775" y="319434"/>
                </a:cubicBezTo>
                <a:lnTo>
                  <a:pt x="2148775" y="232877"/>
                </a:lnTo>
                <a:lnTo>
                  <a:pt x="2219131" y="232877"/>
                </a:lnTo>
                <a:lnTo>
                  <a:pt x="2219131" y="319434"/>
                </a:lnTo>
                <a:cubicBezTo>
                  <a:pt x="2219131" y="370247"/>
                  <a:pt x="2182282" y="404320"/>
                  <a:pt x="2127532" y="404320"/>
                </a:cubicBezTo>
                <a:cubicBezTo>
                  <a:pt x="2072783" y="404320"/>
                  <a:pt x="2035934" y="370247"/>
                  <a:pt x="2035934" y="319434"/>
                </a:cubicBezTo>
                <a:lnTo>
                  <a:pt x="2035934" y="84320"/>
                </a:lnTo>
                <a:cubicBezTo>
                  <a:pt x="2035934" y="34045"/>
                  <a:pt x="2072783" y="0"/>
                  <a:pt x="2127532" y="0"/>
                </a:cubicBezTo>
                <a:close/>
                <a:moveTo>
                  <a:pt x="1236272" y="0"/>
                </a:moveTo>
                <a:cubicBezTo>
                  <a:pt x="1291021" y="0"/>
                  <a:pt x="1327871" y="34073"/>
                  <a:pt x="1327871" y="84320"/>
                </a:cubicBezTo>
                <a:lnTo>
                  <a:pt x="1327871" y="319434"/>
                </a:lnTo>
                <a:cubicBezTo>
                  <a:pt x="1327871" y="370247"/>
                  <a:pt x="1291021" y="404320"/>
                  <a:pt x="1236272" y="404320"/>
                </a:cubicBezTo>
                <a:cubicBezTo>
                  <a:pt x="1181522" y="404320"/>
                  <a:pt x="1144673" y="370247"/>
                  <a:pt x="1144673" y="319434"/>
                </a:cubicBezTo>
                <a:lnTo>
                  <a:pt x="1144673" y="84320"/>
                </a:lnTo>
                <a:cubicBezTo>
                  <a:pt x="1144673" y="34045"/>
                  <a:pt x="1181522" y="0"/>
                  <a:pt x="1236272" y="0"/>
                </a:cubicBezTo>
                <a:close/>
                <a:moveTo>
                  <a:pt x="1011778" y="0"/>
                </a:moveTo>
                <a:cubicBezTo>
                  <a:pt x="1066528" y="0"/>
                  <a:pt x="1103377" y="34073"/>
                  <a:pt x="1103377" y="84320"/>
                </a:cubicBezTo>
                <a:lnTo>
                  <a:pt x="1103377" y="165863"/>
                </a:lnTo>
                <a:lnTo>
                  <a:pt x="1033021" y="165863"/>
                </a:lnTo>
                <a:lnTo>
                  <a:pt x="1033021" y="84886"/>
                </a:lnTo>
                <a:cubicBezTo>
                  <a:pt x="1033021" y="72055"/>
                  <a:pt x="1024637" y="64210"/>
                  <a:pt x="1011807" y="64210"/>
                </a:cubicBezTo>
                <a:cubicBezTo>
                  <a:pt x="998976" y="64210"/>
                  <a:pt x="990592" y="72027"/>
                  <a:pt x="990592" y="84886"/>
                </a:cubicBezTo>
                <a:lnTo>
                  <a:pt x="990592" y="319434"/>
                </a:lnTo>
                <a:cubicBezTo>
                  <a:pt x="990592" y="332265"/>
                  <a:pt x="998976" y="340082"/>
                  <a:pt x="1011807" y="340082"/>
                </a:cubicBezTo>
                <a:cubicBezTo>
                  <a:pt x="1024637" y="340082"/>
                  <a:pt x="1033021" y="332265"/>
                  <a:pt x="1033021" y="319434"/>
                </a:cubicBezTo>
                <a:lnTo>
                  <a:pt x="1033021" y="232877"/>
                </a:lnTo>
                <a:lnTo>
                  <a:pt x="1103377" y="232877"/>
                </a:lnTo>
                <a:lnTo>
                  <a:pt x="1103377" y="319434"/>
                </a:lnTo>
                <a:cubicBezTo>
                  <a:pt x="1103377" y="370247"/>
                  <a:pt x="1066528" y="404320"/>
                  <a:pt x="1011778" y="404320"/>
                </a:cubicBezTo>
                <a:cubicBezTo>
                  <a:pt x="957029" y="404320"/>
                  <a:pt x="920179" y="370247"/>
                  <a:pt x="920179" y="319434"/>
                </a:cubicBezTo>
                <a:lnTo>
                  <a:pt x="920179" y="84320"/>
                </a:lnTo>
                <a:cubicBezTo>
                  <a:pt x="920179" y="34045"/>
                  <a:pt x="957029" y="0"/>
                  <a:pt x="1011778" y="0"/>
                </a:cubicBezTo>
                <a:close/>
                <a:moveTo>
                  <a:pt x="91599" y="0"/>
                </a:moveTo>
                <a:cubicBezTo>
                  <a:pt x="146349" y="0"/>
                  <a:pt x="183198" y="34073"/>
                  <a:pt x="183198" y="84320"/>
                </a:cubicBezTo>
                <a:lnTo>
                  <a:pt x="183198" y="165863"/>
                </a:lnTo>
                <a:lnTo>
                  <a:pt x="112842" y="165863"/>
                </a:lnTo>
                <a:lnTo>
                  <a:pt x="112842" y="84886"/>
                </a:lnTo>
                <a:cubicBezTo>
                  <a:pt x="112842" y="72055"/>
                  <a:pt x="104458" y="64210"/>
                  <a:pt x="91627" y="64210"/>
                </a:cubicBezTo>
                <a:cubicBezTo>
                  <a:pt x="78797" y="64210"/>
                  <a:pt x="70413" y="72027"/>
                  <a:pt x="70413" y="84886"/>
                </a:cubicBezTo>
                <a:lnTo>
                  <a:pt x="70413" y="319434"/>
                </a:lnTo>
                <a:cubicBezTo>
                  <a:pt x="70413" y="332265"/>
                  <a:pt x="78797" y="340082"/>
                  <a:pt x="91627" y="340082"/>
                </a:cubicBezTo>
                <a:cubicBezTo>
                  <a:pt x="104458" y="340082"/>
                  <a:pt x="112842" y="332265"/>
                  <a:pt x="112842" y="319434"/>
                </a:cubicBezTo>
                <a:lnTo>
                  <a:pt x="112842" y="232877"/>
                </a:lnTo>
                <a:lnTo>
                  <a:pt x="183198" y="232877"/>
                </a:lnTo>
                <a:lnTo>
                  <a:pt x="183198" y="319434"/>
                </a:lnTo>
                <a:cubicBezTo>
                  <a:pt x="183198" y="370247"/>
                  <a:pt x="146349" y="404320"/>
                  <a:pt x="91599" y="404320"/>
                </a:cubicBezTo>
                <a:cubicBezTo>
                  <a:pt x="36849" y="404320"/>
                  <a:pt x="0" y="370247"/>
                  <a:pt x="0" y="319434"/>
                </a:cubicBezTo>
                <a:lnTo>
                  <a:pt x="0" y="84320"/>
                </a:lnTo>
                <a:cubicBezTo>
                  <a:pt x="0" y="34045"/>
                  <a:pt x="36849" y="0"/>
                  <a:pt x="91599" y="0"/>
                </a:cubicBez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1725102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een background with small circles&#10;&#10;Description automatically generated">
            <a:extLst>
              <a:ext uri="{FF2B5EF4-FFF2-40B4-BE49-F238E27FC236}">
                <a16:creationId xmlns:a16="http://schemas.microsoft.com/office/drawing/2014/main" id="{C06D08B9-2822-AA09-B663-7D95860C36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C2B404-9FBA-1E87-C027-2BB6C644C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110772"/>
            <a:ext cx="6826250" cy="1673731"/>
          </a:xfrm>
        </p:spPr>
        <p:txBody>
          <a:bodyPr anchor="b"/>
          <a:lstStyle>
            <a:lvl1pPr>
              <a:defRPr sz="5000">
                <a:solidFill>
                  <a:schemeClr val="tx2"/>
                </a:solidFill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8598D-4FA6-4246-6447-7B759D632FD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811492"/>
            <a:ext cx="6826250" cy="34727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optional 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B53587-0701-2BC6-CC8A-7319C380CA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849" y="6327552"/>
            <a:ext cx="6868450" cy="347270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optional date</a:t>
            </a:r>
            <a:endParaRPr lang="en-GB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1FCA1F3-62B5-C71B-D135-73E9DB172764}"/>
              </a:ext>
            </a:extLst>
          </p:cNvPr>
          <p:cNvGrpSpPr/>
          <p:nvPr userDrawn="1"/>
        </p:nvGrpSpPr>
        <p:grpSpPr>
          <a:xfrm>
            <a:off x="831850" y="1085024"/>
            <a:ext cx="3353494" cy="825804"/>
            <a:chOff x="13749337" y="746575"/>
            <a:chExt cx="11277504" cy="2777109"/>
          </a:xfrm>
          <a:solidFill>
            <a:schemeClr val="accent1"/>
          </a:solidFill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5D74723-591C-61E8-9A17-EE9A50999B0E}"/>
                </a:ext>
              </a:extLst>
            </p:cNvPr>
            <p:cNvSpPr/>
            <p:nvPr/>
          </p:nvSpPr>
          <p:spPr>
            <a:xfrm>
              <a:off x="13749337" y="746575"/>
              <a:ext cx="5114450" cy="2777109"/>
            </a:xfrm>
            <a:custGeom>
              <a:avLst/>
              <a:gdLst>
                <a:gd name="connsiteX0" fmla="*/ 5080826 w 5114450"/>
                <a:gd name="connsiteY0" fmla="*/ 664559 h 2777109"/>
                <a:gd name="connsiteX1" fmla="*/ 5114450 w 5114450"/>
                <a:gd name="connsiteY1" fmla="*/ 952786 h 2777109"/>
                <a:gd name="connsiteX2" fmla="*/ 4924234 w 5114450"/>
                <a:gd name="connsiteY2" fmla="*/ 952786 h 2777109"/>
                <a:gd name="connsiteX3" fmla="*/ 4911662 w 5114450"/>
                <a:gd name="connsiteY3" fmla="*/ 812292 h 2777109"/>
                <a:gd name="connsiteX4" fmla="*/ 4562570 w 5114450"/>
                <a:gd name="connsiteY4" fmla="*/ 812292 h 2777109"/>
                <a:gd name="connsiteX5" fmla="*/ 4196906 w 5114450"/>
                <a:gd name="connsiteY5" fmla="*/ 972026 h 2777109"/>
                <a:gd name="connsiteX6" fmla="*/ 4047362 w 5114450"/>
                <a:gd name="connsiteY6" fmla="*/ 952786 h 2777109"/>
                <a:gd name="connsiteX7" fmla="*/ 5080826 w 5114450"/>
                <a:gd name="connsiteY7" fmla="*/ 664559 h 2777109"/>
                <a:gd name="connsiteX8" fmla="*/ 4833462 w 5114450"/>
                <a:gd name="connsiteY8" fmla="*/ 250221 h 2777109"/>
                <a:gd name="connsiteX9" fmla="*/ 5031866 w 5114450"/>
                <a:gd name="connsiteY9" fmla="*/ 250221 h 2777109"/>
                <a:gd name="connsiteX10" fmla="*/ 5076634 w 5114450"/>
                <a:gd name="connsiteY10" fmla="*/ 629697 h 2777109"/>
                <a:gd name="connsiteX11" fmla="*/ 4896516 w 5114450"/>
                <a:gd name="connsiteY11" fmla="*/ 650176 h 2777109"/>
                <a:gd name="connsiteX12" fmla="*/ 4876418 w 5114450"/>
                <a:gd name="connsiteY12" fmla="*/ 423767 h 2777109"/>
                <a:gd name="connsiteX13" fmla="*/ 4658010 w 5114450"/>
                <a:gd name="connsiteY13" fmla="*/ 693610 h 2777109"/>
                <a:gd name="connsiteX14" fmla="*/ 4657914 w 5114450"/>
                <a:gd name="connsiteY14" fmla="*/ 693610 h 2777109"/>
                <a:gd name="connsiteX15" fmla="*/ 4412456 w 5114450"/>
                <a:gd name="connsiteY15" fmla="*/ 758856 h 2777109"/>
                <a:gd name="connsiteX16" fmla="*/ 4833462 w 5114450"/>
                <a:gd name="connsiteY16" fmla="*/ 250221 h 2777109"/>
                <a:gd name="connsiteX17" fmla="*/ 4326922 w 5114450"/>
                <a:gd name="connsiteY17" fmla="*/ 232600 h 2777109"/>
                <a:gd name="connsiteX18" fmla="*/ 4614670 w 5114450"/>
                <a:gd name="connsiteY18" fmla="*/ 329279 h 2777109"/>
                <a:gd name="connsiteX19" fmla="*/ 4508658 w 5114450"/>
                <a:gd name="connsiteY19" fmla="*/ 460438 h 2777109"/>
                <a:gd name="connsiteX20" fmla="*/ 4508658 w 5114450"/>
                <a:gd name="connsiteY20" fmla="*/ 460533 h 2777109"/>
                <a:gd name="connsiteX21" fmla="*/ 4299298 w 5114450"/>
                <a:gd name="connsiteY21" fmla="*/ 376999 h 2777109"/>
                <a:gd name="connsiteX22" fmla="*/ 4010024 w 5114450"/>
                <a:gd name="connsiteY22" fmla="*/ 619887 h 2777109"/>
                <a:gd name="connsiteX23" fmla="*/ 4113466 w 5114450"/>
                <a:gd name="connsiteY23" fmla="*/ 811911 h 2777109"/>
                <a:gd name="connsiteX24" fmla="*/ 4215670 w 5114450"/>
                <a:gd name="connsiteY24" fmla="*/ 826484 h 2777109"/>
                <a:gd name="connsiteX25" fmla="*/ 3928300 w 5114450"/>
                <a:gd name="connsiteY25" fmla="*/ 952881 h 2777109"/>
                <a:gd name="connsiteX26" fmla="*/ 3206400 w 5114450"/>
                <a:gd name="connsiteY26" fmla="*/ 952881 h 2777109"/>
                <a:gd name="connsiteX27" fmla="*/ 3454336 w 5114450"/>
                <a:gd name="connsiteY27" fmla="*/ 250317 h 2777109"/>
                <a:gd name="connsiteX28" fmla="*/ 3987164 w 5114450"/>
                <a:gd name="connsiteY28" fmla="*/ 250317 h 2777109"/>
                <a:gd name="connsiteX29" fmla="*/ 3871626 w 5114450"/>
                <a:gd name="connsiteY29" fmla="*/ 390810 h 2777109"/>
                <a:gd name="connsiteX30" fmla="*/ 3587590 w 5114450"/>
                <a:gd name="connsiteY30" fmla="*/ 390810 h 2777109"/>
                <a:gd name="connsiteX31" fmla="*/ 3544156 w 5114450"/>
                <a:gd name="connsiteY31" fmla="*/ 513683 h 2777109"/>
                <a:gd name="connsiteX32" fmla="*/ 3770470 w 5114450"/>
                <a:gd name="connsiteY32" fmla="*/ 513683 h 2777109"/>
                <a:gd name="connsiteX33" fmla="*/ 3655122 w 5114450"/>
                <a:gd name="connsiteY33" fmla="*/ 653796 h 2777109"/>
                <a:gd name="connsiteX34" fmla="*/ 3494722 w 5114450"/>
                <a:gd name="connsiteY34" fmla="*/ 653796 h 2777109"/>
                <a:gd name="connsiteX35" fmla="*/ 3438810 w 5114450"/>
                <a:gd name="connsiteY35" fmla="*/ 812101 h 2777109"/>
                <a:gd name="connsiteX36" fmla="*/ 3873530 w 5114450"/>
                <a:gd name="connsiteY36" fmla="*/ 812101 h 2777109"/>
                <a:gd name="connsiteX37" fmla="*/ 3829430 w 5114450"/>
                <a:gd name="connsiteY37" fmla="*/ 629793 h 2777109"/>
                <a:gd name="connsiteX38" fmla="*/ 4326922 w 5114450"/>
                <a:gd name="connsiteY38" fmla="*/ 232600 h 2777109"/>
                <a:gd name="connsiteX39" fmla="*/ 1567529 w 5114450"/>
                <a:gd name="connsiteY39" fmla="*/ 0 h 2777109"/>
                <a:gd name="connsiteX40" fmla="*/ 2797397 w 5114450"/>
                <a:gd name="connsiteY40" fmla="*/ 1388555 h 2777109"/>
                <a:gd name="connsiteX41" fmla="*/ 1567529 w 5114450"/>
                <a:gd name="connsiteY41" fmla="*/ 2777109 h 2777109"/>
                <a:gd name="connsiteX42" fmla="*/ 1567529 w 5114450"/>
                <a:gd name="connsiteY42" fmla="*/ 2003965 h 2777109"/>
                <a:gd name="connsiteX43" fmla="*/ 2036921 w 5114450"/>
                <a:gd name="connsiteY43" fmla="*/ 1388555 h 2777109"/>
                <a:gd name="connsiteX44" fmla="*/ 1567529 w 5114450"/>
                <a:gd name="connsiteY44" fmla="*/ 773144 h 2777109"/>
                <a:gd name="connsiteX45" fmla="*/ 1229868 w 5114450"/>
                <a:gd name="connsiteY45" fmla="*/ 0 h 2777109"/>
                <a:gd name="connsiteX46" fmla="*/ 1229868 w 5114450"/>
                <a:gd name="connsiteY46" fmla="*/ 773144 h 2777109"/>
                <a:gd name="connsiteX47" fmla="*/ 760476 w 5114450"/>
                <a:gd name="connsiteY47" fmla="*/ 1388555 h 2777109"/>
                <a:gd name="connsiteX48" fmla="*/ 1229868 w 5114450"/>
                <a:gd name="connsiteY48" fmla="*/ 2003965 h 2777109"/>
                <a:gd name="connsiteX49" fmla="*/ 1229868 w 5114450"/>
                <a:gd name="connsiteY49" fmla="*/ 2777109 h 2777109"/>
                <a:gd name="connsiteX50" fmla="*/ 0 w 5114450"/>
                <a:gd name="connsiteY50" fmla="*/ 1388555 h 2777109"/>
                <a:gd name="connsiteX51" fmla="*/ 1229868 w 5114450"/>
                <a:gd name="connsiteY51" fmla="*/ 0 h 2777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114450" h="2777109">
                  <a:moveTo>
                    <a:pt x="5080826" y="664559"/>
                  </a:moveTo>
                  <a:lnTo>
                    <a:pt x="5114450" y="952786"/>
                  </a:lnTo>
                  <a:lnTo>
                    <a:pt x="4924234" y="952786"/>
                  </a:lnTo>
                  <a:cubicBezTo>
                    <a:pt x="4924234" y="952786"/>
                    <a:pt x="4911662" y="812292"/>
                    <a:pt x="4911662" y="812292"/>
                  </a:cubicBezTo>
                  <a:lnTo>
                    <a:pt x="4562570" y="812292"/>
                  </a:lnTo>
                  <a:cubicBezTo>
                    <a:pt x="4448746" y="938022"/>
                    <a:pt x="4354162" y="972026"/>
                    <a:pt x="4196906" y="972026"/>
                  </a:cubicBezTo>
                  <a:cubicBezTo>
                    <a:pt x="4140136" y="972026"/>
                    <a:pt x="4086892" y="965549"/>
                    <a:pt x="4047362" y="952786"/>
                  </a:cubicBezTo>
                  <a:cubicBezTo>
                    <a:pt x="4047362" y="952786"/>
                    <a:pt x="4500562" y="719233"/>
                    <a:pt x="5080826" y="664559"/>
                  </a:cubicBezTo>
                  <a:close/>
                  <a:moveTo>
                    <a:pt x="4833462" y="250221"/>
                  </a:moveTo>
                  <a:lnTo>
                    <a:pt x="5031866" y="250221"/>
                  </a:lnTo>
                  <a:lnTo>
                    <a:pt x="5076634" y="629697"/>
                  </a:lnTo>
                  <a:cubicBezTo>
                    <a:pt x="5016626" y="636079"/>
                    <a:pt x="4955094" y="641127"/>
                    <a:pt x="4896516" y="650176"/>
                  </a:cubicBezTo>
                  <a:lnTo>
                    <a:pt x="4876418" y="423767"/>
                  </a:lnTo>
                  <a:lnTo>
                    <a:pt x="4658010" y="693610"/>
                  </a:lnTo>
                  <a:lnTo>
                    <a:pt x="4657914" y="693610"/>
                  </a:lnTo>
                  <a:cubicBezTo>
                    <a:pt x="4574094" y="712470"/>
                    <a:pt x="4492274" y="734282"/>
                    <a:pt x="4412456" y="758856"/>
                  </a:cubicBezTo>
                  <a:cubicBezTo>
                    <a:pt x="4412456" y="758856"/>
                    <a:pt x="4833462" y="250221"/>
                    <a:pt x="4833462" y="250221"/>
                  </a:cubicBezTo>
                  <a:close/>
                  <a:moveTo>
                    <a:pt x="4326922" y="232600"/>
                  </a:moveTo>
                  <a:cubicBezTo>
                    <a:pt x="4449222" y="232600"/>
                    <a:pt x="4548090" y="269271"/>
                    <a:pt x="4614670" y="329279"/>
                  </a:cubicBezTo>
                  <a:lnTo>
                    <a:pt x="4508658" y="460438"/>
                  </a:lnTo>
                  <a:lnTo>
                    <a:pt x="4508658" y="460533"/>
                  </a:lnTo>
                  <a:cubicBezTo>
                    <a:pt x="4467130" y="414051"/>
                    <a:pt x="4383498" y="376999"/>
                    <a:pt x="4299298" y="376999"/>
                  </a:cubicBezTo>
                  <a:cubicBezTo>
                    <a:pt x="4128706" y="376999"/>
                    <a:pt x="4021930" y="498538"/>
                    <a:pt x="4010024" y="619887"/>
                  </a:cubicBezTo>
                  <a:cubicBezTo>
                    <a:pt x="3999928" y="723042"/>
                    <a:pt x="4035838" y="785241"/>
                    <a:pt x="4113466" y="811911"/>
                  </a:cubicBezTo>
                  <a:cubicBezTo>
                    <a:pt x="4156518" y="822769"/>
                    <a:pt x="4180902" y="825246"/>
                    <a:pt x="4215670" y="826484"/>
                  </a:cubicBezTo>
                  <a:cubicBezTo>
                    <a:pt x="4030408" y="898017"/>
                    <a:pt x="3928300" y="952881"/>
                    <a:pt x="3928300" y="952881"/>
                  </a:cubicBezTo>
                  <a:lnTo>
                    <a:pt x="3206400" y="952881"/>
                  </a:lnTo>
                  <a:cubicBezTo>
                    <a:pt x="3206400" y="952881"/>
                    <a:pt x="3454336" y="250317"/>
                    <a:pt x="3454336" y="250317"/>
                  </a:cubicBezTo>
                  <a:lnTo>
                    <a:pt x="3987164" y="250317"/>
                  </a:lnTo>
                  <a:cubicBezTo>
                    <a:pt x="3987164" y="250317"/>
                    <a:pt x="3871626" y="390810"/>
                    <a:pt x="3871626" y="390810"/>
                  </a:cubicBezTo>
                  <a:lnTo>
                    <a:pt x="3587590" y="390810"/>
                  </a:lnTo>
                  <a:cubicBezTo>
                    <a:pt x="3587590" y="390810"/>
                    <a:pt x="3544156" y="513683"/>
                    <a:pt x="3544156" y="513683"/>
                  </a:cubicBezTo>
                  <a:lnTo>
                    <a:pt x="3770470" y="513683"/>
                  </a:lnTo>
                  <a:cubicBezTo>
                    <a:pt x="3770470" y="513683"/>
                    <a:pt x="3655122" y="653796"/>
                    <a:pt x="3655122" y="653796"/>
                  </a:cubicBezTo>
                  <a:lnTo>
                    <a:pt x="3494722" y="653796"/>
                  </a:lnTo>
                  <a:cubicBezTo>
                    <a:pt x="3494722" y="653796"/>
                    <a:pt x="3438810" y="812101"/>
                    <a:pt x="3438810" y="812101"/>
                  </a:cubicBezTo>
                  <a:lnTo>
                    <a:pt x="3873530" y="812101"/>
                  </a:lnTo>
                  <a:cubicBezTo>
                    <a:pt x="3837336" y="752284"/>
                    <a:pt x="3826192" y="691610"/>
                    <a:pt x="3829430" y="629793"/>
                  </a:cubicBezTo>
                  <a:cubicBezTo>
                    <a:pt x="3840290" y="425481"/>
                    <a:pt x="4007454" y="232600"/>
                    <a:pt x="4326922" y="232600"/>
                  </a:cubicBezTo>
                  <a:close/>
                  <a:moveTo>
                    <a:pt x="1567529" y="0"/>
                  </a:moveTo>
                  <a:cubicBezTo>
                    <a:pt x="2260473" y="83344"/>
                    <a:pt x="2797397" y="673227"/>
                    <a:pt x="2797397" y="1388555"/>
                  </a:cubicBezTo>
                  <a:cubicBezTo>
                    <a:pt x="2797397" y="2103882"/>
                    <a:pt x="2260378" y="2693765"/>
                    <a:pt x="1567529" y="2777109"/>
                  </a:cubicBezTo>
                  <a:lnTo>
                    <a:pt x="1567529" y="2003965"/>
                  </a:lnTo>
                  <a:cubicBezTo>
                    <a:pt x="1837754" y="1929765"/>
                    <a:pt x="2036921" y="1682020"/>
                    <a:pt x="2036921" y="1388555"/>
                  </a:cubicBezTo>
                  <a:cubicBezTo>
                    <a:pt x="2036921" y="1095089"/>
                    <a:pt x="1837754" y="847344"/>
                    <a:pt x="1567529" y="773144"/>
                  </a:cubicBezTo>
                  <a:close/>
                  <a:moveTo>
                    <a:pt x="1229868" y="0"/>
                  </a:moveTo>
                  <a:lnTo>
                    <a:pt x="1229868" y="773144"/>
                  </a:lnTo>
                  <a:cubicBezTo>
                    <a:pt x="959644" y="847344"/>
                    <a:pt x="760476" y="1095089"/>
                    <a:pt x="760476" y="1388555"/>
                  </a:cubicBezTo>
                  <a:cubicBezTo>
                    <a:pt x="760476" y="1682020"/>
                    <a:pt x="959644" y="1929765"/>
                    <a:pt x="1229868" y="2003965"/>
                  </a:cubicBezTo>
                  <a:lnTo>
                    <a:pt x="1229868" y="2777109"/>
                  </a:lnTo>
                  <a:cubicBezTo>
                    <a:pt x="537020" y="2693765"/>
                    <a:pt x="0" y="2103882"/>
                    <a:pt x="0" y="1388555"/>
                  </a:cubicBezTo>
                  <a:cubicBezTo>
                    <a:pt x="0" y="673227"/>
                    <a:pt x="537020" y="83344"/>
                    <a:pt x="1229868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F748AF8-4448-81DE-F0BA-A520C2A36C79}"/>
                </a:ext>
              </a:extLst>
            </p:cNvPr>
            <p:cNvSpPr/>
            <p:nvPr/>
          </p:nvSpPr>
          <p:spPr>
            <a:xfrm>
              <a:off x="16955738" y="1931294"/>
              <a:ext cx="8071103" cy="1359693"/>
            </a:xfrm>
            <a:custGeom>
              <a:avLst/>
              <a:gdLst>
                <a:gd name="connsiteX0" fmla="*/ 0 w 8071103"/>
                <a:gd name="connsiteY0" fmla="*/ 1074230 h 1359693"/>
                <a:gd name="connsiteX1" fmla="*/ 0 w 8071103"/>
                <a:gd name="connsiteY1" fmla="*/ 283559 h 1359693"/>
                <a:gd name="connsiteX2" fmla="*/ 308038 w 8071103"/>
                <a:gd name="connsiteY2" fmla="*/ 0 h 1359693"/>
                <a:gd name="connsiteX3" fmla="*/ 616077 w 8071103"/>
                <a:gd name="connsiteY3" fmla="*/ 283559 h 1359693"/>
                <a:gd name="connsiteX4" fmla="*/ 616077 w 8071103"/>
                <a:gd name="connsiteY4" fmla="*/ 557784 h 1359693"/>
                <a:gd name="connsiteX5" fmla="*/ 379476 w 8071103"/>
                <a:gd name="connsiteY5" fmla="*/ 557784 h 1359693"/>
                <a:gd name="connsiteX6" fmla="*/ 379476 w 8071103"/>
                <a:gd name="connsiteY6" fmla="*/ 285464 h 1359693"/>
                <a:gd name="connsiteX7" fmla="*/ 308134 w 8071103"/>
                <a:gd name="connsiteY7" fmla="*/ 215932 h 1359693"/>
                <a:gd name="connsiteX8" fmla="*/ 236791 w 8071103"/>
                <a:gd name="connsiteY8" fmla="*/ 285464 h 1359693"/>
                <a:gd name="connsiteX9" fmla="*/ 236791 w 8071103"/>
                <a:gd name="connsiteY9" fmla="*/ 1074230 h 1359693"/>
                <a:gd name="connsiteX10" fmla="*/ 308134 w 8071103"/>
                <a:gd name="connsiteY10" fmla="*/ 1143667 h 1359693"/>
                <a:gd name="connsiteX11" fmla="*/ 379476 w 8071103"/>
                <a:gd name="connsiteY11" fmla="*/ 1074230 h 1359693"/>
                <a:gd name="connsiteX12" fmla="*/ 379476 w 8071103"/>
                <a:gd name="connsiteY12" fmla="*/ 783146 h 1359693"/>
                <a:gd name="connsiteX13" fmla="*/ 616077 w 8071103"/>
                <a:gd name="connsiteY13" fmla="*/ 783146 h 1359693"/>
                <a:gd name="connsiteX14" fmla="*/ 616077 w 8071103"/>
                <a:gd name="connsiteY14" fmla="*/ 1074230 h 1359693"/>
                <a:gd name="connsiteX15" fmla="*/ 308038 w 8071103"/>
                <a:gd name="connsiteY15" fmla="*/ 1359694 h 1359693"/>
                <a:gd name="connsiteX16" fmla="*/ 0 w 8071103"/>
                <a:gd name="connsiteY16" fmla="*/ 1074230 h 1359693"/>
                <a:gd name="connsiteX17" fmla="*/ 762476 w 8071103"/>
                <a:gd name="connsiteY17" fmla="*/ 22574 h 1359693"/>
                <a:gd name="connsiteX18" fmla="*/ 999077 w 8071103"/>
                <a:gd name="connsiteY18" fmla="*/ 22574 h 1359693"/>
                <a:gd name="connsiteX19" fmla="*/ 999077 w 8071103"/>
                <a:gd name="connsiteY19" fmla="*/ 1121283 h 1359693"/>
                <a:gd name="connsiteX20" fmla="*/ 1198150 w 8071103"/>
                <a:gd name="connsiteY20" fmla="*/ 1121283 h 1359693"/>
                <a:gd name="connsiteX21" fmla="*/ 1198150 w 8071103"/>
                <a:gd name="connsiteY21" fmla="*/ 1337215 h 1359693"/>
                <a:gd name="connsiteX22" fmla="*/ 762476 w 8071103"/>
                <a:gd name="connsiteY22" fmla="*/ 1337215 h 1359693"/>
                <a:gd name="connsiteX23" fmla="*/ 762476 w 8071103"/>
                <a:gd name="connsiteY23" fmla="*/ 22574 h 1359693"/>
                <a:gd name="connsiteX24" fmla="*/ 1293971 w 8071103"/>
                <a:gd name="connsiteY24" fmla="*/ 1074230 h 1359693"/>
                <a:gd name="connsiteX25" fmla="*/ 1293971 w 8071103"/>
                <a:gd name="connsiteY25" fmla="*/ 22479 h 1359693"/>
                <a:gd name="connsiteX26" fmla="*/ 1530572 w 8071103"/>
                <a:gd name="connsiteY26" fmla="*/ 22479 h 1359693"/>
                <a:gd name="connsiteX27" fmla="*/ 1530572 w 8071103"/>
                <a:gd name="connsiteY27" fmla="*/ 1074230 h 1359693"/>
                <a:gd name="connsiteX28" fmla="*/ 1600105 w 8071103"/>
                <a:gd name="connsiteY28" fmla="*/ 1143667 h 1359693"/>
                <a:gd name="connsiteX29" fmla="*/ 1671447 w 8071103"/>
                <a:gd name="connsiteY29" fmla="*/ 1074230 h 1359693"/>
                <a:gd name="connsiteX30" fmla="*/ 1671447 w 8071103"/>
                <a:gd name="connsiteY30" fmla="*/ 22479 h 1359693"/>
                <a:gd name="connsiteX31" fmla="*/ 1908048 w 8071103"/>
                <a:gd name="connsiteY31" fmla="*/ 22479 h 1359693"/>
                <a:gd name="connsiteX32" fmla="*/ 1908048 w 8071103"/>
                <a:gd name="connsiteY32" fmla="*/ 1074230 h 1359693"/>
                <a:gd name="connsiteX33" fmla="*/ 1600009 w 8071103"/>
                <a:gd name="connsiteY33" fmla="*/ 1359694 h 1359693"/>
                <a:gd name="connsiteX34" fmla="*/ 1293876 w 8071103"/>
                <a:gd name="connsiteY34" fmla="*/ 1074230 h 1359693"/>
                <a:gd name="connsiteX35" fmla="*/ 2060162 w 8071103"/>
                <a:gd name="connsiteY35" fmla="*/ 22574 h 1359693"/>
                <a:gd name="connsiteX36" fmla="*/ 2394490 w 8071103"/>
                <a:gd name="connsiteY36" fmla="*/ 22574 h 1359693"/>
                <a:gd name="connsiteX37" fmla="*/ 2674335 w 8071103"/>
                <a:gd name="connsiteY37" fmla="*/ 279844 h 1359693"/>
                <a:gd name="connsiteX38" fmla="*/ 2674335 w 8071103"/>
                <a:gd name="connsiteY38" fmla="*/ 458248 h 1359693"/>
                <a:gd name="connsiteX39" fmla="*/ 2565369 w 8071103"/>
                <a:gd name="connsiteY39" fmla="*/ 651701 h 1359693"/>
                <a:gd name="connsiteX40" fmla="*/ 2565369 w 8071103"/>
                <a:gd name="connsiteY40" fmla="*/ 662940 h 1359693"/>
                <a:gd name="connsiteX41" fmla="*/ 2685574 w 8071103"/>
                <a:gd name="connsiteY41" fmla="*/ 865727 h 1359693"/>
                <a:gd name="connsiteX42" fmla="*/ 2685574 w 8071103"/>
                <a:gd name="connsiteY42" fmla="*/ 1079849 h 1359693"/>
                <a:gd name="connsiteX43" fmla="*/ 2405729 w 8071103"/>
                <a:gd name="connsiteY43" fmla="*/ 1337120 h 1359693"/>
                <a:gd name="connsiteX44" fmla="*/ 2060162 w 8071103"/>
                <a:gd name="connsiteY44" fmla="*/ 1337120 h 1359693"/>
                <a:gd name="connsiteX45" fmla="*/ 2060162 w 8071103"/>
                <a:gd name="connsiteY45" fmla="*/ 22574 h 1359693"/>
                <a:gd name="connsiteX46" fmla="*/ 2296763 w 8071103"/>
                <a:gd name="connsiteY46" fmla="*/ 238506 h 1359693"/>
                <a:gd name="connsiteX47" fmla="*/ 2296763 w 8071103"/>
                <a:gd name="connsiteY47" fmla="*/ 569024 h 1359693"/>
                <a:gd name="connsiteX48" fmla="*/ 2366296 w 8071103"/>
                <a:gd name="connsiteY48" fmla="*/ 569024 h 1359693"/>
                <a:gd name="connsiteX49" fmla="*/ 2437638 w 8071103"/>
                <a:gd name="connsiteY49" fmla="*/ 497681 h 1359693"/>
                <a:gd name="connsiteX50" fmla="*/ 2437638 w 8071103"/>
                <a:gd name="connsiteY50" fmla="*/ 307943 h 1359693"/>
                <a:gd name="connsiteX51" fmla="*/ 2366296 w 8071103"/>
                <a:gd name="connsiteY51" fmla="*/ 238506 h 1359693"/>
                <a:gd name="connsiteX52" fmla="*/ 2296763 w 8071103"/>
                <a:gd name="connsiteY52" fmla="*/ 238506 h 1359693"/>
                <a:gd name="connsiteX53" fmla="*/ 2296763 w 8071103"/>
                <a:gd name="connsiteY53" fmla="*/ 770001 h 1359693"/>
                <a:gd name="connsiteX54" fmla="*/ 2296763 w 8071103"/>
                <a:gd name="connsiteY54" fmla="*/ 1121188 h 1359693"/>
                <a:gd name="connsiteX55" fmla="*/ 2379440 w 8071103"/>
                <a:gd name="connsiteY55" fmla="*/ 1121188 h 1359693"/>
                <a:gd name="connsiteX56" fmla="*/ 2448973 w 8071103"/>
                <a:gd name="connsiteY56" fmla="*/ 1051655 h 1359693"/>
                <a:gd name="connsiteX57" fmla="*/ 2448973 w 8071103"/>
                <a:gd name="connsiteY57" fmla="*/ 841343 h 1359693"/>
                <a:gd name="connsiteX58" fmla="*/ 2379440 w 8071103"/>
                <a:gd name="connsiteY58" fmla="*/ 770001 h 1359693"/>
                <a:gd name="connsiteX59" fmla="*/ 2296763 w 8071103"/>
                <a:gd name="connsiteY59" fmla="*/ 770001 h 1359693"/>
                <a:gd name="connsiteX60" fmla="*/ 3094482 w 8071103"/>
                <a:gd name="connsiteY60" fmla="*/ 1074230 h 1359693"/>
                <a:gd name="connsiteX61" fmla="*/ 3094482 w 8071103"/>
                <a:gd name="connsiteY61" fmla="*/ 283559 h 1359693"/>
                <a:gd name="connsiteX62" fmla="*/ 3402520 w 8071103"/>
                <a:gd name="connsiteY62" fmla="*/ 0 h 1359693"/>
                <a:gd name="connsiteX63" fmla="*/ 3710559 w 8071103"/>
                <a:gd name="connsiteY63" fmla="*/ 283559 h 1359693"/>
                <a:gd name="connsiteX64" fmla="*/ 3710559 w 8071103"/>
                <a:gd name="connsiteY64" fmla="*/ 557784 h 1359693"/>
                <a:gd name="connsiteX65" fmla="*/ 3473958 w 8071103"/>
                <a:gd name="connsiteY65" fmla="*/ 557784 h 1359693"/>
                <a:gd name="connsiteX66" fmla="*/ 3473958 w 8071103"/>
                <a:gd name="connsiteY66" fmla="*/ 285464 h 1359693"/>
                <a:gd name="connsiteX67" fmla="*/ 3402616 w 8071103"/>
                <a:gd name="connsiteY67" fmla="*/ 215932 h 1359693"/>
                <a:gd name="connsiteX68" fmla="*/ 3331274 w 8071103"/>
                <a:gd name="connsiteY68" fmla="*/ 285464 h 1359693"/>
                <a:gd name="connsiteX69" fmla="*/ 3331274 w 8071103"/>
                <a:gd name="connsiteY69" fmla="*/ 1074230 h 1359693"/>
                <a:gd name="connsiteX70" fmla="*/ 3402616 w 8071103"/>
                <a:gd name="connsiteY70" fmla="*/ 1143667 h 1359693"/>
                <a:gd name="connsiteX71" fmla="*/ 3473958 w 8071103"/>
                <a:gd name="connsiteY71" fmla="*/ 1074230 h 1359693"/>
                <a:gd name="connsiteX72" fmla="*/ 3473958 w 8071103"/>
                <a:gd name="connsiteY72" fmla="*/ 783146 h 1359693"/>
                <a:gd name="connsiteX73" fmla="*/ 3710559 w 8071103"/>
                <a:gd name="connsiteY73" fmla="*/ 783146 h 1359693"/>
                <a:gd name="connsiteX74" fmla="*/ 3710559 w 8071103"/>
                <a:gd name="connsiteY74" fmla="*/ 1074230 h 1359693"/>
                <a:gd name="connsiteX75" fmla="*/ 3402520 w 8071103"/>
                <a:gd name="connsiteY75" fmla="*/ 1359694 h 1359693"/>
                <a:gd name="connsiteX76" fmla="*/ 3094482 w 8071103"/>
                <a:gd name="connsiteY76" fmla="*/ 1074230 h 1359693"/>
                <a:gd name="connsiteX77" fmla="*/ 3849434 w 8071103"/>
                <a:gd name="connsiteY77" fmla="*/ 1074230 h 1359693"/>
                <a:gd name="connsiteX78" fmla="*/ 3849434 w 8071103"/>
                <a:gd name="connsiteY78" fmla="*/ 283559 h 1359693"/>
                <a:gd name="connsiteX79" fmla="*/ 4157472 w 8071103"/>
                <a:gd name="connsiteY79" fmla="*/ 0 h 1359693"/>
                <a:gd name="connsiteX80" fmla="*/ 4465511 w 8071103"/>
                <a:gd name="connsiteY80" fmla="*/ 283559 h 1359693"/>
                <a:gd name="connsiteX81" fmla="*/ 4465511 w 8071103"/>
                <a:gd name="connsiteY81" fmla="*/ 1074230 h 1359693"/>
                <a:gd name="connsiteX82" fmla="*/ 4157472 w 8071103"/>
                <a:gd name="connsiteY82" fmla="*/ 1359694 h 1359693"/>
                <a:gd name="connsiteX83" fmla="*/ 3849434 w 8071103"/>
                <a:gd name="connsiteY83" fmla="*/ 1074230 h 1359693"/>
                <a:gd name="connsiteX84" fmla="*/ 4228814 w 8071103"/>
                <a:gd name="connsiteY84" fmla="*/ 1074230 h 1359693"/>
                <a:gd name="connsiteX85" fmla="*/ 4228814 w 8071103"/>
                <a:gd name="connsiteY85" fmla="*/ 285464 h 1359693"/>
                <a:gd name="connsiteX86" fmla="*/ 4157472 w 8071103"/>
                <a:gd name="connsiteY86" fmla="*/ 215932 h 1359693"/>
                <a:gd name="connsiteX87" fmla="*/ 4086130 w 8071103"/>
                <a:gd name="connsiteY87" fmla="*/ 285464 h 1359693"/>
                <a:gd name="connsiteX88" fmla="*/ 4086130 w 8071103"/>
                <a:gd name="connsiteY88" fmla="*/ 1074230 h 1359693"/>
                <a:gd name="connsiteX89" fmla="*/ 4157472 w 8071103"/>
                <a:gd name="connsiteY89" fmla="*/ 1143667 h 1359693"/>
                <a:gd name="connsiteX90" fmla="*/ 4228814 w 8071103"/>
                <a:gd name="connsiteY90" fmla="*/ 1074230 h 1359693"/>
                <a:gd name="connsiteX91" fmla="*/ 4613720 w 8071103"/>
                <a:gd name="connsiteY91" fmla="*/ 22574 h 1359693"/>
                <a:gd name="connsiteX92" fmla="*/ 4886039 w 8071103"/>
                <a:gd name="connsiteY92" fmla="*/ 22574 h 1359693"/>
                <a:gd name="connsiteX93" fmla="*/ 5021294 w 8071103"/>
                <a:gd name="connsiteY93" fmla="*/ 646081 h 1359693"/>
                <a:gd name="connsiteX94" fmla="*/ 5040059 w 8071103"/>
                <a:gd name="connsiteY94" fmla="*/ 811340 h 1359693"/>
                <a:gd name="connsiteX95" fmla="*/ 5071967 w 8071103"/>
                <a:gd name="connsiteY95" fmla="*/ 811340 h 1359693"/>
                <a:gd name="connsiteX96" fmla="*/ 5051298 w 8071103"/>
                <a:gd name="connsiteY96" fmla="*/ 646081 h 1359693"/>
                <a:gd name="connsiteX97" fmla="*/ 5051298 w 8071103"/>
                <a:gd name="connsiteY97" fmla="*/ 22574 h 1359693"/>
                <a:gd name="connsiteX98" fmla="*/ 5287899 w 8071103"/>
                <a:gd name="connsiteY98" fmla="*/ 22574 h 1359693"/>
                <a:gd name="connsiteX99" fmla="*/ 5287899 w 8071103"/>
                <a:gd name="connsiteY99" fmla="*/ 1337215 h 1359693"/>
                <a:gd name="connsiteX100" fmla="*/ 5017485 w 8071103"/>
                <a:gd name="connsiteY100" fmla="*/ 1337215 h 1359693"/>
                <a:gd name="connsiteX101" fmla="*/ 4882230 w 8071103"/>
                <a:gd name="connsiteY101" fmla="*/ 713708 h 1359693"/>
                <a:gd name="connsiteX102" fmla="*/ 4861560 w 8071103"/>
                <a:gd name="connsiteY102" fmla="*/ 548450 h 1359693"/>
                <a:gd name="connsiteX103" fmla="*/ 4829651 w 8071103"/>
                <a:gd name="connsiteY103" fmla="*/ 548450 h 1359693"/>
                <a:gd name="connsiteX104" fmla="*/ 4850320 w 8071103"/>
                <a:gd name="connsiteY104" fmla="*/ 713708 h 1359693"/>
                <a:gd name="connsiteX105" fmla="*/ 4850320 w 8071103"/>
                <a:gd name="connsiteY105" fmla="*/ 1337215 h 1359693"/>
                <a:gd name="connsiteX106" fmla="*/ 4613720 w 8071103"/>
                <a:gd name="connsiteY106" fmla="*/ 1337215 h 1359693"/>
                <a:gd name="connsiteX107" fmla="*/ 4613720 w 8071103"/>
                <a:gd name="connsiteY107" fmla="*/ 22574 h 1359693"/>
                <a:gd name="connsiteX108" fmla="*/ 5443823 w 8071103"/>
                <a:gd name="connsiteY108" fmla="*/ 22574 h 1359693"/>
                <a:gd name="connsiteX109" fmla="*/ 5716143 w 8071103"/>
                <a:gd name="connsiteY109" fmla="*/ 22574 h 1359693"/>
                <a:gd name="connsiteX110" fmla="*/ 5851398 w 8071103"/>
                <a:gd name="connsiteY110" fmla="*/ 646081 h 1359693"/>
                <a:gd name="connsiteX111" fmla="*/ 5870162 w 8071103"/>
                <a:gd name="connsiteY111" fmla="*/ 811340 h 1359693"/>
                <a:gd name="connsiteX112" fmla="*/ 5902071 w 8071103"/>
                <a:gd name="connsiteY112" fmla="*/ 811340 h 1359693"/>
                <a:gd name="connsiteX113" fmla="*/ 5881402 w 8071103"/>
                <a:gd name="connsiteY113" fmla="*/ 646081 h 1359693"/>
                <a:gd name="connsiteX114" fmla="*/ 5881402 w 8071103"/>
                <a:gd name="connsiteY114" fmla="*/ 22574 h 1359693"/>
                <a:gd name="connsiteX115" fmla="*/ 6118003 w 8071103"/>
                <a:gd name="connsiteY115" fmla="*/ 22574 h 1359693"/>
                <a:gd name="connsiteX116" fmla="*/ 6118003 w 8071103"/>
                <a:gd name="connsiteY116" fmla="*/ 1337215 h 1359693"/>
                <a:gd name="connsiteX117" fmla="*/ 5847588 w 8071103"/>
                <a:gd name="connsiteY117" fmla="*/ 1337215 h 1359693"/>
                <a:gd name="connsiteX118" fmla="*/ 5712333 w 8071103"/>
                <a:gd name="connsiteY118" fmla="*/ 713708 h 1359693"/>
                <a:gd name="connsiteX119" fmla="*/ 5691664 w 8071103"/>
                <a:gd name="connsiteY119" fmla="*/ 548450 h 1359693"/>
                <a:gd name="connsiteX120" fmla="*/ 5659755 w 8071103"/>
                <a:gd name="connsiteY120" fmla="*/ 548450 h 1359693"/>
                <a:gd name="connsiteX121" fmla="*/ 5680424 w 8071103"/>
                <a:gd name="connsiteY121" fmla="*/ 713708 h 1359693"/>
                <a:gd name="connsiteX122" fmla="*/ 5680424 w 8071103"/>
                <a:gd name="connsiteY122" fmla="*/ 1337215 h 1359693"/>
                <a:gd name="connsiteX123" fmla="*/ 5443823 w 8071103"/>
                <a:gd name="connsiteY123" fmla="*/ 1337215 h 1359693"/>
                <a:gd name="connsiteX124" fmla="*/ 5443823 w 8071103"/>
                <a:gd name="connsiteY124" fmla="*/ 22574 h 1359693"/>
                <a:gd name="connsiteX125" fmla="*/ 6273832 w 8071103"/>
                <a:gd name="connsiteY125" fmla="*/ 22574 h 1359693"/>
                <a:gd name="connsiteX126" fmla="*/ 6720840 w 8071103"/>
                <a:gd name="connsiteY126" fmla="*/ 22574 h 1359693"/>
                <a:gd name="connsiteX127" fmla="*/ 6720840 w 8071103"/>
                <a:gd name="connsiteY127" fmla="*/ 238601 h 1359693"/>
                <a:gd name="connsiteX128" fmla="*/ 6510528 w 8071103"/>
                <a:gd name="connsiteY128" fmla="*/ 238601 h 1359693"/>
                <a:gd name="connsiteX129" fmla="*/ 6510528 w 8071103"/>
                <a:gd name="connsiteY129" fmla="*/ 565404 h 1359693"/>
                <a:gd name="connsiteX130" fmla="*/ 6700172 w 8071103"/>
                <a:gd name="connsiteY130" fmla="*/ 565404 h 1359693"/>
                <a:gd name="connsiteX131" fmla="*/ 6700172 w 8071103"/>
                <a:gd name="connsiteY131" fmla="*/ 775716 h 1359693"/>
                <a:gd name="connsiteX132" fmla="*/ 6510528 w 8071103"/>
                <a:gd name="connsiteY132" fmla="*/ 775716 h 1359693"/>
                <a:gd name="connsiteX133" fmla="*/ 6510528 w 8071103"/>
                <a:gd name="connsiteY133" fmla="*/ 1121283 h 1359693"/>
                <a:gd name="connsiteX134" fmla="*/ 6720840 w 8071103"/>
                <a:gd name="connsiteY134" fmla="*/ 1121283 h 1359693"/>
                <a:gd name="connsiteX135" fmla="*/ 6720840 w 8071103"/>
                <a:gd name="connsiteY135" fmla="*/ 1337215 h 1359693"/>
                <a:gd name="connsiteX136" fmla="*/ 6273832 w 8071103"/>
                <a:gd name="connsiteY136" fmla="*/ 1337215 h 1359693"/>
                <a:gd name="connsiteX137" fmla="*/ 6273832 w 8071103"/>
                <a:gd name="connsiteY137" fmla="*/ 22574 h 1359693"/>
                <a:gd name="connsiteX138" fmla="*/ 6846665 w 8071103"/>
                <a:gd name="connsiteY138" fmla="*/ 1074230 h 1359693"/>
                <a:gd name="connsiteX139" fmla="*/ 6846665 w 8071103"/>
                <a:gd name="connsiteY139" fmla="*/ 283559 h 1359693"/>
                <a:gd name="connsiteX140" fmla="*/ 7154704 w 8071103"/>
                <a:gd name="connsiteY140" fmla="*/ 0 h 1359693"/>
                <a:gd name="connsiteX141" fmla="*/ 7462742 w 8071103"/>
                <a:gd name="connsiteY141" fmla="*/ 283559 h 1359693"/>
                <a:gd name="connsiteX142" fmla="*/ 7462742 w 8071103"/>
                <a:gd name="connsiteY142" fmla="*/ 557784 h 1359693"/>
                <a:gd name="connsiteX143" fmla="*/ 7226142 w 8071103"/>
                <a:gd name="connsiteY143" fmla="*/ 557784 h 1359693"/>
                <a:gd name="connsiteX144" fmla="*/ 7226142 w 8071103"/>
                <a:gd name="connsiteY144" fmla="*/ 285464 h 1359693"/>
                <a:gd name="connsiteX145" fmla="*/ 7154800 w 8071103"/>
                <a:gd name="connsiteY145" fmla="*/ 215932 h 1359693"/>
                <a:gd name="connsiteX146" fmla="*/ 7083457 w 8071103"/>
                <a:gd name="connsiteY146" fmla="*/ 285464 h 1359693"/>
                <a:gd name="connsiteX147" fmla="*/ 7083457 w 8071103"/>
                <a:gd name="connsiteY147" fmla="*/ 1074230 h 1359693"/>
                <a:gd name="connsiteX148" fmla="*/ 7154800 w 8071103"/>
                <a:gd name="connsiteY148" fmla="*/ 1143667 h 1359693"/>
                <a:gd name="connsiteX149" fmla="*/ 7226142 w 8071103"/>
                <a:gd name="connsiteY149" fmla="*/ 1074230 h 1359693"/>
                <a:gd name="connsiteX150" fmla="*/ 7226142 w 8071103"/>
                <a:gd name="connsiteY150" fmla="*/ 783146 h 1359693"/>
                <a:gd name="connsiteX151" fmla="*/ 7462742 w 8071103"/>
                <a:gd name="connsiteY151" fmla="*/ 783146 h 1359693"/>
                <a:gd name="connsiteX152" fmla="*/ 7462742 w 8071103"/>
                <a:gd name="connsiteY152" fmla="*/ 1074230 h 1359693"/>
                <a:gd name="connsiteX153" fmla="*/ 7154704 w 8071103"/>
                <a:gd name="connsiteY153" fmla="*/ 1359694 h 1359693"/>
                <a:gd name="connsiteX154" fmla="*/ 6846665 w 8071103"/>
                <a:gd name="connsiteY154" fmla="*/ 1074230 h 1359693"/>
                <a:gd name="connsiteX155" fmla="*/ 7699248 w 8071103"/>
                <a:gd name="connsiteY155" fmla="*/ 238506 h 1359693"/>
                <a:gd name="connsiteX156" fmla="*/ 7563993 w 8071103"/>
                <a:gd name="connsiteY156" fmla="*/ 238506 h 1359693"/>
                <a:gd name="connsiteX157" fmla="*/ 7563993 w 8071103"/>
                <a:gd name="connsiteY157" fmla="*/ 22479 h 1359693"/>
                <a:gd name="connsiteX158" fmla="*/ 8071104 w 8071103"/>
                <a:gd name="connsiteY158" fmla="*/ 22479 h 1359693"/>
                <a:gd name="connsiteX159" fmla="*/ 8071104 w 8071103"/>
                <a:gd name="connsiteY159" fmla="*/ 238506 h 1359693"/>
                <a:gd name="connsiteX160" fmla="*/ 7935850 w 8071103"/>
                <a:gd name="connsiteY160" fmla="*/ 238506 h 1359693"/>
                <a:gd name="connsiteX161" fmla="*/ 7935850 w 8071103"/>
                <a:gd name="connsiteY161" fmla="*/ 1337120 h 1359693"/>
                <a:gd name="connsiteX162" fmla="*/ 7699248 w 8071103"/>
                <a:gd name="connsiteY162" fmla="*/ 1337120 h 1359693"/>
                <a:gd name="connsiteX163" fmla="*/ 7699248 w 8071103"/>
                <a:gd name="connsiteY163" fmla="*/ 238506 h 1359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8071103" h="1359693">
                  <a:moveTo>
                    <a:pt x="0" y="1074230"/>
                  </a:moveTo>
                  <a:lnTo>
                    <a:pt x="0" y="283559"/>
                  </a:lnTo>
                  <a:cubicBezTo>
                    <a:pt x="0" y="114490"/>
                    <a:pt x="123920" y="0"/>
                    <a:pt x="308038" y="0"/>
                  </a:cubicBezTo>
                  <a:cubicBezTo>
                    <a:pt x="492157" y="0"/>
                    <a:pt x="616077" y="114586"/>
                    <a:pt x="616077" y="283559"/>
                  </a:cubicBezTo>
                  <a:lnTo>
                    <a:pt x="616077" y="557784"/>
                  </a:lnTo>
                  <a:lnTo>
                    <a:pt x="379476" y="557784"/>
                  </a:lnTo>
                  <a:lnTo>
                    <a:pt x="379476" y="285464"/>
                  </a:lnTo>
                  <a:cubicBezTo>
                    <a:pt x="379476" y="242316"/>
                    <a:pt x="351282" y="215932"/>
                    <a:pt x="308134" y="215932"/>
                  </a:cubicBezTo>
                  <a:cubicBezTo>
                    <a:pt x="264986" y="215932"/>
                    <a:pt x="236791" y="242221"/>
                    <a:pt x="236791" y="285464"/>
                  </a:cubicBezTo>
                  <a:lnTo>
                    <a:pt x="236791" y="1074230"/>
                  </a:lnTo>
                  <a:cubicBezTo>
                    <a:pt x="236791" y="1117378"/>
                    <a:pt x="264986" y="1143667"/>
                    <a:pt x="308134" y="1143667"/>
                  </a:cubicBezTo>
                  <a:cubicBezTo>
                    <a:pt x="351282" y="1143667"/>
                    <a:pt x="379476" y="1117378"/>
                    <a:pt x="379476" y="1074230"/>
                  </a:cubicBezTo>
                  <a:lnTo>
                    <a:pt x="379476" y="783146"/>
                  </a:lnTo>
                  <a:lnTo>
                    <a:pt x="616077" y="783146"/>
                  </a:lnTo>
                  <a:lnTo>
                    <a:pt x="616077" y="1074230"/>
                  </a:lnTo>
                  <a:cubicBezTo>
                    <a:pt x="616077" y="1245108"/>
                    <a:pt x="492157" y="1359694"/>
                    <a:pt x="308038" y="1359694"/>
                  </a:cubicBezTo>
                  <a:cubicBezTo>
                    <a:pt x="123920" y="1359694"/>
                    <a:pt x="0" y="1245108"/>
                    <a:pt x="0" y="1074230"/>
                  </a:cubicBezTo>
                  <a:close/>
                  <a:moveTo>
                    <a:pt x="762476" y="22574"/>
                  </a:moveTo>
                  <a:lnTo>
                    <a:pt x="999077" y="22574"/>
                  </a:lnTo>
                  <a:lnTo>
                    <a:pt x="999077" y="1121283"/>
                  </a:lnTo>
                  <a:lnTo>
                    <a:pt x="1198150" y="1121283"/>
                  </a:lnTo>
                  <a:lnTo>
                    <a:pt x="1198150" y="1337215"/>
                  </a:lnTo>
                  <a:lnTo>
                    <a:pt x="762476" y="1337215"/>
                  </a:lnTo>
                  <a:lnTo>
                    <a:pt x="762476" y="22574"/>
                  </a:lnTo>
                  <a:close/>
                  <a:moveTo>
                    <a:pt x="1293971" y="1074230"/>
                  </a:moveTo>
                  <a:lnTo>
                    <a:pt x="1293971" y="22479"/>
                  </a:lnTo>
                  <a:lnTo>
                    <a:pt x="1530572" y="22479"/>
                  </a:lnTo>
                  <a:lnTo>
                    <a:pt x="1530572" y="1074230"/>
                  </a:lnTo>
                  <a:cubicBezTo>
                    <a:pt x="1530572" y="1117378"/>
                    <a:pt x="1558766" y="1143667"/>
                    <a:pt x="1600105" y="1143667"/>
                  </a:cubicBezTo>
                  <a:cubicBezTo>
                    <a:pt x="1641443" y="1143667"/>
                    <a:pt x="1671447" y="1117378"/>
                    <a:pt x="1671447" y="1074230"/>
                  </a:cubicBezTo>
                  <a:lnTo>
                    <a:pt x="1671447" y="22479"/>
                  </a:lnTo>
                  <a:lnTo>
                    <a:pt x="1908048" y="22479"/>
                  </a:lnTo>
                  <a:lnTo>
                    <a:pt x="1908048" y="1074230"/>
                  </a:lnTo>
                  <a:cubicBezTo>
                    <a:pt x="1908048" y="1245108"/>
                    <a:pt x="1784128" y="1359694"/>
                    <a:pt x="1600009" y="1359694"/>
                  </a:cubicBezTo>
                  <a:cubicBezTo>
                    <a:pt x="1415891" y="1359694"/>
                    <a:pt x="1293876" y="1245108"/>
                    <a:pt x="1293876" y="1074230"/>
                  </a:cubicBezTo>
                  <a:close/>
                  <a:moveTo>
                    <a:pt x="2060162" y="22574"/>
                  </a:moveTo>
                  <a:lnTo>
                    <a:pt x="2394490" y="22574"/>
                  </a:lnTo>
                  <a:cubicBezTo>
                    <a:pt x="2561654" y="22574"/>
                    <a:pt x="2674335" y="125921"/>
                    <a:pt x="2674335" y="279844"/>
                  </a:cubicBezTo>
                  <a:lnTo>
                    <a:pt x="2674335" y="458248"/>
                  </a:lnTo>
                  <a:cubicBezTo>
                    <a:pt x="2674335" y="537115"/>
                    <a:pt x="2638616" y="617887"/>
                    <a:pt x="2565369" y="651701"/>
                  </a:cubicBezTo>
                  <a:lnTo>
                    <a:pt x="2565369" y="662940"/>
                  </a:lnTo>
                  <a:cubicBezTo>
                    <a:pt x="2644235" y="696754"/>
                    <a:pt x="2685574" y="781240"/>
                    <a:pt x="2685574" y="865727"/>
                  </a:cubicBezTo>
                  <a:lnTo>
                    <a:pt x="2685574" y="1079849"/>
                  </a:lnTo>
                  <a:cubicBezTo>
                    <a:pt x="2685574" y="1233869"/>
                    <a:pt x="2574798" y="1337120"/>
                    <a:pt x="2405729" y="1337120"/>
                  </a:cubicBezTo>
                  <a:lnTo>
                    <a:pt x="2060162" y="1337120"/>
                  </a:lnTo>
                  <a:lnTo>
                    <a:pt x="2060162" y="22574"/>
                  </a:lnTo>
                  <a:close/>
                  <a:moveTo>
                    <a:pt x="2296763" y="238506"/>
                  </a:moveTo>
                  <a:lnTo>
                    <a:pt x="2296763" y="569024"/>
                  </a:lnTo>
                  <a:lnTo>
                    <a:pt x="2366296" y="569024"/>
                  </a:lnTo>
                  <a:cubicBezTo>
                    <a:pt x="2409444" y="569024"/>
                    <a:pt x="2437638" y="540830"/>
                    <a:pt x="2437638" y="497681"/>
                  </a:cubicBezTo>
                  <a:lnTo>
                    <a:pt x="2437638" y="307943"/>
                  </a:lnTo>
                  <a:cubicBezTo>
                    <a:pt x="2437638" y="264795"/>
                    <a:pt x="2409444" y="238506"/>
                    <a:pt x="2366296" y="238506"/>
                  </a:cubicBezTo>
                  <a:lnTo>
                    <a:pt x="2296763" y="238506"/>
                  </a:lnTo>
                  <a:close/>
                  <a:moveTo>
                    <a:pt x="2296763" y="770001"/>
                  </a:moveTo>
                  <a:lnTo>
                    <a:pt x="2296763" y="1121188"/>
                  </a:lnTo>
                  <a:lnTo>
                    <a:pt x="2379440" y="1121188"/>
                  </a:lnTo>
                  <a:cubicBezTo>
                    <a:pt x="2420779" y="1121188"/>
                    <a:pt x="2448973" y="1094899"/>
                    <a:pt x="2448973" y="1051655"/>
                  </a:cubicBezTo>
                  <a:lnTo>
                    <a:pt x="2448973" y="841343"/>
                  </a:lnTo>
                  <a:cubicBezTo>
                    <a:pt x="2448973" y="798195"/>
                    <a:pt x="2420779" y="770001"/>
                    <a:pt x="2379440" y="770001"/>
                  </a:cubicBezTo>
                  <a:lnTo>
                    <a:pt x="2296763" y="770001"/>
                  </a:lnTo>
                  <a:close/>
                  <a:moveTo>
                    <a:pt x="3094482" y="1074230"/>
                  </a:moveTo>
                  <a:lnTo>
                    <a:pt x="3094482" y="283559"/>
                  </a:lnTo>
                  <a:cubicBezTo>
                    <a:pt x="3094482" y="114490"/>
                    <a:pt x="3218403" y="0"/>
                    <a:pt x="3402520" y="0"/>
                  </a:cubicBezTo>
                  <a:cubicBezTo>
                    <a:pt x="3586639" y="0"/>
                    <a:pt x="3710559" y="114586"/>
                    <a:pt x="3710559" y="283559"/>
                  </a:cubicBezTo>
                  <a:lnTo>
                    <a:pt x="3710559" y="557784"/>
                  </a:lnTo>
                  <a:lnTo>
                    <a:pt x="3473958" y="557784"/>
                  </a:lnTo>
                  <a:lnTo>
                    <a:pt x="3473958" y="285464"/>
                  </a:lnTo>
                  <a:cubicBezTo>
                    <a:pt x="3473958" y="242316"/>
                    <a:pt x="3445764" y="215932"/>
                    <a:pt x="3402616" y="215932"/>
                  </a:cubicBezTo>
                  <a:cubicBezTo>
                    <a:pt x="3359468" y="215932"/>
                    <a:pt x="3331274" y="242221"/>
                    <a:pt x="3331274" y="285464"/>
                  </a:cubicBezTo>
                  <a:lnTo>
                    <a:pt x="3331274" y="1074230"/>
                  </a:lnTo>
                  <a:cubicBezTo>
                    <a:pt x="3331274" y="1117378"/>
                    <a:pt x="3359468" y="1143667"/>
                    <a:pt x="3402616" y="1143667"/>
                  </a:cubicBezTo>
                  <a:cubicBezTo>
                    <a:pt x="3445764" y="1143667"/>
                    <a:pt x="3473958" y="1117378"/>
                    <a:pt x="3473958" y="1074230"/>
                  </a:cubicBezTo>
                  <a:lnTo>
                    <a:pt x="3473958" y="783146"/>
                  </a:lnTo>
                  <a:lnTo>
                    <a:pt x="3710559" y="783146"/>
                  </a:lnTo>
                  <a:lnTo>
                    <a:pt x="3710559" y="1074230"/>
                  </a:lnTo>
                  <a:cubicBezTo>
                    <a:pt x="3710559" y="1245108"/>
                    <a:pt x="3586639" y="1359694"/>
                    <a:pt x="3402520" y="1359694"/>
                  </a:cubicBezTo>
                  <a:cubicBezTo>
                    <a:pt x="3218403" y="1359694"/>
                    <a:pt x="3094482" y="1245108"/>
                    <a:pt x="3094482" y="1074230"/>
                  </a:cubicBezTo>
                  <a:close/>
                  <a:moveTo>
                    <a:pt x="3849434" y="1074230"/>
                  </a:moveTo>
                  <a:lnTo>
                    <a:pt x="3849434" y="283559"/>
                  </a:lnTo>
                  <a:cubicBezTo>
                    <a:pt x="3849434" y="114490"/>
                    <a:pt x="3973354" y="0"/>
                    <a:pt x="4157472" y="0"/>
                  </a:cubicBezTo>
                  <a:cubicBezTo>
                    <a:pt x="4341590" y="0"/>
                    <a:pt x="4465511" y="114586"/>
                    <a:pt x="4465511" y="283559"/>
                  </a:cubicBezTo>
                  <a:lnTo>
                    <a:pt x="4465511" y="1074230"/>
                  </a:lnTo>
                  <a:cubicBezTo>
                    <a:pt x="4465511" y="1245108"/>
                    <a:pt x="4341590" y="1359694"/>
                    <a:pt x="4157472" y="1359694"/>
                  </a:cubicBezTo>
                  <a:cubicBezTo>
                    <a:pt x="3973354" y="1359694"/>
                    <a:pt x="3849434" y="1245108"/>
                    <a:pt x="3849434" y="1074230"/>
                  </a:cubicBezTo>
                  <a:close/>
                  <a:moveTo>
                    <a:pt x="4228814" y="1074230"/>
                  </a:moveTo>
                  <a:lnTo>
                    <a:pt x="4228814" y="285464"/>
                  </a:lnTo>
                  <a:cubicBezTo>
                    <a:pt x="4228814" y="242316"/>
                    <a:pt x="4200621" y="215932"/>
                    <a:pt x="4157472" y="215932"/>
                  </a:cubicBezTo>
                  <a:cubicBezTo>
                    <a:pt x="4114324" y="215932"/>
                    <a:pt x="4086130" y="242221"/>
                    <a:pt x="4086130" y="285464"/>
                  </a:cubicBezTo>
                  <a:lnTo>
                    <a:pt x="4086130" y="1074230"/>
                  </a:lnTo>
                  <a:cubicBezTo>
                    <a:pt x="4086130" y="1117378"/>
                    <a:pt x="4114324" y="1143667"/>
                    <a:pt x="4157472" y="1143667"/>
                  </a:cubicBezTo>
                  <a:cubicBezTo>
                    <a:pt x="4200621" y="1143667"/>
                    <a:pt x="4228814" y="1117378"/>
                    <a:pt x="4228814" y="1074230"/>
                  </a:cubicBezTo>
                  <a:close/>
                  <a:moveTo>
                    <a:pt x="4613720" y="22574"/>
                  </a:moveTo>
                  <a:lnTo>
                    <a:pt x="4886039" y="22574"/>
                  </a:lnTo>
                  <a:lnTo>
                    <a:pt x="5021294" y="646081"/>
                  </a:lnTo>
                  <a:lnTo>
                    <a:pt x="5040059" y="811340"/>
                  </a:lnTo>
                  <a:lnTo>
                    <a:pt x="5071967" y="811340"/>
                  </a:lnTo>
                  <a:lnTo>
                    <a:pt x="5051298" y="646081"/>
                  </a:lnTo>
                  <a:lnTo>
                    <a:pt x="5051298" y="22574"/>
                  </a:lnTo>
                  <a:lnTo>
                    <a:pt x="5287899" y="22574"/>
                  </a:lnTo>
                  <a:lnTo>
                    <a:pt x="5287899" y="1337215"/>
                  </a:lnTo>
                  <a:lnTo>
                    <a:pt x="5017485" y="1337215"/>
                  </a:lnTo>
                  <a:lnTo>
                    <a:pt x="4882230" y="713708"/>
                  </a:lnTo>
                  <a:lnTo>
                    <a:pt x="4861560" y="548450"/>
                  </a:lnTo>
                  <a:lnTo>
                    <a:pt x="4829651" y="548450"/>
                  </a:lnTo>
                  <a:lnTo>
                    <a:pt x="4850320" y="713708"/>
                  </a:lnTo>
                  <a:lnTo>
                    <a:pt x="4850320" y="1337215"/>
                  </a:lnTo>
                  <a:lnTo>
                    <a:pt x="4613720" y="1337215"/>
                  </a:lnTo>
                  <a:lnTo>
                    <a:pt x="4613720" y="22574"/>
                  </a:lnTo>
                  <a:close/>
                  <a:moveTo>
                    <a:pt x="5443823" y="22574"/>
                  </a:moveTo>
                  <a:lnTo>
                    <a:pt x="5716143" y="22574"/>
                  </a:lnTo>
                  <a:lnTo>
                    <a:pt x="5851398" y="646081"/>
                  </a:lnTo>
                  <a:lnTo>
                    <a:pt x="5870162" y="811340"/>
                  </a:lnTo>
                  <a:lnTo>
                    <a:pt x="5902071" y="811340"/>
                  </a:lnTo>
                  <a:lnTo>
                    <a:pt x="5881402" y="646081"/>
                  </a:lnTo>
                  <a:lnTo>
                    <a:pt x="5881402" y="22574"/>
                  </a:lnTo>
                  <a:lnTo>
                    <a:pt x="6118003" y="22574"/>
                  </a:lnTo>
                  <a:lnTo>
                    <a:pt x="6118003" y="1337215"/>
                  </a:lnTo>
                  <a:lnTo>
                    <a:pt x="5847588" y="1337215"/>
                  </a:lnTo>
                  <a:lnTo>
                    <a:pt x="5712333" y="713708"/>
                  </a:lnTo>
                  <a:lnTo>
                    <a:pt x="5691664" y="548450"/>
                  </a:lnTo>
                  <a:lnTo>
                    <a:pt x="5659755" y="548450"/>
                  </a:lnTo>
                  <a:lnTo>
                    <a:pt x="5680424" y="713708"/>
                  </a:lnTo>
                  <a:lnTo>
                    <a:pt x="5680424" y="1337215"/>
                  </a:lnTo>
                  <a:lnTo>
                    <a:pt x="5443823" y="1337215"/>
                  </a:lnTo>
                  <a:lnTo>
                    <a:pt x="5443823" y="22574"/>
                  </a:lnTo>
                  <a:close/>
                  <a:moveTo>
                    <a:pt x="6273832" y="22574"/>
                  </a:moveTo>
                  <a:lnTo>
                    <a:pt x="6720840" y="22574"/>
                  </a:lnTo>
                  <a:lnTo>
                    <a:pt x="6720840" y="238601"/>
                  </a:lnTo>
                  <a:lnTo>
                    <a:pt x="6510528" y="238601"/>
                  </a:lnTo>
                  <a:lnTo>
                    <a:pt x="6510528" y="565404"/>
                  </a:lnTo>
                  <a:lnTo>
                    <a:pt x="6700172" y="565404"/>
                  </a:lnTo>
                  <a:lnTo>
                    <a:pt x="6700172" y="775716"/>
                  </a:lnTo>
                  <a:lnTo>
                    <a:pt x="6510528" y="775716"/>
                  </a:lnTo>
                  <a:lnTo>
                    <a:pt x="6510528" y="1121283"/>
                  </a:lnTo>
                  <a:lnTo>
                    <a:pt x="6720840" y="1121283"/>
                  </a:lnTo>
                  <a:lnTo>
                    <a:pt x="6720840" y="1337215"/>
                  </a:lnTo>
                  <a:lnTo>
                    <a:pt x="6273832" y="1337215"/>
                  </a:lnTo>
                  <a:lnTo>
                    <a:pt x="6273832" y="22574"/>
                  </a:lnTo>
                  <a:close/>
                  <a:moveTo>
                    <a:pt x="6846665" y="1074230"/>
                  </a:moveTo>
                  <a:lnTo>
                    <a:pt x="6846665" y="283559"/>
                  </a:lnTo>
                  <a:cubicBezTo>
                    <a:pt x="6846665" y="114490"/>
                    <a:pt x="6970585" y="0"/>
                    <a:pt x="7154704" y="0"/>
                  </a:cubicBezTo>
                  <a:cubicBezTo>
                    <a:pt x="7338822" y="0"/>
                    <a:pt x="7462742" y="114586"/>
                    <a:pt x="7462742" y="283559"/>
                  </a:cubicBezTo>
                  <a:lnTo>
                    <a:pt x="7462742" y="557784"/>
                  </a:lnTo>
                  <a:lnTo>
                    <a:pt x="7226142" y="557784"/>
                  </a:lnTo>
                  <a:lnTo>
                    <a:pt x="7226142" y="285464"/>
                  </a:lnTo>
                  <a:cubicBezTo>
                    <a:pt x="7226142" y="242316"/>
                    <a:pt x="7197947" y="215932"/>
                    <a:pt x="7154800" y="215932"/>
                  </a:cubicBezTo>
                  <a:cubicBezTo>
                    <a:pt x="7111651" y="215932"/>
                    <a:pt x="7083457" y="242221"/>
                    <a:pt x="7083457" y="285464"/>
                  </a:cubicBezTo>
                  <a:lnTo>
                    <a:pt x="7083457" y="1074230"/>
                  </a:lnTo>
                  <a:cubicBezTo>
                    <a:pt x="7083457" y="1117378"/>
                    <a:pt x="7111651" y="1143667"/>
                    <a:pt x="7154800" y="1143667"/>
                  </a:cubicBezTo>
                  <a:cubicBezTo>
                    <a:pt x="7197947" y="1143667"/>
                    <a:pt x="7226142" y="1117378"/>
                    <a:pt x="7226142" y="1074230"/>
                  </a:cubicBezTo>
                  <a:lnTo>
                    <a:pt x="7226142" y="783146"/>
                  </a:lnTo>
                  <a:lnTo>
                    <a:pt x="7462742" y="783146"/>
                  </a:lnTo>
                  <a:lnTo>
                    <a:pt x="7462742" y="1074230"/>
                  </a:lnTo>
                  <a:cubicBezTo>
                    <a:pt x="7462742" y="1245108"/>
                    <a:pt x="7338822" y="1359694"/>
                    <a:pt x="7154704" y="1359694"/>
                  </a:cubicBezTo>
                  <a:cubicBezTo>
                    <a:pt x="6970585" y="1359694"/>
                    <a:pt x="6846665" y="1245108"/>
                    <a:pt x="6846665" y="1074230"/>
                  </a:cubicBezTo>
                  <a:close/>
                  <a:moveTo>
                    <a:pt x="7699248" y="238506"/>
                  </a:moveTo>
                  <a:lnTo>
                    <a:pt x="7563993" y="238506"/>
                  </a:lnTo>
                  <a:lnTo>
                    <a:pt x="7563993" y="22479"/>
                  </a:lnTo>
                  <a:lnTo>
                    <a:pt x="8071104" y="22479"/>
                  </a:lnTo>
                  <a:lnTo>
                    <a:pt x="8071104" y="238506"/>
                  </a:lnTo>
                  <a:lnTo>
                    <a:pt x="7935850" y="238506"/>
                  </a:lnTo>
                  <a:lnTo>
                    <a:pt x="7935850" y="1337120"/>
                  </a:lnTo>
                  <a:lnTo>
                    <a:pt x="7699248" y="1337120"/>
                  </a:lnTo>
                  <a:lnTo>
                    <a:pt x="7699248" y="238506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6640481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een and yellow background&#10;&#10;Description automatically generated">
            <a:extLst>
              <a:ext uri="{FF2B5EF4-FFF2-40B4-BE49-F238E27FC236}">
                <a16:creationId xmlns:a16="http://schemas.microsoft.com/office/drawing/2014/main" id="{D2790077-B7F0-AD90-1BAE-7A6CE9AEA0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9F7C942-98D3-39BD-E7C4-64ECA5A54101}"/>
              </a:ext>
            </a:extLst>
          </p:cNvPr>
          <p:cNvSpPr/>
          <p:nvPr userDrawn="1"/>
        </p:nvSpPr>
        <p:spPr>
          <a:xfrm>
            <a:off x="0" y="0"/>
            <a:ext cx="9104243" cy="6858000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50000"/>
                </a:schemeClr>
              </a:gs>
              <a:gs pos="73000">
                <a:schemeClr val="accent2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C2B404-9FBA-1E87-C027-2BB6C644C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110772"/>
            <a:ext cx="6826250" cy="1673731"/>
          </a:xfrm>
        </p:spPr>
        <p:txBody>
          <a:bodyPr anchor="b"/>
          <a:lstStyle>
            <a:lvl1pPr>
              <a:defRPr sz="5000">
                <a:solidFill>
                  <a:schemeClr val="tx2"/>
                </a:solidFill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8598D-4FA6-4246-6447-7B759D632FD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811492"/>
            <a:ext cx="6826250" cy="34727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optional 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B53587-0701-2BC6-CC8A-7319C380CA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849" y="6327552"/>
            <a:ext cx="6868450" cy="347270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optional date</a:t>
            </a:r>
            <a:endParaRPr lang="en-GB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1FCA1F3-62B5-C71B-D135-73E9DB172764}"/>
              </a:ext>
            </a:extLst>
          </p:cNvPr>
          <p:cNvGrpSpPr/>
          <p:nvPr userDrawn="1"/>
        </p:nvGrpSpPr>
        <p:grpSpPr>
          <a:xfrm>
            <a:off x="831850" y="1085024"/>
            <a:ext cx="3353494" cy="825804"/>
            <a:chOff x="13749337" y="746575"/>
            <a:chExt cx="11277504" cy="2777109"/>
          </a:xfrm>
          <a:solidFill>
            <a:schemeClr val="accent1"/>
          </a:solidFill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5D74723-591C-61E8-9A17-EE9A50999B0E}"/>
                </a:ext>
              </a:extLst>
            </p:cNvPr>
            <p:cNvSpPr/>
            <p:nvPr/>
          </p:nvSpPr>
          <p:spPr>
            <a:xfrm>
              <a:off x="13749337" y="746575"/>
              <a:ext cx="5114450" cy="2777109"/>
            </a:xfrm>
            <a:custGeom>
              <a:avLst/>
              <a:gdLst>
                <a:gd name="connsiteX0" fmla="*/ 5080826 w 5114450"/>
                <a:gd name="connsiteY0" fmla="*/ 664559 h 2777109"/>
                <a:gd name="connsiteX1" fmla="*/ 5114450 w 5114450"/>
                <a:gd name="connsiteY1" fmla="*/ 952786 h 2777109"/>
                <a:gd name="connsiteX2" fmla="*/ 4924234 w 5114450"/>
                <a:gd name="connsiteY2" fmla="*/ 952786 h 2777109"/>
                <a:gd name="connsiteX3" fmla="*/ 4911662 w 5114450"/>
                <a:gd name="connsiteY3" fmla="*/ 812292 h 2777109"/>
                <a:gd name="connsiteX4" fmla="*/ 4562570 w 5114450"/>
                <a:gd name="connsiteY4" fmla="*/ 812292 h 2777109"/>
                <a:gd name="connsiteX5" fmla="*/ 4196906 w 5114450"/>
                <a:gd name="connsiteY5" fmla="*/ 972026 h 2777109"/>
                <a:gd name="connsiteX6" fmla="*/ 4047362 w 5114450"/>
                <a:gd name="connsiteY6" fmla="*/ 952786 h 2777109"/>
                <a:gd name="connsiteX7" fmla="*/ 5080826 w 5114450"/>
                <a:gd name="connsiteY7" fmla="*/ 664559 h 2777109"/>
                <a:gd name="connsiteX8" fmla="*/ 4833462 w 5114450"/>
                <a:gd name="connsiteY8" fmla="*/ 250221 h 2777109"/>
                <a:gd name="connsiteX9" fmla="*/ 5031866 w 5114450"/>
                <a:gd name="connsiteY9" fmla="*/ 250221 h 2777109"/>
                <a:gd name="connsiteX10" fmla="*/ 5076634 w 5114450"/>
                <a:gd name="connsiteY10" fmla="*/ 629697 h 2777109"/>
                <a:gd name="connsiteX11" fmla="*/ 4896516 w 5114450"/>
                <a:gd name="connsiteY11" fmla="*/ 650176 h 2777109"/>
                <a:gd name="connsiteX12" fmla="*/ 4876418 w 5114450"/>
                <a:gd name="connsiteY12" fmla="*/ 423767 h 2777109"/>
                <a:gd name="connsiteX13" fmla="*/ 4658010 w 5114450"/>
                <a:gd name="connsiteY13" fmla="*/ 693610 h 2777109"/>
                <a:gd name="connsiteX14" fmla="*/ 4657914 w 5114450"/>
                <a:gd name="connsiteY14" fmla="*/ 693610 h 2777109"/>
                <a:gd name="connsiteX15" fmla="*/ 4412456 w 5114450"/>
                <a:gd name="connsiteY15" fmla="*/ 758856 h 2777109"/>
                <a:gd name="connsiteX16" fmla="*/ 4833462 w 5114450"/>
                <a:gd name="connsiteY16" fmla="*/ 250221 h 2777109"/>
                <a:gd name="connsiteX17" fmla="*/ 4326922 w 5114450"/>
                <a:gd name="connsiteY17" fmla="*/ 232600 h 2777109"/>
                <a:gd name="connsiteX18" fmla="*/ 4614670 w 5114450"/>
                <a:gd name="connsiteY18" fmla="*/ 329279 h 2777109"/>
                <a:gd name="connsiteX19" fmla="*/ 4508658 w 5114450"/>
                <a:gd name="connsiteY19" fmla="*/ 460438 h 2777109"/>
                <a:gd name="connsiteX20" fmla="*/ 4508658 w 5114450"/>
                <a:gd name="connsiteY20" fmla="*/ 460533 h 2777109"/>
                <a:gd name="connsiteX21" fmla="*/ 4299298 w 5114450"/>
                <a:gd name="connsiteY21" fmla="*/ 376999 h 2777109"/>
                <a:gd name="connsiteX22" fmla="*/ 4010024 w 5114450"/>
                <a:gd name="connsiteY22" fmla="*/ 619887 h 2777109"/>
                <a:gd name="connsiteX23" fmla="*/ 4113466 w 5114450"/>
                <a:gd name="connsiteY23" fmla="*/ 811911 h 2777109"/>
                <a:gd name="connsiteX24" fmla="*/ 4215670 w 5114450"/>
                <a:gd name="connsiteY24" fmla="*/ 826484 h 2777109"/>
                <a:gd name="connsiteX25" fmla="*/ 3928300 w 5114450"/>
                <a:gd name="connsiteY25" fmla="*/ 952881 h 2777109"/>
                <a:gd name="connsiteX26" fmla="*/ 3206400 w 5114450"/>
                <a:gd name="connsiteY26" fmla="*/ 952881 h 2777109"/>
                <a:gd name="connsiteX27" fmla="*/ 3454336 w 5114450"/>
                <a:gd name="connsiteY27" fmla="*/ 250317 h 2777109"/>
                <a:gd name="connsiteX28" fmla="*/ 3987164 w 5114450"/>
                <a:gd name="connsiteY28" fmla="*/ 250317 h 2777109"/>
                <a:gd name="connsiteX29" fmla="*/ 3871626 w 5114450"/>
                <a:gd name="connsiteY29" fmla="*/ 390810 h 2777109"/>
                <a:gd name="connsiteX30" fmla="*/ 3587590 w 5114450"/>
                <a:gd name="connsiteY30" fmla="*/ 390810 h 2777109"/>
                <a:gd name="connsiteX31" fmla="*/ 3544156 w 5114450"/>
                <a:gd name="connsiteY31" fmla="*/ 513683 h 2777109"/>
                <a:gd name="connsiteX32" fmla="*/ 3770470 w 5114450"/>
                <a:gd name="connsiteY32" fmla="*/ 513683 h 2777109"/>
                <a:gd name="connsiteX33" fmla="*/ 3655122 w 5114450"/>
                <a:gd name="connsiteY33" fmla="*/ 653796 h 2777109"/>
                <a:gd name="connsiteX34" fmla="*/ 3494722 w 5114450"/>
                <a:gd name="connsiteY34" fmla="*/ 653796 h 2777109"/>
                <a:gd name="connsiteX35" fmla="*/ 3438810 w 5114450"/>
                <a:gd name="connsiteY35" fmla="*/ 812101 h 2777109"/>
                <a:gd name="connsiteX36" fmla="*/ 3873530 w 5114450"/>
                <a:gd name="connsiteY36" fmla="*/ 812101 h 2777109"/>
                <a:gd name="connsiteX37" fmla="*/ 3829430 w 5114450"/>
                <a:gd name="connsiteY37" fmla="*/ 629793 h 2777109"/>
                <a:gd name="connsiteX38" fmla="*/ 4326922 w 5114450"/>
                <a:gd name="connsiteY38" fmla="*/ 232600 h 2777109"/>
                <a:gd name="connsiteX39" fmla="*/ 1567529 w 5114450"/>
                <a:gd name="connsiteY39" fmla="*/ 0 h 2777109"/>
                <a:gd name="connsiteX40" fmla="*/ 2797397 w 5114450"/>
                <a:gd name="connsiteY40" fmla="*/ 1388555 h 2777109"/>
                <a:gd name="connsiteX41" fmla="*/ 1567529 w 5114450"/>
                <a:gd name="connsiteY41" fmla="*/ 2777109 h 2777109"/>
                <a:gd name="connsiteX42" fmla="*/ 1567529 w 5114450"/>
                <a:gd name="connsiteY42" fmla="*/ 2003965 h 2777109"/>
                <a:gd name="connsiteX43" fmla="*/ 2036921 w 5114450"/>
                <a:gd name="connsiteY43" fmla="*/ 1388555 h 2777109"/>
                <a:gd name="connsiteX44" fmla="*/ 1567529 w 5114450"/>
                <a:gd name="connsiteY44" fmla="*/ 773144 h 2777109"/>
                <a:gd name="connsiteX45" fmla="*/ 1229868 w 5114450"/>
                <a:gd name="connsiteY45" fmla="*/ 0 h 2777109"/>
                <a:gd name="connsiteX46" fmla="*/ 1229868 w 5114450"/>
                <a:gd name="connsiteY46" fmla="*/ 773144 h 2777109"/>
                <a:gd name="connsiteX47" fmla="*/ 760476 w 5114450"/>
                <a:gd name="connsiteY47" fmla="*/ 1388555 h 2777109"/>
                <a:gd name="connsiteX48" fmla="*/ 1229868 w 5114450"/>
                <a:gd name="connsiteY48" fmla="*/ 2003965 h 2777109"/>
                <a:gd name="connsiteX49" fmla="*/ 1229868 w 5114450"/>
                <a:gd name="connsiteY49" fmla="*/ 2777109 h 2777109"/>
                <a:gd name="connsiteX50" fmla="*/ 0 w 5114450"/>
                <a:gd name="connsiteY50" fmla="*/ 1388555 h 2777109"/>
                <a:gd name="connsiteX51" fmla="*/ 1229868 w 5114450"/>
                <a:gd name="connsiteY51" fmla="*/ 0 h 2777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114450" h="2777109">
                  <a:moveTo>
                    <a:pt x="5080826" y="664559"/>
                  </a:moveTo>
                  <a:lnTo>
                    <a:pt x="5114450" y="952786"/>
                  </a:lnTo>
                  <a:lnTo>
                    <a:pt x="4924234" y="952786"/>
                  </a:lnTo>
                  <a:cubicBezTo>
                    <a:pt x="4924234" y="952786"/>
                    <a:pt x="4911662" y="812292"/>
                    <a:pt x="4911662" y="812292"/>
                  </a:cubicBezTo>
                  <a:lnTo>
                    <a:pt x="4562570" y="812292"/>
                  </a:lnTo>
                  <a:cubicBezTo>
                    <a:pt x="4448746" y="938022"/>
                    <a:pt x="4354162" y="972026"/>
                    <a:pt x="4196906" y="972026"/>
                  </a:cubicBezTo>
                  <a:cubicBezTo>
                    <a:pt x="4140136" y="972026"/>
                    <a:pt x="4086892" y="965549"/>
                    <a:pt x="4047362" y="952786"/>
                  </a:cubicBezTo>
                  <a:cubicBezTo>
                    <a:pt x="4047362" y="952786"/>
                    <a:pt x="4500562" y="719233"/>
                    <a:pt x="5080826" y="664559"/>
                  </a:cubicBezTo>
                  <a:close/>
                  <a:moveTo>
                    <a:pt x="4833462" y="250221"/>
                  </a:moveTo>
                  <a:lnTo>
                    <a:pt x="5031866" y="250221"/>
                  </a:lnTo>
                  <a:lnTo>
                    <a:pt x="5076634" y="629697"/>
                  </a:lnTo>
                  <a:cubicBezTo>
                    <a:pt x="5016626" y="636079"/>
                    <a:pt x="4955094" y="641127"/>
                    <a:pt x="4896516" y="650176"/>
                  </a:cubicBezTo>
                  <a:lnTo>
                    <a:pt x="4876418" y="423767"/>
                  </a:lnTo>
                  <a:lnTo>
                    <a:pt x="4658010" y="693610"/>
                  </a:lnTo>
                  <a:lnTo>
                    <a:pt x="4657914" y="693610"/>
                  </a:lnTo>
                  <a:cubicBezTo>
                    <a:pt x="4574094" y="712470"/>
                    <a:pt x="4492274" y="734282"/>
                    <a:pt x="4412456" y="758856"/>
                  </a:cubicBezTo>
                  <a:cubicBezTo>
                    <a:pt x="4412456" y="758856"/>
                    <a:pt x="4833462" y="250221"/>
                    <a:pt x="4833462" y="250221"/>
                  </a:cubicBezTo>
                  <a:close/>
                  <a:moveTo>
                    <a:pt x="4326922" y="232600"/>
                  </a:moveTo>
                  <a:cubicBezTo>
                    <a:pt x="4449222" y="232600"/>
                    <a:pt x="4548090" y="269271"/>
                    <a:pt x="4614670" y="329279"/>
                  </a:cubicBezTo>
                  <a:lnTo>
                    <a:pt x="4508658" y="460438"/>
                  </a:lnTo>
                  <a:lnTo>
                    <a:pt x="4508658" y="460533"/>
                  </a:lnTo>
                  <a:cubicBezTo>
                    <a:pt x="4467130" y="414051"/>
                    <a:pt x="4383498" y="376999"/>
                    <a:pt x="4299298" y="376999"/>
                  </a:cubicBezTo>
                  <a:cubicBezTo>
                    <a:pt x="4128706" y="376999"/>
                    <a:pt x="4021930" y="498538"/>
                    <a:pt x="4010024" y="619887"/>
                  </a:cubicBezTo>
                  <a:cubicBezTo>
                    <a:pt x="3999928" y="723042"/>
                    <a:pt x="4035838" y="785241"/>
                    <a:pt x="4113466" y="811911"/>
                  </a:cubicBezTo>
                  <a:cubicBezTo>
                    <a:pt x="4156518" y="822769"/>
                    <a:pt x="4180902" y="825246"/>
                    <a:pt x="4215670" y="826484"/>
                  </a:cubicBezTo>
                  <a:cubicBezTo>
                    <a:pt x="4030408" y="898017"/>
                    <a:pt x="3928300" y="952881"/>
                    <a:pt x="3928300" y="952881"/>
                  </a:cubicBezTo>
                  <a:lnTo>
                    <a:pt x="3206400" y="952881"/>
                  </a:lnTo>
                  <a:cubicBezTo>
                    <a:pt x="3206400" y="952881"/>
                    <a:pt x="3454336" y="250317"/>
                    <a:pt x="3454336" y="250317"/>
                  </a:cubicBezTo>
                  <a:lnTo>
                    <a:pt x="3987164" y="250317"/>
                  </a:lnTo>
                  <a:cubicBezTo>
                    <a:pt x="3987164" y="250317"/>
                    <a:pt x="3871626" y="390810"/>
                    <a:pt x="3871626" y="390810"/>
                  </a:cubicBezTo>
                  <a:lnTo>
                    <a:pt x="3587590" y="390810"/>
                  </a:lnTo>
                  <a:cubicBezTo>
                    <a:pt x="3587590" y="390810"/>
                    <a:pt x="3544156" y="513683"/>
                    <a:pt x="3544156" y="513683"/>
                  </a:cubicBezTo>
                  <a:lnTo>
                    <a:pt x="3770470" y="513683"/>
                  </a:lnTo>
                  <a:cubicBezTo>
                    <a:pt x="3770470" y="513683"/>
                    <a:pt x="3655122" y="653796"/>
                    <a:pt x="3655122" y="653796"/>
                  </a:cubicBezTo>
                  <a:lnTo>
                    <a:pt x="3494722" y="653796"/>
                  </a:lnTo>
                  <a:cubicBezTo>
                    <a:pt x="3494722" y="653796"/>
                    <a:pt x="3438810" y="812101"/>
                    <a:pt x="3438810" y="812101"/>
                  </a:cubicBezTo>
                  <a:lnTo>
                    <a:pt x="3873530" y="812101"/>
                  </a:lnTo>
                  <a:cubicBezTo>
                    <a:pt x="3837336" y="752284"/>
                    <a:pt x="3826192" y="691610"/>
                    <a:pt x="3829430" y="629793"/>
                  </a:cubicBezTo>
                  <a:cubicBezTo>
                    <a:pt x="3840290" y="425481"/>
                    <a:pt x="4007454" y="232600"/>
                    <a:pt x="4326922" y="232600"/>
                  </a:cubicBezTo>
                  <a:close/>
                  <a:moveTo>
                    <a:pt x="1567529" y="0"/>
                  </a:moveTo>
                  <a:cubicBezTo>
                    <a:pt x="2260473" y="83344"/>
                    <a:pt x="2797397" y="673227"/>
                    <a:pt x="2797397" y="1388555"/>
                  </a:cubicBezTo>
                  <a:cubicBezTo>
                    <a:pt x="2797397" y="2103882"/>
                    <a:pt x="2260378" y="2693765"/>
                    <a:pt x="1567529" y="2777109"/>
                  </a:cubicBezTo>
                  <a:lnTo>
                    <a:pt x="1567529" y="2003965"/>
                  </a:lnTo>
                  <a:cubicBezTo>
                    <a:pt x="1837754" y="1929765"/>
                    <a:pt x="2036921" y="1682020"/>
                    <a:pt x="2036921" y="1388555"/>
                  </a:cubicBezTo>
                  <a:cubicBezTo>
                    <a:pt x="2036921" y="1095089"/>
                    <a:pt x="1837754" y="847344"/>
                    <a:pt x="1567529" y="773144"/>
                  </a:cubicBezTo>
                  <a:close/>
                  <a:moveTo>
                    <a:pt x="1229868" y="0"/>
                  </a:moveTo>
                  <a:lnTo>
                    <a:pt x="1229868" y="773144"/>
                  </a:lnTo>
                  <a:cubicBezTo>
                    <a:pt x="959644" y="847344"/>
                    <a:pt x="760476" y="1095089"/>
                    <a:pt x="760476" y="1388555"/>
                  </a:cubicBezTo>
                  <a:cubicBezTo>
                    <a:pt x="760476" y="1682020"/>
                    <a:pt x="959644" y="1929765"/>
                    <a:pt x="1229868" y="2003965"/>
                  </a:cubicBezTo>
                  <a:lnTo>
                    <a:pt x="1229868" y="2777109"/>
                  </a:lnTo>
                  <a:cubicBezTo>
                    <a:pt x="537020" y="2693765"/>
                    <a:pt x="0" y="2103882"/>
                    <a:pt x="0" y="1388555"/>
                  </a:cubicBezTo>
                  <a:cubicBezTo>
                    <a:pt x="0" y="673227"/>
                    <a:pt x="537020" y="83344"/>
                    <a:pt x="1229868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F748AF8-4448-81DE-F0BA-A520C2A36C79}"/>
                </a:ext>
              </a:extLst>
            </p:cNvPr>
            <p:cNvSpPr/>
            <p:nvPr/>
          </p:nvSpPr>
          <p:spPr>
            <a:xfrm>
              <a:off x="16955738" y="1931294"/>
              <a:ext cx="8071103" cy="1359693"/>
            </a:xfrm>
            <a:custGeom>
              <a:avLst/>
              <a:gdLst>
                <a:gd name="connsiteX0" fmla="*/ 0 w 8071103"/>
                <a:gd name="connsiteY0" fmla="*/ 1074230 h 1359693"/>
                <a:gd name="connsiteX1" fmla="*/ 0 w 8071103"/>
                <a:gd name="connsiteY1" fmla="*/ 283559 h 1359693"/>
                <a:gd name="connsiteX2" fmla="*/ 308038 w 8071103"/>
                <a:gd name="connsiteY2" fmla="*/ 0 h 1359693"/>
                <a:gd name="connsiteX3" fmla="*/ 616077 w 8071103"/>
                <a:gd name="connsiteY3" fmla="*/ 283559 h 1359693"/>
                <a:gd name="connsiteX4" fmla="*/ 616077 w 8071103"/>
                <a:gd name="connsiteY4" fmla="*/ 557784 h 1359693"/>
                <a:gd name="connsiteX5" fmla="*/ 379476 w 8071103"/>
                <a:gd name="connsiteY5" fmla="*/ 557784 h 1359693"/>
                <a:gd name="connsiteX6" fmla="*/ 379476 w 8071103"/>
                <a:gd name="connsiteY6" fmla="*/ 285464 h 1359693"/>
                <a:gd name="connsiteX7" fmla="*/ 308134 w 8071103"/>
                <a:gd name="connsiteY7" fmla="*/ 215932 h 1359693"/>
                <a:gd name="connsiteX8" fmla="*/ 236791 w 8071103"/>
                <a:gd name="connsiteY8" fmla="*/ 285464 h 1359693"/>
                <a:gd name="connsiteX9" fmla="*/ 236791 w 8071103"/>
                <a:gd name="connsiteY9" fmla="*/ 1074230 h 1359693"/>
                <a:gd name="connsiteX10" fmla="*/ 308134 w 8071103"/>
                <a:gd name="connsiteY10" fmla="*/ 1143667 h 1359693"/>
                <a:gd name="connsiteX11" fmla="*/ 379476 w 8071103"/>
                <a:gd name="connsiteY11" fmla="*/ 1074230 h 1359693"/>
                <a:gd name="connsiteX12" fmla="*/ 379476 w 8071103"/>
                <a:gd name="connsiteY12" fmla="*/ 783146 h 1359693"/>
                <a:gd name="connsiteX13" fmla="*/ 616077 w 8071103"/>
                <a:gd name="connsiteY13" fmla="*/ 783146 h 1359693"/>
                <a:gd name="connsiteX14" fmla="*/ 616077 w 8071103"/>
                <a:gd name="connsiteY14" fmla="*/ 1074230 h 1359693"/>
                <a:gd name="connsiteX15" fmla="*/ 308038 w 8071103"/>
                <a:gd name="connsiteY15" fmla="*/ 1359694 h 1359693"/>
                <a:gd name="connsiteX16" fmla="*/ 0 w 8071103"/>
                <a:gd name="connsiteY16" fmla="*/ 1074230 h 1359693"/>
                <a:gd name="connsiteX17" fmla="*/ 762476 w 8071103"/>
                <a:gd name="connsiteY17" fmla="*/ 22574 h 1359693"/>
                <a:gd name="connsiteX18" fmla="*/ 999077 w 8071103"/>
                <a:gd name="connsiteY18" fmla="*/ 22574 h 1359693"/>
                <a:gd name="connsiteX19" fmla="*/ 999077 w 8071103"/>
                <a:gd name="connsiteY19" fmla="*/ 1121283 h 1359693"/>
                <a:gd name="connsiteX20" fmla="*/ 1198150 w 8071103"/>
                <a:gd name="connsiteY20" fmla="*/ 1121283 h 1359693"/>
                <a:gd name="connsiteX21" fmla="*/ 1198150 w 8071103"/>
                <a:gd name="connsiteY21" fmla="*/ 1337215 h 1359693"/>
                <a:gd name="connsiteX22" fmla="*/ 762476 w 8071103"/>
                <a:gd name="connsiteY22" fmla="*/ 1337215 h 1359693"/>
                <a:gd name="connsiteX23" fmla="*/ 762476 w 8071103"/>
                <a:gd name="connsiteY23" fmla="*/ 22574 h 1359693"/>
                <a:gd name="connsiteX24" fmla="*/ 1293971 w 8071103"/>
                <a:gd name="connsiteY24" fmla="*/ 1074230 h 1359693"/>
                <a:gd name="connsiteX25" fmla="*/ 1293971 w 8071103"/>
                <a:gd name="connsiteY25" fmla="*/ 22479 h 1359693"/>
                <a:gd name="connsiteX26" fmla="*/ 1530572 w 8071103"/>
                <a:gd name="connsiteY26" fmla="*/ 22479 h 1359693"/>
                <a:gd name="connsiteX27" fmla="*/ 1530572 w 8071103"/>
                <a:gd name="connsiteY27" fmla="*/ 1074230 h 1359693"/>
                <a:gd name="connsiteX28" fmla="*/ 1600105 w 8071103"/>
                <a:gd name="connsiteY28" fmla="*/ 1143667 h 1359693"/>
                <a:gd name="connsiteX29" fmla="*/ 1671447 w 8071103"/>
                <a:gd name="connsiteY29" fmla="*/ 1074230 h 1359693"/>
                <a:gd name="connsiteX30" fmla="*/ 1671447 w 8071103"/>
                <a:gd name="connsiteY30" fmla="*/ 22479 h 1359693"/>
                <a:gd name="connsiteX31" fmla="*/ 1908048 w 8071103"/>
                <a:gd name="connsiteY31" fmla="*/ 22479 h 1359693"/>
                <a:gd name="connsiteX32" fmla="*/ 1908048 w 8071103"/>
                <a:gd name="connsiteY32" fmla="*/ 1074230 h 1359693"/>
                <a:gd name="connsiteX33" fmla="*/ 1600009 w 8071103"/>
                <a:gd name="connsiteY33" fmla="*/ 1359694 h 1359693"/>
                <a:gd name="connsiteX34" fmla="*/ 1293876 w 8071103"/>
                <a:gd name="connsiteY34" fmla="*/ 1074230 h 1359693"/>
                <a:gd name="connsiteX35" fmla="*/ 2060162 w 8071103"/>
                <a:gd name="connsiteY35" fmla="*/ 22574 h 1359693"/>
                <a:gd name="connsiteX36" fmla="*/ 2394490 w 8071103"/>
                <a:gd name="connsiteY36" fmla="*/ 22574 h 1359693"/>
                <a:gd name="connsiteX37" fmla="*/ 2674335 w 8071103"/>
                <a:gd name="connsiteY37" fmla="*/ 279844 h 1359693"/>
                <a:gd name="connsiteX38" fmla="*/ 2674335 w 8071103"/>
                <a:gd name="connsiteY38" fmla="*/ 458248 h 1359693"/>
                <a:gd name="connsiteX39" fmla="*/ 2565369 w 8071103"/>
                <a:gd name="connsiteY39" fmla="*/ 651701 h 1359693"/>
                <a:gd name="connsiteX40" fmla="*/ 2565369 w 8071103"/>
                <a:gd name="connsiteY40" fmla="*/ 662940 h 1359693"/>
                <a:gd name="connsiteX41" fmla="*/ 2685574 w 8071103"/>
                <a:gd name="connsiteY41" fmla="*/ 865727 h 1359693"/>
                <a:gd name="connsiteX42" fmla="*/ 2685574 w 8071103"/>
                <a:gd name="connsiteY42" fmla="*/ 1079849 h 1359693"/>
                <a:gd name="connsiteX43" fmla="*/ 2405729 w 8071103"/>
                <a:gd name="connsiteY43" fmla="*/ 1337120 h 1359693"/>
                <a:gd name="connsiteX44" fmla="*/ 2060162 w 8071103"/>
                <a:gd name="connsiteY44" fmla="*/ 1337120 h 1359693"/>
                <a:gd name="connsiteX45" fmla="*/ 2060162 w 8071103"/>
                <a:gd name="connsiteY45" fmla="*/ 22574 h 1359693"/>
                <a:gd name="connsiteX46" fmla="*/ 2296763 w 8071103"/>
                <a:gd name="connsiteY46" fmla="*/ 238506 h 1359693"/>
                <a:gd name="connsiteX47" fmla="*/ 2296763 w 8071103"/>
                <a:gd name="connsiteY47" fmla="*/ 569024 h 1359693"/>
                <a:gd name="connsiteX48" fmla="*/ 2366296 w 8071103"/>
                <a:gd name="connsiteY48" fmla="*/ 569024 h 1359693"/>
                <a:gd name="connsiteX49" fmla="*/ 2437638 w 8071103"/>
                <a:gd name="connsiteY49" fmla="*/ 497681 h 1359693"/>
                <a:gd name="connsiteX50" fmla="*/ 2437638 w 8071103"/>
                <a:gd name="connsiteY50" fmla="*/ 307943 h 1359693"/>
                <a:gd name="connsiteX51" fmla="*/ 2366296 w 8071103"/>
                <a:gd name="connsiteY51" fmla="*/ 238506 h 1359693"/>
                <a:gd name="connsiteX52" fmla="*/ 2296763 w 8071103"/>
                <a:gd name="connsiteY52" fmla="*/ 238506 h 1359693"/>
                <a:gd name="connsiteX53" fmla="*/ 2296763 w 8071103"/>
                <a:gd name="connsiteY53" fmla="*/ 770001 h 1359693"/>
                <a:gd name="connsiteX54" fmla="*/ 2296763 w 8071103"/>
                <a:gd name="connsiteY54" fmla="*/ 1121188 h 1359693"/>
                <a:gd name="connsiteX55" fmla="*/ 2379440 w 8071103"/>
                <a:gd name="connsiteY55" fmla="*/ 1121188 h 1359693"/>
                <a:gd name="connsiteX56" fmla="*/ 2448973 w 8071103"/>
                <a:gd name="connsiteY56" fmla="*/ 1051655 h 1359693"/>
                <a:gd name="connsiteX57" fmla="*/ 2448973 w 8071103"/>
                <a:gd name="connsiteY57" fmla="*/ 841343 h 1359693"/>
                <a:gd name="connsiteX58" fmla="*/ 2379440 w 8071103"/>
                <a:gd name="connsiteY58" fmla="*/ 770001 h 1359693"/>
                <a:gd name="connsiteX59" fmla="*/ 2296763 w 8071103"/>
                <a:gd name="connsiteY59" fmla="*/ 770001 h 1359693"/>
                <a:gd name="connsiteX60" fmla="*/ 3094482 w 8071103"/>
                <a:gd name="connsiteY60" fmla="*/ 1074230 h 1359693"/>
                <a:gd name="connsiteX61" fmla="*/ 3094482 w 8071103"/>
                <a:gd name="connsiteY61" fmla="*/ 283559 h 1359693"/>
                <a:gd name="connsiteX62" fmla="*/ 3402520 w 8071103"/>
                <a:gd name="connsiteY62" fmla="*/ 0 h 1359693"/>
                <a:gd name="connsiteX63" fmla="*/ 3710559 w 8071103"/>
                <a:gd name="connsiteY63" fmla="*/ 283559 h 1359693"/>
                <a:gd name="connsiteX64" fmla="*/ 3710559 w 8071103"/>
                <a:gd name="connsiteY64" fmla="*/ 557784 h 1359693"/>
                <a:gd name="connsiteX65" fmla="*/ 3473958 w 8071103"/>
                <a:gd name="connsiteY65" fmla="*/ 557784 h 1359693"/>
                <a:gd name="connsiteX66" fmla="*/ 3473958 w 8071103"/>
                <a:gd name="connsiteY66" fmla="*/ 285464 h 1359693"/>
                <a:gd name="connsiteX67" fmla="*/ 3402616 w 8071103"/>
                <a:gd name="connsiteY67" fmla="*/ 215932 h 1359693"/>
                <a:gd name="connsiteX68" fmla="*/ 3331274 w 8071103"/>
                <a:gd name="connsiteY68" fmla="*/ 285464 h 1359693"/>
                <a:gd name="connsiteX69" fmla="*/ 3331274 w 8071103"/>
                <a:gd name="connsiteY69" fmla="*/ 1074230 h 1359693"/>
                <a:gd name="connsiteX70" fmla="*/ 3402616 w 8071103"/>
                <a:gd name="connsiteY70" fmla="*/ 1143667 h 1359693"/>
                <a:gd name="connsiteX71" fmla="*/ 3473958 w 8071103"/>
                <a:gd name="connsiteY71" fmla="*/ 1074230 h 1359693"/>
                <a:gd name="connsiteX72" fmla="*/ 3473958 w 8071103"/>
                <a:gd name="connsiteY72" fmla="*/ 783146 h 1359693"/>
                <a:gd name="connsiteX73" fmla="*/ 3710559 w 8071103"/>
                <a:gd name="connsiteY73" fmla="*/ 783146 h 1359693"/>
                <a:gd name="connsiteX74" fmla="*/ 3710559 w 8071103"/>
                <a:gd name="connsiteY74" fmla="*/ 1074230 h 1359693"/>
                <a:gd name="connsiteX75" fmla="*/ 3402520 w 8071103"/>
                <a:gd name="connsiteY75" fmla="*/ 1359694 h 1359693"/>
                <a:gd name="connsiteX76" fmla="*/ 3094482 w 8071103"/>
                <a:gd name="connsiteY76" fmla="*/ 1074230 h 1359693"/>
                <a:gd name="connsiteX77" fmla="*/ 3849434 w 8071103"/>
                <a:gd name="connsiteY77" fmla="*/ 1074230 h 1359693"/>
                <a:gd name="connsiteX78" fmla="*/ 3849434 w 8071103"/>
                <a:gd name="connsiteY78" fmla="*/ 283559 h 1359693"/>
                <a:gd name="connsiteX79" fmla="*/ 4157472 w 8071103"/>
                <a:gd name="connsiteY79" fmla="*/ 0 h 1359693"/>
                <a:gd name="connsiteX80" fmla="*/ 4465511 w 8071103"/>
                <a:gd name="connsiteY80" fmla="*/ 283559 h 1359693"/>
                <a:gd name="connsiteX81" fmla="*/ 4465511 w 8071103"/>
                <a:gd name="connsiteY81" fmla="*/ 1074230 h 1359693"/>
                <a:gd name="connsiteX82" fmla="*/ 4157472 w 8071103"/>
                <a:gd name="connsiteY82" fmla="*/ 1359694 h 1359693"/>
                <a:gd name="connsiteX83" fmla="*/ 3849434 w 8071103"/>
                <a:gd name="connsiteY83" fmla="*/ 1074230 h 1359693"/>
                <a:gd name="connsiteX84" fmla="*/ 4228814 w 8071103"/>
                <a:gd name="connsiteY84" fmla="*/ 1074230 h 1359693"/>
                <a:gd name="connsiteX85" fmla="*/ 4228814 w 8071103"/>
                <a:gd name="connsiteY85" fmla="*/ 285464 h 1359693"/>
                <a:gd name="connsiteX86" fmla="*/ 4157472 w 8071103"/>
                <a:gd name="connsiteY86" fmla="*/ 215932 h 1359693"/>
                <a:gd name="connsiteX87" fmla="*/ 4086130 w 8071103"/>
                <a:gd name="connsiteY87" fmla="*/ 285464 h 1359693"/>
                <a:gd name="connsiteX88" fmla="*/ 4086130 w 8071103"/>
                <a:gd name="connsiteY88" fmla="*/ 1074230 h 1359693"/>
                <a:gd name="connsiteX89" fmla="*/ 4157472 w 8071103"/>
                <a:gd name="connsiteY89" fmla="*/ 1143667 h 1359693"/>
                <a:gd name="connsiteX90" fmla="*/ 4228814 w 8071103"/>
                <a:gd name="connsiteY90" fmla="*/ 1074230 h 1359693"/>
                <a:gd name="connsiteX91" fmla="*/ 4613720 w 8071103"/>
                <a:gd name="connsiteY91" fmla="*/ 22574 h 1359693"/>
                <a:gd name="connsiteX92" fmla="*/ 4886039 w 8071103"/>
                <a:gd name="connsiteY92" fmla="*/ 22574 h 1359693"/>
                <a:gd name="connsiteX93" fmla="*/ 5021294 w 8071103"/>
                <a:gd name="connsiteY93" fmla="*/ 646081 h 1359693"/>
                <a:gd name="connsiteX94" fmla="*/ 5040059 w 8071103"/>
                <a:gd name="connsiteY94" fmla="*/ 811340 h 1359693"/>
                <a:gd name="connsiteX95" fmla="*/ 5071967 w 8071103"/>
                <a:gd name="connsiteY95" fmla="*/ 811340 h 1359693"/>
                <a:gd name="connsiteX96" fmla="*/ 5051298 w 8071103"/>
                <a:gd name="connsiteY96" fmla="*/ 646081 h 1359693"/>
                <a:gd name="connsiteX97" fmla="*/ 5051298 w 8071103"/>
                <a:gd name="connsiteY97" fmla="*/ 22574 h 1359693"/>
                <a:gd name="connsiteX98" fmla="*/ 5287899 w 8071103"/>
                <a:gd name="connsiteY98" fmla="*/ 22574 h 1359693"/>
                <a:gd name="connsiteX99" fmla="*/ 5287899 w 8071103"/>
                <a:gd name="connsiteY99" fmla="*/ 1337215 h 1359693"/>
                <a:gd name="connsiteX100" fmla="*/ 5017485 w 8071103"/>
                <a:gd name="connsiteY100" fmla="*/ 1337215 h 1359693"/>
                <a:gd name="connsiteX101" fmla="*/ 4882230 w 8071103"/>
                <a:gd name="connsiteY101" fmla="*/ 713708 h 1359693"/>
                <a:gd name="connsiteX102" fmla="*/ 4861560 w 8071103"/>
                <a:gd name="connsiteY102" fmla="*/ 548450 h 1359693"/>
                <a:gd name="connsiteX103" fmla="*/ 4829651 w 8071103"/>
                <a:gd name="connsiteY103" fmla="*/ 548450 h 1359693"/>
                <a:gd name="connsiteX104" fmla="*/ 4850320 w 8071103"/>
                <a:gd name="connsiteY104" fmla="*/ 713708 h 1359693"/>
                <a:gd name="connsiteX105" fmla="*/ 4850320 w 8071103"/>
                <a:gd name="connsiteY105" fmla="*/ 1337215 h 1359693"/>
                <a:gd name="connsiteX106" fmla="*/ 4613720 w 8071103"/>
                <a:gd name="connsiteY106" fmla="*/ 1337215 h 1359693"/>
                <a:gd name="connsiteX107" fmla="*/ 4613720 w 8071103"/>
                <a:gd name="connsiteY107" fmla="*/ 22574 h 1359693"/>
                <a:gd name="connsiteX108" fmla="*/ 5443823 w 8071103"/>
                <a:gd name="connsiteY108" fmla="*/ 22574 h 1359693"/>
                <a:gd name="connsiteX109" fmla="*/ 5716143 w 8071103"/>
                <a:gd name="connsiteY109" fmla="*/ 22574 h 1359693"/>
                <a:gd name="connsiteX110" fmla="*/ 5851398 w 8071103"/>
                <a:gd name="connsiteY110" fmla="*/ 646081 h 1359693"/>
                <a:gd name="connsiteX111" fmla="*/ 5870162 w 8071103"/>
                <a:gd name="connsiteY111" fmla="*/ 811340 h 1359693"/>
                <a:gd name="connsiteX112" fmla="*/ 5902071 w 8071103"/>
                <a:gd name="connsiteY112" fmla="*/ 811340 h 1359693"/>
                <a:gd name="connsiteX113" fmla="*/ 5881402 w 8071103"/>
                <a:gd name="connsiteY113" fmla="*/ 646081 h 1359693"/>
                <a:gd name="connsiteX114" fmla="*/ 5881402 w 8071103"/>
                <a:gd name="connsiteY114" fmla="*/ 22574 h 1359693"/>
                <a:gd name="connsiteX115" fmla="*/ 6118003 w 8071103"/>
                <a:gd name="connsiteY115" fmla="*/ 22574 h 1359693"/>
                <a:gd name="connsiteX116" fmla="*/ 6118003 w 8071103"/>
                <a:gd name="connsiteY116" fmla="*/ 1337215 h 1359693"/>
                <a:gd name="connsiteX117" fmla="*/ 5847588 w 8071103"/>
                <a:gd name="connsiteY117" fmla="*/ 1337215 h 1359693"/>
                <a:gd name="connsiteX118" fmla="*/ 5712333 w 8071103"/>
                <a:gd name="connsiteY118" fmla="*/ 713708 h 1359693"/>
                <a:gd name="connsiteX119" fmla="*/ 5691664 w 8071103"/>
                <a:gd name="connsiteY119" fmla="*/ 548450 h 1359693"/>
                <a:gd name="connsiteX120" fmla="*/ 5659755 w 8071103"/>
                <a:gd name="connsiteY120" fmla="*/ 548450 h 1359693"/>
                <a:gd name="connsiteX121" fmla="*/ 5680424 w 8071103"/>
                <a:gd name="connsiteY121" fmla="*/ 713708 h 1359693"/>
                <a:gd name="connsiteX122" fmla="*/ 5680424 w 8071103"/>
                <a:gd name="connsiteY122" fmla="*/ 1337215 h 1359693"/>
                <a:gd name="connsiteX123" fmla="*/ 5443823 w 8071103"/>
                <a:gd name="connsiteY123" fmla="*/ 1337215 h 1359693"/>
                <a:gd name="connsiteX124" fmla="*/ 5443823 w 8071103"/>
                <a:gd name="connsiteY124" fmla="*/ 22574 h 1359693"/>
                <a:gd name="connsiteX125" fmla="*/ 6273832 w 8071103"/>
                <a:gd name="connsiteY125" fmla="*/ 22574 h 1359693"/>
                <a:gd name="connsiteX126" fmla="*/ 6720840 w 8071103"/>
                <a:gd name="connsiteY126" fmla="*/ 22574 h 1359693"/>
                <a:gd name="connsiteX127" fmla="*/ 6720840 w 8071103"/>
                <a:gd name="connsiteY127" fmla="*/ 238601 h 1359693"/>
                <a:gd name="connsiteX128" fmla="*/ 6510528 w 8071103"/>
                <a:gd name="connsiteY128" fmla="*/ 238601 h 1359693"/>
                <a:gd name="connsiteX129" fmla="*/ 6510528 w 8071103"/>
                <a:gd name="connsiteY129" fmla="*/ 565404 h 1359693"/>
                <a:gd name="connsiteX130" fmla="*/ 6700172 w 8071103"/>
                <a:gd name="connsiteY130" fmla="*/ 565404 h 1359693"/>
                <a:gd name="connsiteX131" fmla="*/ 6700172 w 8071103"/>
                <a:gd name="connsiteY131" fmla="*/ 775716 h 1359693"/>
                <a:gd name="connsiteX132" fmla="*/ 6510528 w 8071103"/>
                <a:gd name="connsiteY132" fmla="*/ 775716 h 1359693"/>
                <a:gd name="connsiteX133" fmla="*/ 6510528 w 8071103"/>
                <a:gd name="connsiteY133" fmla="*/ 1121283 h 1359693"/>
                <a:gd name="connsiteX134" fmla="*/ 6720840 w 8071103"/>
                <a:gd name="connsiteY134" fmla="*/ 1121283 h 1359693"/>
                <a:gd name="connsiteX135" fmla="*/ 6720840 w 8071103"/>
                <a:gd name="connsiteY135" fmla="*/ 1337215 h 1359693"/>
                <a:gd name="connsiteX136" fmla="*/ 6273832 w 8071103"/>
                <a:gd name="connsiteY136" fmla="*/ 1337215 h 1359693"/>
                <a:gd name="connsiteX137" fmla="*/ 6273832 w 8071103"/>
                <a:gd name="connsiteY137" fmla="*/ 22574 h 1359693"/>
                <a:gd name="connsiteX138" fmla="*/ 6846665 w 8071103"/>
                <a:gd name="connsiteY138" fmla="*/ 1074230 h 1359693"/>
                <a:gd name="connsiteX139" fmla="*/ 6846665 w 8071103"/>
                <a:gd name="connsiteY139" fmla="*/ 283559 h 1359693"/>
                <a:gd name="connsiteX140" fmla="*/ 7154704 w 8071103"/>
                <a:gd name="connsiteY140" fmla="*/ 0 h 1359693"/>
                <a:gd name="connsiteX141" fmla="*/ 7462742 w 8071103"/>
                <a:gd name="connsiteY141" fmla="*/ 283559 h 1359693"/>
                <a:gd name="connsiteX142" fmla="*/ 7462742 w 8071103"/>
                <a:gd name="connsiteY142" fmla="*/ 557784 h 1359693"/>
                <a:gd name="connsiteX143" fmla="*/ 7226142 w 8071103"/>
                <a:gd name="connsiteY143" fmla="*/ 557784 h 1359693"/>
                <a:gd name="connsiteX144" fmla="*/ 7226142 w 8071103"/>
                <a:gd name="connsiteY144" fmla="*/ 285464 h 1359693"/>
                <a:gd name="connsiteX145" fmla="*/ 7154800 w 8071103"/>
                <a:gd name="connsiteY145" fmla="*/ 215932 h 1359693"/>
                <a:gd name="connsiteX146" fmla="*/ 7083457 w 8071103"/>
                <a:gd name="connsiteY146" fmla="*/ 285464 h 1359693"/>
                <a:gd name="connsiteX147" fmla="*/ 7083457 w 8071103"/>
                <a:gd name="connsiteY147" fmla="*/ 1074230 h 1359693"/>
                <a:gd name="connsiteX148" fmla="*/ 7154800 w 8071103"/>
                <a:gd name="connsiteY148" fmla="*/ 1143667 h 1359693"/>
                <a:gd name="connsiteX149" fmla="*/ 7226142 w 8071103"/>
                <a:gd name="connsiteY149" fmla="*/ 1074230 h 1359693"/>
                <a:gd name="connsiteX150" fmla="*/ 7226142 w 8071103"/>
                <a:gd name="connsiteY150" fmla="*/ 783146 h 1359693"/>
                <a:gd name="connsiteX151" fmla="*/ 7462742 w 8071103"/>
                <a:gd name="connsiteY151" fmla="*/ 783146 h 1359693"/>
                <a:gd name="connsiteX152" fmla="*/ 7462742 w 8071103"/>
                <a:gd name="connsiteY152" fmla="*/ 1074230 h 1359693"/>
                <a:gd name="connsiteX153" fmla="*/ 7154704 w 8071103"/>
                <a:gd name="connsiteY153" fmla="*/ 1359694 h 1359693"/>
                <a:gd name="connsiteX154" fmla="*/ 6846665 w 8071103"/>
                <a:gd name="connsiteY154" fmla="*/ 1074230 h 1359693"/>
                <a:gd name="connsiteX155" fmla="*/ 7699248 w 8071103"/>
                <a:gd name="connsiteY155" fmla="*/ 238506 h 1359693"/>
                <a:gd name="connsiteX156" fmla="*/ 7563993 w 8071103"/>
                <a:gd name="connsiteY156" fmla="*/ 238506 h 1359693"/>
                <a:gd name="connsiteX157" fmla="*/ 7563993 w 8071103"/>
                <a:gd name="connsiteY157" fmla="*/ 22479 h 1359693"/>
                <a:gd name="connsiteX158" fmla="*/ 8071104 w 8071103"/>
                <a:gd name="connsiteY158" fmla="*/ 22479 h 1359693"/>
                <a:gd name="connsiteX159" fmla="*/ 8071104 w 8071103"/>
                <a:gd name="connsiteY159" fmla="*/ 238506 h 1359693"/>
                <a:gd name="connsiteX160" fmla="*/ 7935850 w 8071103"/>
                <a:gd name="connsiteY160" fmla="*/ 238506 h 1359693"/>
                <a:gd name="connsiteX161" fmla="*/ 7935850 w 8071103"/>
                <a:gd name="connsiteY161" fmla="*/ 1337120 h 1359693"/>
                <a:gd name="connsiteX162" fmla="*/ 7699248 w 8071103"/>
                <a:gd name="connsiteY162" fmla="*/ 1337120 h 1359693"/>
                <a:gd name="connsiteX163" fmla="*/ 7699248 w 8071103"/>
                <a:gd name="connsiteY163" fmla="*/ 238506 h 1359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8071103" h="1359693">
                  <a:moveTo>
                    <a:pt x="0" y="1074230"/>
                  </a:moveTo>
                  <a:lnTo>
                    <a:pt x="0" y="283559"/>
                  </a:lnTo>
                  <a:cubicBezTo>
                    <a:pt x="0" y="114490"/>
                    <a:pt x="123920" y="0"/>
                    <a:pt x="308038" y="0"/>
                  </a:cubicBezTo>
                  <a:cubicBezTo>
                    <a:pt x="492157" y="0"/>
                    <a:pt x="616077" y="114586"/>
                    <a:pt x="616077" y="283559"/>
                  </a:cubicBezTo>
                  <a:lnTo>
                    <a:pt x="616077" y="557784"/>
                  </a:lnTo>
                  <a:lnTo>
                    <a:pt x="379476" y="557784"/>
                  </a:lnTo>
                  <a:lnTo>
                    <a:pt x="379476" y="285464"/>
                  </a:lnTo>
                  <a:cubicBezTo>
                    <a:pt x="379476" y="242316"/>
                    <a:pt x="351282" y="215932"/>
                    <a:pt x="308134" y="215932"/>
                  </a:cubicBezTo>
                  <a:cubicBezTo>
                    <a:pt x="264986" y="215932"/>
                    <a:pt x="236791" y="242221"/>
                    <a:pt x="236791" y="285464"/>
                  </a:cubicBezTo>
                  <a:lnTo>
                    <a:pt x="236791" y="1074230"/>
                  </a:lnTo>
                  <a:cubicBezTo>
                    <a:pt x="236791" y="1117378"/>
                    <a:pt x="264986" y="1143667"/>
                    <a:pt x="308134" y="1143667"/>
                  </a:cubicBezTo>
                  <a:cubicBezTo>
                    <a:pt x="351282" y="1143667"/>
                    <a:pt x="379476" y="1117378"/>
                    <a:pt x="379476" y="1074230"/>
                  </a:cubicBezTo>
                  <a:lnTo>
                    <a:pt x="379476" y="783146"/>
                  </a:lnTo>
                  <a:lnTo>
                    <a:pt x="616077" y="783146"/>
                  </a:lnTo>
                  <a:lnTo>
                    <a:pt x="616077" y="1074230"/>
                  </a:lnTo>
                  <a:cubicBezTo>
                    <a:pt x="616077" y="1245108"/>
                    <a:pt x="492157" y="1359694"/>
                    <a:pt x="308038" y="1359694"/>
                  </a:cubicBezTo>
                  <a:cubicBezTo>
                    <a:pt x="123920" y="1359694"/>
                    <a:pt x="0" y="1245108"/>
                    <a:pt x="0" y="1074230"/>
                  </a:cubicBezTo>
                  <a:close/>
                  <a:moveTo>
                    <a:pt x="762476" y="22574"/>
                  </a:moveTo>
                  <a:lnTo>
                    <a:pt x="999077" y="22574"/>
                  </a:lnTo>
                  <a:lnTo>
                    <a:pt x="999077" y="1121283"/>
                  </a:lnTo>
                  <a:lnTo>
                    <a:pt x="1198150" y="1121283"/>
                  </a:lnTo>
                  <a:lnTo>
                    <a:pt x="1198150" y="1337215"/>
                  </a:lnTo>
                  <a:lnTo>
                    <a:pt x="762476" y="1337215"/>
                  </a:lnTo>
                  <a:lnTo>
                    <a:pt x="762476" y="22574"/>
                  </a:lnTo>
                  <a:close/>
                  <a:moveTo>
                    <a:pt x="1293971" y="1074230"/>
                  </a:moveTo>
                  <a:lnTo>
                    <a:pt x="1293971" y="22479"/>
                  </a:lnTo>
                  <a:lnTo>
                    <a:pt x="1530572" y="22479"/>
                  </a:lnTo>
                  <a:lnTo>
                    <a:pt x="1530572" y="1074230"/>
                  </a:lnTo>
                  <a:cubicBezTo>
                    <a:pt x="1530572" y="1117378"/>
                    <a:pt x="1558766" y="1143667"/>
                    <a:pt x="1600105" y="1143667"/>
                  </a:cubicBezTo>
                  <a:cubicBezTo>
                    <a:pt x="1641443" y="1143667"/>
                    <a:pt x="1671447" y="1117378"/>
                    <a:pt x="1671447" y="1074230"/>
                  </a:cubicBezTo>
                  <a:lnTo>
                    <a:pt x="1671447" y="22479"/>
                  </a:lnTo>
                  <a:lnTo>
                    <a:pt x="1908048" y="22479"/>
                  </a:lnTo>
                  <a:lnTo>
                    <a:pt x="1908048" y="1074230"/>
                  </a:lnTo>
                  <a:cubicBezTo>
                    <a:pt x="1908048" y="1245108"/>
                    <a:pt x="1784128" y="1359694"/>
                    <a:pt x="1600009" y="1359694"/>
                  </a:cubicBezTo>
                  <a:cubicBezTo>
                    <a:pt x="1415891" y="1359694"/>
                    <a:pt x="1293876" y="1245108"/>
                    <a:pt x="1293876" y="1074230"/>
                  </a:cubicBezTo>
                  <a:close/>
                  <a:moveTo>
                    <a:pt x="2060162" y="22574"/>
                  </a:moveTo>
                  <a:lnTo>
                    <a:pt x="2394490" y="22574"/>
                  </a:lnTo>
                  <a:cubicBezTo>
                    <a:pt x="2561654" y="22574"/>
                    <a:pt x="2674335" y="125921"/>
                    <a:pt x="2674335" y="279844"/>
                  </a:cubicBezTo>
                  <a:lnTo>
                    <a:pt x="2674335" y="458248"/>
                  </a:lnTo>
                  <a:cubicBezTo>
                    <a:pt x="2674335" y="537115"/>
                    <a:pt x="2638616" y="617887"/>
                    <a:pt x="2565369" y="651701"/>
                  </a:cubicBezTo>
                  <a:lnTo>
                    <a:pt x="2565369" y="662940"/>
                  </a:lnTo>
                  <a:cubicBezTo>
                    <a:pt x="2644235" y="696754"/>
                    <a:pt x="2685574" y="781240"/>
                    <a:pt x="2685574" y="865727"/>
                  </a:cubicBezTo>
                  <a:lnTo>
                    <a:pt x="2685574" y="1079849"/>
                  </a:lnTo>
                  <a:cubicBezTo>
                    <a:pt x="2685574" y="1233869"/>
                    <a:pt x="2574798" y="1337120"/>
                    <a:pt x="2405729" y="1337120"/>
                  </a:cubicBezTo>
                  <a:lnTo>
                    <a:pt x="2060162" y="1337120"/>
                  </a:lnTo>
                  <a:lnTo>
                    <a:pt x="2060162" y="22574"/>
                  </a:lnTo>
                  <a:close/>
                  <a:moveTo>
                    <a:pt x="2296763" y="238506"/>
                  </a:moveTo>
                  <a:lnTo>
                    <a:pt x="2296763" y="569024"/>
                  </a:lnTo>
                  <a:lnTo>
                    <a:pt x="2366296" y="569024"/>
                  </a:lnTo>
                  <a:cubicBezTo>
                    <a:pt x="2409444" y="569024"/>
                    <a:pt x="2437638" y="540830"/>
                    <a:pt x="2437638" y="497681"/>
                  </a:cubicBezTo>
                  <a:lnTo>
                    <a:pt x="2437638" y="307943"/>
                  </a:lnTo>
                  <a:cubicBezTo>
                    <a:pt x="2437638" y="264795"/>
                    <a:pt x="2409444" y="238506"/>
                    <a:pt x="2366296" y="238506"/>
                  </a:cubicBezTo>
                  <a:lnTo>
                    <a:pt x="2296763" y="238506"/>
                  </a:lnTo>
                  <a:close/>
                  <a:moveTo>
                    <a:pt x="2296763" y="770001"/>
                  </a:moveTo>
                  <a:lnTo>
                    <a:pt x="2296763" y="1121188"/>
                  </a:lnTo>
                  <a:lnTo>
                    <a:pt x="2379440" y="1121188"/>
                  </a:lnTo>
                  <a:cubicBezTo>
                    <a:pt x="2420779" y="1121188"/>
                    <a:pt x="2448973" y="1094899"/>
                    <a:pt x="2448973" y="1051655"/>
                  </a:cubicBezTo>
                  <a:lnTo>
                    <a:pt x="2448973" y="841343"/>
                  </a:lnTo>
                  <a:cubicBezTo>
                    <a:pt x="2448973" y="798195"/>
                    <a:pt x="2420779" y="770001"/>
                    <a:pt x="2379440" y="770001"/>
                  </a:cubicBezTo>
                  <a:lnTo>
                    <a:pt x="2296763" y="770001"/>
                  </a:lnTo>
                  <a:close/>
                  <a:moveTo>
                    <a:pt x="3094482" y="1074230"/>
                  </a:moveTo>
                  <a:lnTo>
                    <a:pt x="3094482" y="283559"/>
                  </a:lnTo>
                  <a:cubicBezTo>
                    <a:pt x="3094482" y="114490"/>
                    <a:pt x="3218403" y="0"/>
                    <a:pt x="3402520" y="0"/>
                  </a:cubicBezTo>
                  <a:cubicBezTo>
                    <a:pt x="3586639" y="0"/>
                    <a:pt x="3710559" y="114586"/>
                    <a:pt x="3710559" y="283559"/>
                  </a:cubicBezTo>
                  <a:lnTo>
                    <a:pt x="3710559" y="557784"/>
                  </a:lnTo>
                  <a:lnTo>
                    <a:pt x="3473958" y="557784"/>
                  </a:lnTo>
                  <a:lnTo>
                    <a:pt x="3473958" y="285464"/>
                  </a:lnTo>
                  <a:cubicBezTo>
                    <a:pt x="3473958" y="242316"/>
                    <a:pt x="3445764" y="215932"/>
                    <a:pt x="3402616" y="215932"/>
                  </a:cubicBezTo>
                  <a:cubicBezTo>
                    <a:pt x="3359468" y="215932"/>
                    <a:pt x="3331274" y="242221"/>
                    <a:pt x="3331274" y="285464"/>
                  </a:cubicBezTo>
                  <a:lnTo>
                    <a:pt x="3331274" y="1074230"/>
                  </a:lnTo>
                  <a:cubicBezTo>
                    <a:pt x="3331274" y="1117378"/>
                    <a:pt x="3359468" y="1143667"/>
                    <a:pt x="3402616" y="1143667"/>
                  </a:cubicBezTo>
                  <a:cubicBezTo>
                    <a:pt x="3445764" y="1143667"/>
                    <a:pt x="3473958" y="1117378"/>
                    <a:pt x="3473958" y="1074230"/>
                  </a:cubicBezTo>
                  <a:lnTo>
                    <a:pt x="3473958" y="783146"/>
                  </a:lnTo>
                  <a:lnTo>
                    <a:pt x="3710559" y="783146"/>
                  </a:lnTo>
                  <a:lnTo>
                    <a:pt x="3710559" y="1074230"/>
                  </a:lnTo>
                  <a:cubicBezTo>
                    <a:pt x="3710559" y="1245108"/>
                    <a:pt x="3586639" y="1359694"/>
                    <a:pt x="3402520" y="1359694"/>
                  </a:cubicBezTo>
                  <a:cubicBezTo>
                    <a:pt x="3218403" y="1359694"/>
                    <a:pt x="3094482" y="1245108"/>
                    <a:pt x="3094482" y="1074230"/>
                  </a:cubicBezTo>
                  <a:close/>
                  <a:moveTo>
                    <a:pt x="3849434" y="1074230"/>
                  </a:moveTo>
                  <a:lnTo>
                    <a:pt x="3849434" y="283559"/>
                  </a:lnTo>
                  <a:cubicBezTo>
                    <a:pt x="3849434" y="114490"/>
                    <a:pt x="3973354" y="0"/>
                    <a:pt x="4157472" y="0"/>
                  </a:cubicBezTo>
                  <a:cubicBezTo>
                    <a:pt x="4341590" y="0"/>
                    <a:pt x="4465511" y="114586"/>
                    <a:pt x="4465511" y="283559"/>
                  </a:cubicBezTo>
                  <a:lnTo>
                    <a:pt x="4465511" y="1074230"/>
                  </a:lnTo>
                  <a:cubicBezTo>
                    <a:pt x="4465511" y="1245108"/>
                    <a:pt x="4341590" y="1359694"/>
                    <a:pt x="4157472" y="1359694"/>
                  </a:cubicBezTo>
                  <a:cubicBezTo>
                    <a:pt x="3973354" y="1359694"/>
                    <a:pt x="3849434" y="1245108"/>
                    <a:pt x="3849434" y="1074230"/>
                  </a:cubicBezTo>
                  <a:close/>
                  <a:moveTo>
                    <a:pt x="4228814" y="1074230"/>
                  </a:moveTo>
                  <a:lnTo>
                    <a:pt x="4228814" y="285464"/>
                  </a:lnTo>
                  <a:cubicBezTo>
                    <a:pt x="4228814" y="242316"/>
                    <a:pt x="4200621" y="215932"/>
                    <a:pt x="4157472" y="215932"/>
                  </a:cubicBezTo>
                  <a:cubicBezTo>
                    <a:pt x="4114324" y="215932"/>
                    <a:pt x="4086130" y="242221"/>
                    <a:pt x="4086130" y="285464"/>
                  </a:cubicBezTo>
                  <a:lnTo>
                    <a:pt x="4086130" y="1074230"/>
                  </a:lnTo>
                  <a:cubicBezTo>
                    <a:pt x="4086130" y="1117378"/>
                    <a:pt x="4114324" y="1143667"/>
                    <a:pt x="4157472" y="1143667"/>
                  </a:cubicBezTo>
                  <a:cubicBezTo>
                    <a:pt x="4200621" y="1143667"/>
                    <a:pt x="4228814" y="1117378"/>
                    <a:pt x="4228814" y="1074230"/>
                  </a:cubicBezTo>
                  <a:close/>
                  <a:moveTo>
                    <a:pt x="4613720" y="22574"/>
                  </a:moveTo>
                  <a:lnTo>
                    <a:pt x="4886039" y="22574"/>
                  </a:lnTo>
                  <a:lnTo>
                    <a:pt x="5021294" y="646081"/>
                  </a:lnTo>
                  <a:lnTo>
                    <a:pt x="5040059" y="811340"/>
                  </a:lnTo>
                  <a:lnTo>
                    <a:pt x="5071967" y="811340"/>
                  </a:lnTo>
                  <a:lnTo>
                    <a:pt x="5051298" y="646081"/>
                  </a:lnTo>
                  <a:lnTo>
                    <a:pt x="5051298" y="22574"/>
                  </a:lnTo>
                  <a:lnTo>
                    <a:pt x="5287899" y="22574"/>
                  </a:lnTo>
                  <a:lnTo>
                    <a:pt x="5287899" y="1337215"/>
                  </a:lnTo>
                  <a:lnTo>
                    <a:pt x="5017485" y="1337215"/>
                  </a:lnTo>
                  <a:lnTo>
                    <a:pt x="4882230" y="713708"/>
                  </a:lnTo>
                  <a:lnTo>
                    <a:pt x="4861560" y="548450"/>
                  </a:lnTo>
                  <a:lnTo>
                    <a:pt x="4829651" y="548450"/>
                  </a:lnTo>
                  <a:lnTo>
                    <a:pt x="4850320" y="713708"/>
                  </a:lnTo>
                  <a:lnTo>
                    <a:pt x="4850320" y="1337215"/>
                  </a:lnTo>
                  <a:lnTo>
                    <a:pt x="4613720" y="1337215"/>
                  </a:lnTo>
                  <a:lnTo>
                    <a:pt x="4613720" y="22574"/>
                  </a:lnTo>
                  <a:close/>
                  <a:moveTo>
                    <a:pt x="5443823" y="22574"/>
                  </a:moveTo>
                  <a:lnTo>
                    <a:pt x="5716143" y="22574"/>
                  </a:lnTo>
                  <a:lnTo>
                    <a:pt x="5851398" y="646081"/>
                  </a:lnTo>
                  <a:lnTo>
                    <a:pt x="5870162" y="811340"/>
                  </a:lnTo>
                  <a:lnTo>
                    <a:pt x="5902071" y="811340"/>
                  </a:lnTo>
                  <a:lnTo>
                    <a:pt x="5881402" y="646081"/>
                  </a:lnTo>
                  <a:lnTo>
                    <a:pt x="5881402" y="22574"/>
                  </a:lnTo>
                  <a:lnTo>
                    <a:pt x="6118003" y="22574"/>
                  </a:lnTo>
                  <a:lnTo>
                    <a:pt x="6118003" y="1337215"/>
                  </a:lnTo>
                  <a:lnTo>
                    <a:pt x="5847588" y="1337215"/>
                  </a:lnTo>
                  <a:lnTo>
                    <a:pt x="5712333" y="713708"/>
                  </a:lnTo>
                  <a:lnTo>
                    <a:pt x="5691664" y="548450"/>
                  </a:lnTo>
                  <a:lnTo>
                    <a:pt x="5659755" y="548450"/>
                  </a:lnTo>
                  <a:lnTo>
                    <a:pt x="5680424" y="713708"/>
                  </a:lnTo>
                  <a:lnTo>
                    <a:pt x="5680424" y="1337215"/>
                  </a:lnTo>
                  <a:lnTo>
                    <a:pt x="5443823" y="1337215"/>
                  </a:lnTo>
                  <a:lnTo>
                    <a:pt x="5443823" y="22574"/>
                  </a:lnTo>
                  <a:close/>
                  <a:moveTo>
                    <a:pt x="6273832" y="22574"/>
                  </a:moveTo>
                  <a:lnTo>
                    <a:pt x="6720840" y="22574"/>
                  </a:lnTo>
                  <a:lnTo>
                    <a:pt x="6720840" y="238601"/>
                  </a:lnTo>
                  <a:lnTo>
                    <a:pt x="6510528" y="238601"/>
                  </a:lnTo>
                  <a:lnTo>
                    <a:pt x="6510528" y="565404"/>
                  </a:lnTo>
                  <a:lnTo>
                    <a:pt x="6700172" y="565404"/>
                  </a:lnTo>
                  <a:lnTo>
                    <a:pt x="6700172" y="775716"/>
                  </a:lnTo>
                  <a:lnTo>
                    <a:pt x="6510528" y="775716"/>
                  </a:lnTo>
                  <a:lnTo>
                    <a:pt x="6510528" y="1121283"/>
                  </a:lnTo>
                  <a:lnTo>
                    <a:pt x="6720840" y="1121283"/>
                  </a:lnTo>
                  <a:lnTo>
                    <a:pt x="6720840" y="1337215"/>
                  </a:lnTo>
                  <a:lnTo>
                    <a:pt x="6273832" y="1337215"/>
                  </a:lnTo>
                  <a:lnTo>
                    <a:pt x="6273832" y="22574"/>
                  </a:lnTo>
                  <a:close/>
                  <a:moveTo>
                    <a:pt x="6846665" y="1074230"/>
                  </a:moveTo>
                  <a:lnTo>
                    <a:pt x="6846665" y="283559"/>
                  </a:lnTo>
                  <a:cubicBezTo>
                    <a:pt x="6846665" y="114490"/>
                    <a:pt x="6970585" y="0"/>
                    <a:pt x="7154704" y="0"/>
                  </a:cubicBezTo>
                  <a:cubicBezTo>
                    <a:pt x="7338822" y="0"/>
                    <a:pt x="7462742" y="114586"/>
                    <a:pt x="7462742" y="283559"/>
                  </a:cubicBezTo>
                  <a:lnTo>
                    <a:pt x="7462742" y="557784"/>
                  </a:lnTo>
                  <a:lnTo>
                    <a:pt x="7226142" y="557784"/>
                  </a:lnTo>
                  <a:lnTo>
                    <a:pt x="7226142" y="285464"/>
                  </a:lnTo>
                  <a:cubicBezTo>
                    <a:pt x="7226142" y="242316"/>
                    <a:pt x="7197947" y="215932"/>
                    <a:pt x="7154800" y="215932"/>
                  </a:cubicBezTo>
                  <a:cubicBezTo>
                    <a:pt x="7111651" y="215932"/>
                    <a:pt x="7083457" y="242221"/>
                    <a:pt x="7083457" y="285464"/>
                  </a:cubicBezTo>
                  <a:lnTo>
                    <a:pt x="7083457" y="1074230"/>
                  </a:lnTo>
                  <a:cubicBezTo>
                    <a:pt x="7083457" y="1117378"/>
                    <a:pt x="7111651" y="1143667"/>
                    <a:pt x="7154800" y="1143667"/>
                  </a:cubicBezTo>
                  <a:cubicBezTo>
                    <a:pt x="7197947" y="1143667"/>
                    <a:pt x="7226142" y="1117378"/>
                    <a:pt x="7226142" y="1074230"/>
                  </a:cubicBezTo>
                  <a:lnTo>
                    <a:pt x="7226142" y="783146"/>
                  </a:lnTo>
                  <a:lnTo>
                    <a:pt x="7462742" y="783146"/>
                  </a:lnTo>
                  <a:lnTo>
                    <a:pt x="7462742" y="1074230"/>
                  </a:lnTo>
                  <a:cubicBezTo>
                    <a:pt x="7462742" y="1245108"/>
                    <a:pt x="7338822" y="1359694"/>
                    <a:pt x="7154704" y="1359694"/>
                  </a:cubicBezTo>
                  <a:cubicBezTo>
                    <a:pt x="6970585" y="1359694"/>
                    <a:pt x="6846665" y="1245108"/>
                    <a:pt x="6846665" y="1074230"/>
                  </a:cubicBezTo>
                  <a:close/>
                  <a:moveTo>
                    <a:pt x="7699248" y="238506"/>
                  </a:moveTo>
                  <a:lnTo>
                    <a:pt x="7563993" y="238506"/>
                  </a:lnTo>
                  <a:lnTo>
                    <a:pt x="7563993" y="22479"/>
                  </a:lnTo>
                  <a:lnTo>
                    <a:pt x="8071104" y="22479"/>
                  </a:lnTo>
                  <a:lnTo>
                    <a:pt x="8071104" y="238506"/>
                  </a:lnTo>
                  <a:lnTo>
                    <a:pt x="7935850" y="238506"/>
                  </a:lnTo>
                  <a:lnTo>
                    <a:pt x="7935850" y="1337120"/>
                  </a:lnTo>
                  <a:lnTo>
                    <a:pt x="7699248" y="1337120"/>
                  </a:lnTo>
                  <a:lnTo>
                    <a:pt x="7699248" y="238506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99943450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5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3AF6B49-52EF-1005-9C10-D753235561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FD24D87-228C-DBAC-ACEC-85BFA43372D5}"/>
              </a:ext>
            </a:extLst>
          </p:cNvPr>
          <p:cNvSpPr/>
          <p:nvPr userDrawn="1"/>
        </p:nvSpPr>
        <p:spPr>
          <a:xfrm>
            <a:off x="0" y="0"/>
            <a:ext cx="9104243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73000">
                <a:schemeClr val="accent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C2B404-9FBA-1E87-C027-2BB6C644C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110772"/>
            <a:ext cx="6276616" cy="1673731"/>
          </a:xfrm>
        </p:spPr>
        <p:txBody>
          <a:bodyPr anchor="b"/>
          <a:lstStyle>
            <a:lvl1pPr>
              <a:defRPr sz="5000">
                <a:solidFill>
                  <a:schemeClr val="accent2"/>
                </a:solidFill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8598D-4FA6-4246-6447-7B759D632FD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811492"/>
            <a:ext cx="6276616" cy="34727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optional 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B53587-0701-2BC6-CC8A-7319C380CA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849" y="6327552"/>
            <a:ext cx="6868450" cy="347270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optional date</a:t>
            </a:r>
            <a:endParaRPr lang="en-GB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1FCA1F3-62B5-C71B-D135-73E9DB172764}"/>
              </a:ext>
            </a:extLst>
          </p:cNvPr>
          <p:cNvGrpSpPr/>
          <p:nvPr userDrawn="1"/>
        </p:nvGrpSpPr>
        <p:grpSpPr>
          <a:xfrm>
            <a:off x="831850" y="1085024"/>
            <a:ext cx="3353494" cy="825804"/>
            <a:chOff x="13749337" y="746575"/>
            <a:chExt cx="11277504" cy="2777109"/>
          </a:xfrm>
          <a:solidFill>
            <a:schemeClr val="accent1"/>
          </a:solidFill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5D74723-591C-61E8-9A17-EE9A50999B0E}"/>
                </a:ext>
              </a:extLst>
            </p:cNvPr>
            <p:cNvSpPr/>
            <p:nvPr/>
          </p:nvSpPr>
          <p:spPr>
            <a:xfrm>
              <a:off x="13749337" y="746575"/>
              <a:ext cx="5114450" cy="2777109"/>
            </a:xfrm>
            <a:custGeom>
              <a:avLst/>
              <a:gdLst>
                <a:gd name="connsiteX0" fmla="*/ 5080826 w 5114450"/>
                <a:gd name="connsiteY0" fmla="*/ 664559 h 2777109"/>
                <a:gd name="connsiteX1" fmla="*/ 5114450 w 5114450"/>
                <a:gd name="connsiteY1" fmla="*/ 952786 h 2777109"/>
                <a:gd name="connsiteX2" fmla="*/ 4924234 w 5114450"/>
                <a:gd name="connsiteY2" fmla="*/ 952786 h 2777109"/>
                <a:gd name="connsiteX3" fmla="*/ 4911662 w 5114450"/>
                <a:gd name="connsiteY3" fmla="*/ 812292 h 2777109"/>
                <a:gd name="connsiteX4" fmla="*/ 4562570 w 5114450"/>
                <a:gd name="connsiteY4" fmla="*/ 812292 h 2777109"/>
                <a:gd name="connsiteX5" fmla="*/ 4196906 w 5114450"/>
                <a:gd name="connsiteY5" fmla="*/ 972026 h 2777109"/>
                <a:gd name="connsiteX6" fmla="*/ 4047362 w 5114450"/>
                <a:gd name="connsiteY6" fmla="*/ 952786 h 2777109"/>
                <a:gd name="connsiteX7" fmla="*/ 5080826 w 5114450"/>
                <a:gd name="connsiteY7" fmla="*/ 664559 h 2777109"/>
                <a:gd name="connsiteX8" fmla="*/ 4833462 w 5114450"/>
                <a:gd name="connsiteY8" fmla="*/ 250221 h 2777109"/>
                <a:gd name="connsiteX9" fmla="*/ 5031866 w 5114450"/>
                <a:gd name="connsiteY9" fmla="*/ 250221 h 2777109"/>
                <a:gd name="connsiteX10" fmla="*/ 5076634 w 5114450"/>
                <a:gd name="connsiteY10" fmla="*/ 629697 h 2777109"/>
                <a:gd name="connsiteX11" fmla="*/ 4896516 w 5114450"/>
                <a:gd name="connsiteY11" fmla="*/ 650176 h 2777109"/>
                <a:gd name="connsiteX12" fmla="*/ 4876418 w 5114450"/>
                <a:gd name="connsiteY12" fmla="*/ 423767 h 2777109"/>
                <a:gd name="connsiteX13" fmla="*/ 4658010 w 5114450"/>
                <a:gd name="connsiteY13" fmla="*/ 693610 h 2777109"/>
                <a:gd name="connsiteX14" fmla="*/ 4657914 w 5114450"/>
                <a:gd name="connsiteY14" fmla="*/ 693610 h 2777109"/>
                <a:gd name="connsiteX15" fmla="*/ 4412456 w 5114450"/>
                <a:gd name="connsiteY15" fmla="*/ 758856 h 2777109"/>
                <a:gd name="connsiteX16" fmla="*/ 4833462 w 5114450"/>
                <a:gd name="connsiteY16" fmla="*/ 250221 h 2777109"/>
                <a:gd name="connsiteX17" fmla="*/ 4326922 w 5114450"/>
                <a:gd name="connsiteY17" fmla="*/ 232600 h 2777109"/>
                <a:gd name="connsiteX18" fmla="*/ 4614670 w 5114450"/>
                <a:gd name="connsiteY18" fmla="*/ 329279 h 2777109"/>
                <a:gd name="connsiteX19" fmla="*/ 4508658 w 5114450"/>
                <a:gd name="connsiteY19" fmla="*/ 460438 h 2777109"/>
                <a:gd name="connsiteX20" fmla="*/ 4508658 w 5114450"/>
                <a:gd name="connsiteY20" fmla="*/ 460533 h 2777109"/>
                <a:gd name="connsiteX21" fmla="*/ 4299298 w 5114450"/>
                <a:gd name="connsiteY21" fmla="*/ 376999 h 2777109"/>
                <a:gd name="connsiteX22" fmla="*/ 4010024 w 5114450"/>
                <a:gd name="connsiteY22" fmla="*/ 619887 h 2777109"/>
                <a:gd name="connsiteX23" fmla="*/ 4113466 w 5114450"/>
                <a:gd name="connsiteY23" fmla="*/ 811911 h 2777109"/>
                <a:gd name="connsiteX24" fmla="*/ 4215670 w 5114450"/>
                <a:gd name="connsiteY24" fmla="*/ 826484 h 2777109"/>
                <a:gd name="connsiteX25" fmla="*/ 3928300 w 5114450"/>
                <a:gd name="connsiteY25" fmla="*/ 952881 h 2777109"/>
                <a:gd name="connsiteX26" fmla="*/ 3206400 w 5114450"/>
                <a:gd name="connsiteY26" fmla="*/ 952881 h 2777109"/>
                <a:gd name="connsiteX27" fmla="*/ 3454336 w 5114450"/>
                <a:gd name="connsiteY27" fmla="*/ 250317 h 2777109"/>
                <a:gd name="connsiteX28" fmla="*/ 3987164 w 5114450"/>
                <a:gd name="connsiteY28" fmla="*/ 250317 h 2777109"/>
                <a:gd name="connsiteX29" fmla="*/ 3871626 w 5114450"/>
                <a:gd name="connsiteY29" fmla="*/ 390810 h 2777109"/>
                <a:gd name="connsiteX30" fmla="*/ 3587590 w 5114450"/>
                <a:gd name="connsiteY30" fmla="*/ 390810 h 2777109"/>
                <a:gd name="connsiteX31" fmla="*/ 3544156 w 5114450"/>
                <a:gd name="connsiteY31" fmla="*/ 513683 h 2777109"/>
                <a:gd name="connsiteX32" fmla="*/ 3770470 w 5114450"/>
                <a:gd name="connsiteY32" fmla="*/ 513683 h 2777109"/>
                <a:gd name="connsiteX33" fmla="*/ 3655122 w 5114450"/>
                <a:gd name="connsiteY33" fmla="*/ 653796 h 2777109"/>
                <a:gd name="connsiteX34" fmla="*/ 3494722 w 5114450"/>
                <a:gd name="connsiteY34" fmla="*/ 653796 h 2777109"/>
                <a:gd name="connsiteX35" fmla="*/ 3438810 w 5114450"/>
                <a:gd name="connsiteY35" fmla="*/ 812101 h 2777109"/>
                <a:gd name="connsiteX36" fmla="*/ 3873530 w 5114450"/>
                <a:gd name="connsiteY36" fmla="*/ 812101 h 2777109"/>
                <a:gd name="connsiteX37" fmla="*/ 3829430 w 5114450"/>
                <a:gd name="connsiteY37" fmla="*/ 629793 h 2777109"/>
                <a:gd name="connsiteX38" fmla="*/ 4326922 w 5114450"/>
                <a:gd name="connsiteY38" fmla="*/ 232600 h 2777109"/>
                <a:gd name="connsiteX39" fmla="*/ 1567529 w 5114450"/>
                <a:gd name="connsiteY39" fmla="*/ 0 h 2777109"/>
                <a:gd name="connsiteX40" fmla="*/ 2797397 w 5114450"/>
                <a:gd name="connsiteY40" fmla="*/ 1388555 h 2777109"/>
                <a:gd name="connsiteX41" fmla="*/ 1567529 w 5114450"/>
                <a:gd name="connsiteY41" fmla="*/ 2777109 h 2777109"/>
                <a:gd name="connsiteX42" fmla="*/ 1567529 w 5114450"/>
                <a:gd name="connsiteY42" fmla="*/ 2003965 h 2777109"/>
                <a:gd name="connsiteX43" fmla="*/ 2036921 w 5114450"/>
                <a:gd name="connsiteY43" fmla="*/ 1388555 h 2777109"/>
                <a:gd name="connsiteX44" fmla="*/ 1567529 w 5114450"/>
                <a:gd name="connsiteY44" fmla="*/ 773144 h 2777109"/>
                <a:gd name="connsiteX45" fmla="*/ 1229868 w 5114450"/>
                <a:gd name="connsiteY45" fmla="*/ 0 h 2777109"/>
                <a:gd name="connsiteX46" fmla="*/ 1229868 w 5114450"/>
                <a:gd name="connsiteY46" fmla="*/ 773144 h 2777109"/>
                <a:gd name="connsiteX47" fmla="*/ 760476 w 5114450"/>
                <a:gd name="connsiteY47" fmla="*/ 1388555 h 2777109"/>
                <a:gd name="connsiteX48" fmla="*/ 1229868 w 5114450"/>
                <a:gd name="connsiteY48" fmla="*/ 2003965 h 2777109"/>
                <a:gd name="connsiteX49" fmla="*/ 1229868 w 5114450"/>
                <a:gd name="connsiteY49" fmla="*/ 2777109 h 2777109"/>
                <a:gd name="connsiteX50" fmla="*/ 0 w 5114450"/>
                <a:gd name="connsiteY50" fmla="*/ 1388555 h 2777109"/>
                <a:gd name="connsiteX51" fmla="*/ 1229868 w 5114450"/>
                <a:gd name="connsiteY51" fmla="*/ 0 h 2777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114450" h="2777109">
                  <a:moveTo>
                    <a:pt x="5080826" y="664559"/>
                  </a:moveTo>
                  <a:lnTo>
                    <a:pt x="5114450" y="952786"/>
                  </a:lnTo>
                  <a:lnTo>
                    <a:pt x="4924234" y="952786"/>
                  </a:lnTo>
                  <a:cubicBezTo>
                    <a:pt x="4924234" y="952786"/>
                    <a:pt x="4911662" y="812292"/>
                    <a:pt x="4911662" y="812292"/>
                  </a:cubicBezTo>
                  <a:lnTo>
                    <a:pt x="4562570" y="812292"/>
                  </a:lnTo>
                  <a:cubicBezTo>
                    <a:pt x="4448746" y="938022"/>
                    <a:pt x="4354162" y="972026"/>
                    <a:pt x="4196906" y="972026"/>
                  </a:cubicBezTo>
                  <a:cubicBezTo>
                    <a:pt x="4140136" y="972026"/>
                    <a:pt x="4086892" y="965549"/>
                    <a:pt x="4047362" y="952786"/>
                  </a:cubicBezTo>
                  <a:cubicBezTo>
                    <a:pt x="4047362" y="952786"/>
                    <a:pt x="4500562" y="719233"/>
                    <a:pt x="5080826" y="664559"/>
                  </a:cubicBezTo>
                  <a:close/>
                  <a:moveTo>
                    <a:pt x="4833462" y="250221"/>
                  </a:moveTo>
                  <a:lnTo>
                    <a:pt x="5031866" y="250221"/>
                  </a:lnTo>
                  <a:lnTo>
                    <a:pt x="5076634" y="629697"/>
                  </a:lnTo>
                  <a:cubicBezTo>
                    <a:pt x="5016626" y="636079"/>
                    <a:pt x="4955094" y="641127"/>
                    <a:pt x="4896516" y="650176"/>
                  </a:cubicBezTo>
                  <a:lnTo>
                    <a:pt x="4876418" y="423767"/>
                  </a:lnTo>
                  <a:lnTo>
                    <a:pt x="4658010" y="693610"/>
                  </a:lnTo>
                  <a:lnTo>
                    <a:pt x="4657914" y="693610"/>
                  </a:lnTo>
                  <a:cubicBezTo>
                    <a:pt x="4574094" y="712470"/>
                    <a:pt x="4492274" y="734282"/>
                    <a:pt x="4412456" y="758856"/>
                  </a:cubicBezTo>
                  <a:cubicBezTo>
                    <a:pt x="4412456" y="758856"/>
                    <a:pt x="4833462" y="250221"/>
                    <a:pt x="4833462" y="250221"/>
                  </a:cubicBezTo>
                  <a:close/>
                  <a:moveTo>
                    <a:pt x="4326922" y="232600"/>
                  </a:moveTo>
                  <a:cubicBezTo>
                    <a:pt x="4449222" y="232600"/>
                    <a:pt x="4548090" y="269271"/>
                    <a:pt x="4614670" y="329279"/>
                  </a:cubicBezTo>
                  <a:lnTo>
                    <a:pt x="4508658" y="460438"/>
                  </a:lnTo>
                  <a:lnTo>
                    <a:pt x="4508658" y="460533"/>
                  </a:lnTo>
                  <a:cubicBezTo>
                    <a:pt x="4467130" y="414051"/>
                    <a:pt x="4383498" y="376999"/>
                    <a:pt x="4299298" y="376999"/>
                  </a:cubicBezTo>
                  <a:cubicBezTo>
                    <a:pt x="4128706" y="376999"/>
                    <a:pt x="4021930" y="498538"/>
                    <a:pt x="4010024" y="619887"/>
                  </a:cubicBezTo>
                  <a:cubicBezTo>
                    <a:pt x="3999928" y="723042"/>
                    <a:pt x="4035838" y="785241"/>
                    <a:pt x="4113466" y="811911"/>
                  </a:cubicBezTo>
                  <a:cubicBezTo>
                    <a:pt x="4156518" y="822769"/>
                    <a:pt x="4180902" y="825246"/>
                    <a:pt x="4215670" y="826484"/>
                  </a:cubicBezTo>
                  <a:cubicBezTo>
                    <a:pt x="4030408" y="898017"/>
                    <a:pt x="3928300" y="952881"/>
                    <a:pt x="3928300" y="952881"/>
                  </a:cubicBezTo>
                  <a:lnTo>
                    <a:pt x="3206400" y="952881"/>
                  </a:lnTo>
                  <a:cubicBezTo>
                    <a:pt x="3206400" y="952881"/>
                    <a:pt x="3454336" y="250317"/>
                    <a:pt x="3454336" y="250317"/>
                  </a:cubicBezTo>
                  <a:lnTo>
                    <a:pt x="3987164" y="250317"/>
                  </a:lnTo>
                  <a:cubicBezTo>
                    <a:pt x="3987164" y="250317"/>
                    <a:pt x="3871626" y="390810"/>
                    <a:pt x="3871626" y="390810"/>
                  </a:cubicBezTo>
                  <a:lnTo>
                    <a:pt x="3587590" y="390810"/>
                  </a:lnTo>
                  <a:cubicBezTo>
                    <a:pt x="3587590" y="390810"/>
                    <a:pt x="3544156" y="513683"/>
                    <a:pt x="3544156" y="513683"/>
                  </a:cubicBezTo>
                  <a:lnTo>
                    <a:pt x="3770470" y="513683"/>
                  </a:lnTo>
                  <a:cubicBezTo>
                    <a:pt x="3770470" y="513683"/>
                    <a:pt x="3655122" y="653796"/>
                    <a:pt x="3655122" y="653796"/>
                  </a:cubicBezTo>
                  <a:lnTo>
                    <a:pt x="3494722" y="653796"/>
                  </a:lnTo>
                  <a:cubicBezTo>
                    <a:pt x="3494722" y="653796"/>
                    <a:pt x="3438810" y="812101"/>
                    <a:pt x="3438810" y="812101"/>
                  </a:cubicBezTo>
                  <a:lnTo>
                    <a:pt x="3873530" y="812101"/>
                  </a:lnTo>
                  <a:cubicBezTo>
                    <a:pt x="3837336" y="752284"/>
                    <a:pt x="3826192" y="691610"/>
                    <a:pt x="3829430" y="629793"/>
                  </a:cubicBezTo>
                  <a:cubicBezTo>
                    <a:pt x="3840290" y="425481"/>
                    <a:pt x="4007454" y="232600"/>
                    <a:pt x="4326922" y="232600"/>
                  </a:cubicBezTo>
                  <a:close/>
                  <a:moveTo>
                    <a:pt x="1567529" y="0"/>
                  </a:moveTo>
                  <a:cubicBezTo>
                    <a:pt x="2260473" y="83344"/>
                    <a:pt x="2797397" y="673227"/>
                    <a:pt x="2797397" y="1388555"/>
                  </a:cubicBezTo>
                  <a:cubicBezTo>
                    <a:pt x="2797397" y="2103882"/>
                    <a:pt x="2260378" y="2693765"/>
                    <a:pt x="1567529" y="2777109"/>
                  </a:cubicBezTo>
                  <a:lnTo>
                    <a:pt x="1567529" y="2003965"/>
                  </a:lnTo>
                  <a:cubicBezTo>
                    <a:pt x="1837754" y="1929765"/>
                    <a:pt x="2036921" y="1682020"/>
                    <a:pt x="2036921" y="1388555"/>
                  </a:cubicBezTo>
                  <a:cubicBezTo>
                    <a:pt x="2036921" y="1095089"/>
                    <a:pt x="1837754" y="847344"/>
                    <a:pt x="1567529" y="773144"/>
                  </a:cubicBezTo>
                  <a:close/>
                  <a:moveTo>
                    <a:pt x="1229868" y="0"/>
                  </a:moveTo>
                  <a:lnTo>
                    <a:pt x="1229868" y="773144"/>
                  </a:lnTo>
                  <a:cubicBezTo>
                    <a:pt x="959644" y="847344"/>
                    <a:pt x="760476" y="1095089"/>
                    <a:pt x="760476" y="1388555"/>
                  </a:cubicBezTo>
                  <a:cubicBezTo>
                    <a:pt x="760476" y="1682020"/>
                    <a:pt x="959644" y="1929765"/>
                    <a:pt x="1229868" y="2003965"/>
                  </a:cubicBezTo>
                  <a:lnTo>
                    <a:pt x="1229868" y="2777109"/>
                  </a:lnTo>
                  <a:cubicBezTo>
                    <a:pt x="537020" y="2693765"/>
                    <a:pt x="0" y="2103882"/>
                    <a:pt x="0" y="1388555"/>
                  </a:cubicBezTo>
                  <a:cubicBezTo>
                    <a:pt x="0" y="673227"/>
                    <a:pt x="537020" y="83344"/>
                    <a:pt x="1229868" y="0"/>
                  </a:cubicBezTo>
                  <a:close/>
                </a:path>
              </a:pathLst>
            </a:custGeom>
            <a:solidFill>
              <a:schemeClr val="accent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F748AF8-4448-81DE-F0BA-A520C2A36C79}"/>
                </a:ext>
              </a:extLst>
            </p:cNvPr>
            <p:cNvSpPr/>
            <p:nvPr/>
          </p:nvSpPr>
          <p:spPr>
            <a:xfrm>
              <a:off x="16955738" y="1931294"/>
              <a:ext cx="8071103" cy="1359693"/>
            </a:xfrm>
            <a:custGeom>
              <a:avLst/>
              <a:gdLst>
                <a:gd name="connsiteX0" fmla="*/ 0 w 8071103"/>
                <a:gd name="connsiteY0" fmla="*/ 1074230 h 1359693"/>
                <a:gd name="connsiteX1" fmla="*/ 0 w 8071103"/>
                <a:gd name="connsiteY1" fmla="*/ 283559 h 1359693"/>
                <a:gd name="connsiteX2" fmla="*/ 308038 w 8071103"/>
                <a:gd name="connsiteY2" fmla="*/ 0 h 1359693"/>
                <a:gd name="connsiteX3" fmla="*/ 616077 w 8071103"/>
                <a:gd name="connsiteY3" fmla="*/ 283559 h 1359693"/>
                <a:gd name="connsiteX4" fmla="*/ 616077 w 8071103"/>
                <a:gd name="connsiteY4" fmla="*/ 557784 h 1359693"/>
                <a:gd name="connsiteX5" fmla="*/ 379476 w 8071103"/>
                <a:gd name="connsiteY5" fmla="*/ 557784 h 1359693"/>
                <a:gd name="connsiteX6" fmla="*/ 379476 w 8071103"/>
                <a:gd name="connsiteY6" fmla="*/ 285464 h 1359693"/>
                <a:gd name="connsiteX7" fmla="*/ 308134 w 8071103"/>
                <a:gd name="connsiteY7" fmla="*/ 215932 h 1359693"/>
                <a:gd name="connsiteX8" fmla="*/ 236791 w 8071103"/>
                <a:gd name="connsiteY8" fmla="*/ 285464 h 1359693"/>
                <a:gd name="connsiteX9" fmla="*/ 236791 w 8071103"/>
                <a:gd name="connsiteY9" fmla="*/ 1074230 h 1359693"/>
                <a:gd name="connsiteX10" fmla="*/ 308134 w 8071103"/>
                <a:gd name="connsiteY10" fmla="*/ 1143667 h 1359693"/>
                <a:gd name="connsiteX11" fmla="*/ 379476 w 8071103"/>
                <a:gd name="connsiteY11" fmla="*/ 1074230 h 1359693"/>
                <a:gd name="connsiteX12" fmla="*/ 379476 w 8071103"/>
                <a:gd name="connsiteY12" fmla="*/ 783146 h 1359693"/>
                <a:gd name="connsiteX13" fmla="*/ 616077 w 8071103"/>
                <a:gd name="connsiteY13" fmla="*/ 783146 h 1359693"/>
                <a:gd name="connsiteX14" fmla="*/ 616077 w 8071103"/>
                <a:gd name="connsiteY14" fmla="*/ 1074230 h 1359693"/>
                <a:gd name="connsiteX15" fmla="*/ 308038 w 8071103"/>
                <a:gd name="connsiteY15" fmla="*/ 1359694 h 1359693"/>
                <a:gd name="connsiteX16" fmla="*/ 0 w 8071103"/>
                <a:gd name="connsiteY16" fmla="*/ 1074230 h 1359693"/>
                <a:gd name="connsiteX17" fmla="*/ 762476 w 8071103"/>
                <a:gd name="connsiteY17" fmla="*/ 22574 h 1359693"/>
                <a:gd name="connsiteX18" fmla="*/ 999077 w 8071103"/>
                <a:gd name="connsiteY18" fmla="*/ 22574 h 1359693"/>
                <a:gd name="connsiteX19" fmla="*/ 999077 w 8071103"/>
                <a:gd name="connsiteY19" fmla="*/ 1121283 h 1359693"/>
                <a:gd name="connsiteX20" fmla="*/ 1198150 w 8071103"/>
                <a:gd name="connsiteY20" fmla="*/ 1121283 h 1359693"/>
                <a:gd name="connsiteX21" fmla="*/ 1198150 w 8071103"/>
                <a:gd name="connsiteY21" fmla="*/ 1337215 h 1359693"/>
                <a:gd name="connsiteX22" fmla="*/ 762476 w 8071103"/>
                <a:gd name="connsiteY22" fmla="*/ 1337215 h 1359693"/>
                <a:gd name="connsiteX23" fmla="*/ 762476 w 8071103"/>
                <a:gd name="connsiteY23" fmla="*/ 22574 h 1359693"/>
                <a:gd name="connsiteX24" fmla="*/ 1293971 w 8071103"/>
                <a:gd name="connsiteY24" fmla="*/ 1074230 h 1359693"/>
                <a:gd name="connsiteX25" fmla="*/ 1293971 w 8071103"/>
                <a:gd name="connsiteY25" fmla="*/ 22479 h 1359693"/>
                <a:gd name="connsiteX26" fmla="*/ 1530572 w 8071103"/>
                <a:gd name="connsiteY26" fmla="*/ 22479 h 1359693"/>
                <a:gd name="connsiteX27" fmla="*/ 1530572 w 8071103"/>
                <a:gd name="connsiteY27" fmla="*/ 1074230 h 1359693"/>
                <a:gd name="connsiteX28" fmla="*/ 1600105 w 8071103"/>
                <a:gd name="connsiteY28" fmla="*/ 1143667 h 1359693"/>
                <a:gd name="connsiteX29" fmla="*/ 1671447 w 8071103"/>
                <a:gd name="connsiteY29" fmla="*/ 1074230 h 1359693"/>
                <a:gd name="connsiteX30" fmla="*/ 1671447 w 8071103"/>
                <a:gd name="connsiteY30" fmla="*/ 22479 h 1359693"/>
                <a:gd name="connsiteX31" fmla="*/ 1908048 w 8071103"/>
                <a:gd name="connsiteY31" fmla="*/ 22479 h 1359693"/>
                <a:gd name="connsiteX32" fmla="*/ 1908048 w 8071103"/>
                <a:gd name="connsiteY32" fmla="*/ 1074230 h 1359693"/>
                <a:gd name="connsiteX33" fmla="*/ 1600009 w 8071103"/>
                <a:gd name="connsiteY33" fmla="*/ 1359694 h 1359693"/>
                <a:gd name="connsiteX34" fmla="*/ 1293876 w 8071103"/>
                <a:gd name="connsiteY34" fmla="*/ 1074230 h 1359693"/>
                <a:gd name="connsiteX35" fmla="*/ 2060162 w 8071103"/>
                <a:gd name="connsiteY35" fmla="*/ 22574 h 1359693"/>
                <a:gd name="connsiteX36" fmla="*/ 2394490 w 8071103"/>
                <a:gd name="connsiteY36" fmla="*/ 22574 h 1359693"/>
                <a:gd name="connsiteX37" fmla="*/ 2674335 w 8071103"/>
                <a:gd name="connsiteY37" fmla="*/ 279844 h 1359693"/>
                <a:gd name="connsiteX38" fmla="*/ 2674335 w 8071103"/>
                <a:gd name="connsiteY38" fmla="*/ 458248 h 1359693"/>
                <a:gd name="connsiteX39" fmla="*/ 2565369 w 8071103"/>
                <a:gd name="connsiteY39" fmla="*/ 651701 h 1359693"/>
                <a:gd name="connsiteX40" fmla="*/ 2565369 w 8071103"/>
                <a:gd name="connsiteY40" fmla="*/ 662940 h 1359693"/>
                <a:gd name="connsiteX41" fmla="*/ 2685574 w 8071103"/>
                <a:gd name="connsiteY41" fmla="*/ 865727 h 1359693"/>
                <a:gd name="connsiteX42" fmla="*/ 2685574 w 8071103"/>
                <a:gd name="connsiteY42" fmla="*/ 1079849 h 1359693"/>
                <a:gd name="connsiteX43" fmla="*/ 2405729 w 8071103"/>
                <a:gd name="connsiteY43" fmla="*/ 1337120 h 1359693"/>
                <a:gd name="connsiteX44" fmla="*/ 2060162 w 8071103"/>
                <a:gd name="connsiteY44" fmla="*/ 1337120 h 1359693"/>
                <a:gd name="connsiteX45" fmla="*/ 2060162 w 8071103"/>
                <a:gd name="connsiteY45" fmla="*/ 22574 h 1359693"/>
                <a:gd name="connsiteX46" fmla="*/ 2296763 w 8071103"/>
                <a:gd name="connsiteY46" fmla="*/ 238506 h 1359693"/>
                <a:gd name="connsiteX47" fmla="*/ 2296763 w 8071103"/>
                <a:gd name="connsiteY47" fmla="*/ 569024 h 1359693"/>
                <a:gd name="connsiteX48" fmla="*/ 2366296 w 8071103"/>
                <a:gd name="connsiteY48" fmla="*/ 569024 h 1359693"/>
                <a:gd name="connsiteX49" fmla="*/ 2437638 w 8071103"/>
                <a:gd name="connsiteY49" fmla="*/ 497681 h 1359693"/>
                <a:gd name="connsiteX50" fmla="*/ 2437638 w 8071103"/>
                <a:gd name="connsiteY50" fmla="*/ 307943 h 1359693"/>
                <a:gd name="connsiteX51" fmla="*/ 2366296 w 8071103"/>
                <a:gd name="connsiteY51" fmla="*/ 238506 h 1359693"/>
                <a:gd name="connsiteX52" fmla="*/ 2296763 w 8071103"/>
                <a:gd name="connsiteY52" fmla="*/ 238506 h 1359693"/>
                <a:gd name="connsiteX53" fmla="*/ 2296763 w 8071103"/>
                <a:gd name="connsiteY53" fmla="*/ 770001 h 1359693"/>
                <a:gd name="connsiteX54" fmla="*/ 2296763 w 8071103"/>
                <a:gd name="connsiteY54" fmla="*/ 1121188 h 1359693"/>
                <a:gd name="connsiteX55" fmla="*/ 2379440 w 8071103"/>
                <a:gd name="connsiteY55" fmla="*/ 1121188 h 1359693"/>
                <a:gd name="connsiteX56" fmla="*/ 2448973 w 8071103"/>
                <a:gd name="connsiteY56" fmla="*/ 1051655 h 1359693"/>
                <a:gd name="connsiteX57" fmla="*/ 2448973 w 8071103"/>
                <a:gd name="connsiteY57" fmla="*/ 841343 h 1359693"/>
                <a:gd name="connsiteX58" fmla="*/ 2379440 w 8071103"/>
                <a:gd name="connsiteY58" fmla="*/ 770001 h 1359693"/>
                <a:gd name="connsiteX59" fmla="*/ 2296763 w 8071103"/>
                <a:gd name="connsiteY59" fmla="*/ 770001 h 1359693"/>
                <a:gd name="connsiteX60" fmla="*/ 3094482 w 8071103"/>
                <a:gd name="connsiteY60" fmla="*/ 1074230 h 1359693"/>
                <a:gd name="connsiteX61" fmla="*/ 3094482 w 8071103"/>
                <a:gd name="connsiteY61" fmla="*/ 283559 h 1359693"/>
                <a:gd name="connsiteX62" fmla="*/ 3402520 w 8071103"/>
                <a:gd name="connsiteY62" fmla="*/ 0 h 1359693"/>
                <a:gd name="connsiteX63" fmla="*/ 3710559 w 8071103"/>
                <a:gd name="connsiteY63" fmla="*/ 283559 h 1359693"/>
                <a:gd name="connsiteX64" fmla="*/ 3710559 w 8071103"/>
                <a:gd name="connsiteY64" fmla="*/ 557784 h 1359693"/>
                <a:gd name="connsiteX65" fmla="*/ 3473958 w 8071103"/>
                <a:gd name="connsiteY65" fmla="*/ 557784 h 1359693"/>
                <a:gd name="connsiteX66" fmla="*/ 3473958 w 8071103"/>
                <a:gd name="connsiteY66" fmla="*/ 285464 h 1359693"/>
                <a:gd name="connsiteX67" fmla="*/ 3402616 w 8071103"/>
                <a:gd name="connsiteY67" fmla="*/ 215932 h 1359693"/>
                <a:gd name="connsiteX68" fmla="*/ 3331274 w 8071103"/>
                <a:gd name="connsiteY68" fmla="*/ 285464 h 1359693"/>
                <a:gd name="connsiteX69" fmla="*/ 3331274 w 8071103"/>
                <a:gd name="connsiteY69" fmla="*/ 1074230 h 1359693"/>
                <a:gd name="connsiteX70" fmla="*/ 3402616 w 8071103"/>
                <a:gd name="connsiteY70" fmla="*/ 1143667 h 1359693"/>
                <a:gd name="connsiteX71" fmla="*/ 3473958 w 8071103"/>
                <a:gd name="connsiteY71" fmla="*/ 1074230 h 1359693"/>
                <a:gd name="connsiteX72" fmla="*/ 3473958 w 8071103"/>
                <a:gd name="connsiteY72" fmla="*/ 783146 h 1359693"/>
                <a:gd name="connsiteX73" fmla="*/ 3710559 w 8071103"/>
                <a:gd name="connsiteY73" fmla="*/ 783146 h 1359693"/>
                <a:gd name="connsiteX74" fmla="*/ 3710559 w 8071103"/>
                <a:gd name="connsiteY74" fmla="*/ 1074230 h 1359693"/>
                <a:gd name="connsiteX75" fmla="*/ 3402520 w 8071103"/>
                <a:gd name="connsiteY75" fmla="*/ 1359694 h 1359693"/>
                <a:gd name="connsiteX76" fmla="*/ 3094482 w 8071103"/>
                <a:gd name="connsiteY76" fmla="*/ 1074230 h 1359693"/>
                <a:gd name="connsiteX77" fmla="*/ 3849434 w 8071103"/>
                <a:gd name="connsiteY77" fmla="*/ 1074230 h 1359693"/>
                <a:gd name="connsiteX78" fmla="*/ 3849434 w 8071103"/>
                <a:gd name="connsiteY78" fmla="*/ 283559 h 1359693"/>
                <a:gd name="connsiteX79" fmla="*/ 4157472 w 8071103"/>
                <a:gd name="connsiteY79" fmla="*/ 0 h 1359693"/>
                <a:gd name="connsiteX80" fmla="*/ 4465511 w 8071103"/>
                <a:gd name="connsiteY80" fmla="*/ 283559 h 1359693"/>
                <a:gd name="connsiteX81" fmla="*/ 4465511 w 8071103"/>
                <a:gd name="connsiteY81" fmla="*/ 1074230 h 1359693"/>
                <a:gd name="connsiteX82" fmla="*/ 4157472 w 8071103"/>
                <a:gd name="connsiteY82" fmla="*/ 1359694 h 1359693"/>
                <a:gd name="connsiteX83" fmla="*/ 3849434 w 8071103"/>
                <a:gd name="connsiteY83" fmla="*/ 1074230 h 1359693"/>
                <a:gd name="connsiteX84" fmla="*/ 4228814 w 8071103"/>
                <a:gd name="connsiteY84" fmla="*/ 1074230 h 1359693"/>
                <a:gd name="connsiteX85" fmla="*/ 4228814 w 8071103"/>
                <a:gd name="connsiteY85" fmla="*/ 285464 h 1359693"/>
                <a:gd name="connsiteX86" fmla="*/ 4157472 w 8071103"/>
                <a:gd name="connsiteY86" fmla="*/ 215932 h 1359693"/>
                <a:gd name="connsiteX87" fmla="*/ 4086130 w 8071103"/>
                <a:gd name="connsiteY87" fmla="*/ 285464 h 1359693"/>
                <a:gd name="connsiteX88" fmla="*/ 4086130 w 8071103"/>
                <a:gd name="connsiteY88" fmla="*/ 1074230 h 1359693"/>
                <a:gd name="connsiteX89" fmla="*/ 4157472 w 8071103"/>
                <a:gd name="connsiteY89" fmla="*/ 1143667 h 1359693"/>
                <a:gd name="connsiteX90" fmla="*/ 4228814 w 8071103"/>
                <a:gd name="connsiteY90" fmla="*/ 1074230 h 1359693"/>
                <a:gd name="connsiteX91" fmla="*/ 4613720 w 8071103"/>
                <a:gd name="connsiteY91" fmla="*/ 22574 h 1359693"/>
                <a:gd name="connsiteX92" fmla="*/ 4886039 w 8071103"/>
                <a:gd name="connsiteY92" fmla="*/ 22574 h 1359693"/>
                <a:gd name="connsiteX93" fmla="*/ 5021294 w 8071103"/>
                <a:gd name="connsiteY93" fmla="*/ 646081 h 1359693"/>
                <a:gd name="connsiteX94" fmla="*/ 5040059 w 8071103"/>
                <a:gd name="connsiteY94" fmla="*/ 811340 h 1359693"/>
                <a:gd name="connsiteX95" fmla="*/ 5071967 w 8071103"/>
                <a:gd name="connsiteY95" fmla="*/ 811340 h 1359693"/>
                <a:gd name="connsiteX96" fmla="*/ 5051298 w 8071103"/>
                <a:gd name="connsiteY96" fmla="*/ 646081 h 1359693"/>
                <a:gd name="connsiteX97" fmla="*/ 5051298 w 8071103"/>
                <a:gd name="connsiteY97" fmla="*/ 22574 h 1359693"/>
                <a:gd name="connsiteX98" fmla="*/ 5287899 w 8071103"/>
                <a:gd name="connsiteY98" fmla="*/ 22574 h 1359693"/>
                <a:gd name="connsiteX99" fmla="*/ 5287899 w 8071103"/>
                <a:gd name="connsiteY99" fmla="*/ 1337215 h 1359693"/>
                <a:gd name="connsiteX100" fmla="*/ 5017485 w 8071103"/>
                <a:gd name="connsiteY100" fmla="*/ 1337215 h 1359693"/>
                <a:gd name="connsiteX101" fmla="*/ 4882230 w 8071103"/>
                <a:gd name="connsiteY101" fmla="*/ 713708 h 1359693"/>
                <a:gd name="connsiteX102" fmla="*/ 4861560 w 8071103"/>
                <a:gd name="connsiteY102" fmla="*/ 548450 h 1359693"/>
                <a:gd name="connsiteX103" fmla="*/ 4829651 w 8071103"/>
                <a:gd name="connsiteY103" fmla="*/ 548450 h 1359693"/>
                <a:gd name="connsiteX104" fmla="*/ 4850320 w 8071103"/>
                <a:gd name="connsiteY104" fmla="*/ 713708 h 1359693"/>
                <a:gd name="connsiteX105" fmla="*/ 4850320 w 8071103"/>
                <a:gd name="connsiteY105" fmla="*/ 1337215 h 1359693"/>
                <a:gd name="connsiteX106" fmla="*/ 4613720 w 8071103"/>
                <a:gd name="connsiteY106" fmla="*/ 1337215 h 1359693"/>
                <a:gd name="connsiteX107" fmla="*/ 4613720 w 8071103"/>
                <a:gd name="connsiteY107" fmla="*/ 22574 h 1359693"/>
                <a:gd name="connsiteX108" fmla="*/ 5443823 w 8071103"/>
                <a:gd name="connsiteY108" fmla="*/ 22574 h 1359693"/>
                <a:gd name="connsiteX109" fmla="*/ 5716143 w 8071103"/>
                <a:gd name="connsiteY109" fmla="*/ 22574 h 1359693"/>
                <a:gd name="connsiteX110" fmla="*/ 5851398 w 8071103"/>
                <a:gd name="connsiteY110" fmla="*/ 646081 h 1359693"/>
                <a:gd name="connsiteX111" fmla="*/ 5870162 w 8071103"/>
                <a:gd name="connsiteY111" fmla="*/ 811340 h 1359693"/>
                <a:gd name="connsiteX112" fmla="*/ 5902071 w 8071103"/>
                <a:gd name="connsiteY112" fmla="*/ 811340 h 1359693"/>
                <a:gd name="connsiteX113" fmla="*/ 5881402 w 8071103"/>
                <a:gd name="connsiteY113" fmla="*/ 646081 h 1359693"/>
                <a:gd name="connsiteX114" fmla="*/ 5881402 w 8071103"/>
                <a:gd name="connsiteY114" fmla="*/ 22574 h 1359693"/>
                <a:gd name="connsiteX115" fmla="*/ 6118003 w 8071103"/>
                <a:gd name="connsiteY115" fmla="*/ 22574 h 1359693"/>
                <a:gd name="connsiteX116" fmla="*/ 6118003 w 8071103"/>
                <a:gd name="connsiteY116" fmla="*/ 1337215 h 1359693"/>
                <a:gd name="connsiteX117" fmla="*/ 5847588 w 8071103"/>
                <a:gd name="connsiteY117" fmla="*/ 1337215 h 1359693"/>
                <a:gd name="connsiteX118" fmla="*/ 5712333 w 8071103"/>
                <a:gd name="connsiteY118" fmla="*/ 713708 h 1359693"/>
                <a:gd name="connsiteX119" fmla="*/ 5691664 w 8071103"/>
                <a:gd name="connsiteY119" fmla="*/ 548450 h 1359693"/>
                <a:gd name="connsiteX120" fmla="*/ 5659755 w 8071103"/>
                <a:gd name="connsiteY120" fmla="*/ 548450 h 1359693"/>
                <a:gd name="connsiteX121" fmla="*/ 5680424 w 8071103"/>
                <a:gd name="connsiteY121" fmla="*/ 713708 h 1359693"/>
                <a:gd name="connsiteX122" fmla="*/ 5680424 w 8071103"/>
                <a:gd name="connsiteY122" fmla="*/ 1337215 h 1359693"/>
                <a:gd name="connsiteX123" fmla="*/ 5443823 w 8071103"/>
                <a:gd name="connsiteY123" fmla="*/ 1337215 h 1359693"/>
                <a:gd name="connsiteX124" fmla="*/ 5443823 w 8071103"/>
                <a:gd name="connsiteY124" fmla="*/ 22574 h 1359693"/>
                <a:gd name="connsiteX125" fmla="*/ 6273832 w 8071103"/>
                <a:gd name="connsiteY125" fmla="*/ 22574 h 1359693"/>
                <a:gd name="connsiteX126" fmla="*/ 6720840 w 8071103"/>
                <a:gd name="connsiteY126" fmla="*/ 22574 h 1359693"/>
                <a:gd name="connsiteX127" fmla="*/ 6720840 w 8071103"/>
                <a:gd name="connsiteY127" fmla="*/ 238601 h 1359693"/>
                <a:gd name="connsiteX128" fmla="*/ 6510528 w 8071103"/>
                <a:gd name="connsiteY128" fmla="*/ 238601 h 1359693"/>
                <a:gd name="connsiteX129" fmla="*/ 6510528 w 8071103"/>
                <a:gd name="connsiteY129" fmla="*/ 565404 h 1359693"/>
                <a:gd name="connsiteX130" fmla="*/ 6700172 w 8071103"/>
                <a:gd name="connsiteY130" fmla="*/ 565404 h 1359693"/>
                <a:gd name="connsiteX131" fmla="*/ 6700172 w 8071103"/>
                <a:gd name="connsiteY131" fmla="*/ 775716 h 1359693"/>
                <a:gd name="connsiteX132" fmla="*/ 6510528 w 8071103"/>
                <a:gd name="connsiteY132" fmla="*/ 775716 h 1359693"/>
                <a:gd name="connsiteX133" fmla="*/ 6510528 w 8071103"/>
                <a:gd name="connsiteY133" fmla="*/ 1121283 h 1359693"/>
                <a:gd name="connsiteX134" fmla="*/ 6720840 w 8071103"/>
                <a:gd name="connsiteY134" fmla="*/ 1121283 h 1359693"/>
                <a:gd name="connsiteX135" fmla="*/ 6720840 w 8071103"/>
                <a:gd name="connsiteY135" fmla="*/ 1337215 h 1359693"/>
                <a:gd name="connsiteX136" fmla="*/ 6273832 w 8071103"/>
                <a:gd name="connsiteY136" fmla="*/ 1337215 h 1359693"/>
                <a:gd name="connsiteX137" fmla="*/ 6273832 w 8071103"/>
                <a:gd name="connsiteY137" fmla="*/ 22574 h 1359693"/>
                <a:gd name="connsiteX138" fmla="*/ 6846665 w 8071103"/>
                <a:gd name="connsiteY138" fmla="*/ 1074230 h 1359693"/>
                <a:gd name="connsiteX139" fmla="*/ 6846665 w 8071103"/>
                <a:gd name="connsiteY139" fmla="*/ 283559 h 1359693"/>
                <a:gd name="connsiteX140" fmla="*/ 7154704 w 8071103"/>
                <a:gd name="connsiteY140" fmla="*/ 0 h 1359693"/>
                <a:gd name="connsiteX141" fmla="*/ 7462742 w 8071103"/>
                <a:gd name="connsiteY141" fmla="*/ 283559 h 1359693"/>
                <a:gd name="connsiteX142" fmla="*/ 7462742 w 8071103"/>
                <a:gd name="connsiteY142" fmla="*/ 557784 h 1359693"/>
                <a:gd name="connsiteX143" fmla="*/ 7226142 w 8071103"/>
                <a:gd name="connsiteY143" fmla="*/ 557784 h 1359693"/>
                <a:gd name="connsiteX144" fmla="*/ 7226142 w 8071103"/>
                <a:gd name="connsiteY144" fmla="*/ 285464 h 1359693"/>
                <a:gd name="connsiteX145" fmla="*/ 7154800 w 8071103"/>
                <a:gd name="connsiteY145" fmla="*/ 215932 h 1359693"/>
                <a:gd name="connsiteX146" fmla="*/ 7083457 w 8071103"/>
                <a:gd name="connsiteY146" fmla="*/ 285464 h 1359693"/>
                <a:gd name="connsiteX147" fmla="*/ 7083457 w 8071103"/>
                <a:gd name="connsiteY147" fmla="*/ 1074230 h 1359693"/>
                <a:gd name="connsiteX148" fmla="*/ 7154800 w 8071103"/>
                <a:gd name="connsiteY148" fmla="*/ 1143667 h 1359693"/>
                <a:gd name="connsiteX149" fmla="*/ 7226142 w 8071103"/>
                <a:gd name="connsiteY149" fmla="*/ 1074230 h 1359693"/>
                <a:gd name="connsiteX150" fmla="*/ 7226142 w 8071103"/>
                <a:gd name="connsiteY150" fmla="*/ 783146 h 1359693"/>
                <a:gd name="connsiteX151" fmla="*/ 7462742 w 8071103"/>
                <a:gd name="connsiteY151" fmla="*/ 783146 h 1359693"/>
                <a:gd name="connsiteX152" fmla="*/ 7462742 w 8071103"/>
                <a:gd name="connsiteY152" fmla="*/ 1074230 h 1359693"/>
                <a:gd name="connsiteX153" fmla="*/ 7154704 w 8071103"/>
                <a:gd name="connsiteY153" fmla="*/ 1359694 h 1359693"/>
                <a:gd name="connsiteX154" fmla="*/ 6846665 w 8071103"/>
                <a:gd name="connsiteY154" fmla="*/ 1074230 h 1359693"/>
                <a:gd name="connsiteX155" fmla="*/ 7699248 w 8071103"/>
                <a:gd name="connsiteY155" fmla="*/ 238506 h 1359693"/>
                <a:gd name="connsiteX156" fmla="*/ 7563993 w 8071103"/>
                <a:gd name="connsiteY156" fmla="*/ 238506 h 1359693"/>
                <a:gd name="connsiteX157" fmla="*/ 7563993 w 8071103"/>
                <a:gd name="connsiteY157" fmla="*/ 22479 h 1359693"/>
                <a:gd name="connsiteX158" fmla="*/ 8071104 w 8071103"/>
                <a:gd name="connsiteY158" fmla="*/ 22479 h 1359693"/>
                <a:gd name="connsiteX159" fmla="*/ 8071104 w 8071103"/>
                <a:gd name="connsiteY159" fmla="*/ 238506 h 1359693"/>
                <a:gd name="connsiteX160" fmla="*/ 7935850 w 8071103"/>
                <a:gd name="connsiteY160" fmla="*/ 238506 h 1359693"/>
                <a:gd name="connsiteX161" fmla="*/ 7935850 w 8071103"/>
                <a:gd name="connsiteY161" fmla="*/ 1337120 h 1359693"/>
                <a:gd name="connsiteX162" fmla="*/ 7699248 w 8071103"/>
                <a:gd name="connsiteY162" fmla="*/ 1337120 h 1359693"/>
                <a:gd name="connsiteX163" fmla="*/ 7699248 w 8071103"/>
                <a:gd name="connsiteY163" fmla="*/ 238506 h 1359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8071103" h="1359693">
                  <a:moveTo>
                    <a:pt x="0" y="1074230"/>
                  </a:moveTo>
                  <a:lnTo>
                    <a:pt x="0" y="283559"/>
                  </a:lnTo>
                  <a:cubicBezTo>
                    <a:pt x="0" y="114490"/>
                    <a:pt x="123920" y="0"/>
                    <a:pt x="308038" y="0"/>
                  </a:cubicBezTo>
                  <a:cubicBezTo>
                    <a:pt x="492157" y="0"/>
                    <a:pt x="616077" y="114586"/>
                    <a:pt x="616077" y="283559"/>
                  </a:cubicBezTo>
                  <a:lnTo>
                    <a:pt x="616077" y="557784"/>
                  </a:lnTo>
                  <a:lnTo>
                    <a:pt x="379476" y="557784"/>
                  </a:lnTo>
                  <a:lnTo>
                    <a:pt x="379476" y="285464"/>
                  </a:lnTo>
                  <a:cubicBezTo>
                    <a:pt x="379476" y="242316"/>
                    <a:pt x="351282" y="215932"/>
                    <a:pt x="308134" y="215932"/>
                  </a:cubicBezTo>
                  <a:cubicBezTo>
                    <a:pt x="264986" y="215932"/>
                    <a:pt x="236791" y="242221"/>
                    <a:pt x="236791" y="285464"/>
                  </a:cubicBezTo>
                  <a:lnTo>
                    <a:pt x="236791" y="1074230"/>
                  </a:lnTo>
                  <a:cubicBezTo>
                    <a:pt x="236791" y="1117378"/>
                    <a:pt x="264986" y="1143667"/>
                    <a:pt x="308134" y="1143667"/>
                  </a:cubicBezTo>
                  <a:cubicBezTo>
                    <a:pt x="351282" y="1143667"/>
                    <a:pt x="379476" y="1117378"/>
                    <a:pt x="379476" y="1074230"/>
                  </a:cubicBezTo>
                  <a:lnTo>
                    <a:pt x="379476" y="783146"/>
                  </a:lnTo>
                  <a:lnTo>
                    <a:pt x="616077" y="783146"/>
                  </a:lnTo>
                  <a:lnTo>
                    <a:pt x="616077" y="1074230"/>
                  </a:lnTo>
                  <a:cubicBezTo>
                    <a:pt x="616077" y="1245108"/>
                    <a:pt x="492157" y="1359694"/>
                    <a:pt x="308038" y="1359694"/>
                  </a:cubicBezTo>
                  <a:cubicBezTo>
                    <a:pt x="123920" y="1359694"/>
                    <a:pt x="0" y="1245108"/>
                    <a:pt x="0" y="1074230"/>
                  </a:cubicBezTo>
                  <a:close/>
                  <a:moveTo>
                    <a:pt x="762476" y="22574"/>
                  </a:moveTo>
                  <a:lnTo>
                    <a:pt x="999077" y="22574"/>
                  </a:lnTo>
                  <a:lnTo>
                    <a:pt x="999077" y="1121283"/>
                  </a:lnTo>
                  <a:lnTo>
                    <a:pt x="1198150" y="1121283"/>
                  </a:lnTo>
                  <a:lnTo>
                    <a:pt x="1198150" y="1337215"/>
                  </a:lnTo>
                  <a:lnTo>
                    <a:pt x="762476" y="1337215"/>
                  </a:lnTo>
                  <a:lnTo>
                    <a:pt x="762476" y="22574"/>
                  </a:lnTo>
                  <a:close/>
                  <a:moveTo>
                    <a:pt x="1293971" y="1074230"/>
                  </a:moveTo>
                  <a:lnTo>
                    <a:pt x="1293971" y="22479"/>
                  </a:lnTo>
                  <a:lnTo>
                    <a:pt x="1530572" y="22479"/>
                  </a:lnTo>
                  <a:lnTo>
                    <a:pt x="1530572" y="1074230"/>
                  </a:lnTo>
                  <a:cubicBezTo>
                    <a:pt x="1530572" y="1117378"/>
                    <a:pt x="1558766" y="1143667"/>
                    <a:pt x="1600105" y="1143667"/>
                  </a:cubicBezTo>
                  <a:cubicBezTo>
                    <a:pt x="1641443" y="1143667"/>
                    <a:pt x="1671447" y="1117378"/>
                    <a:pt x="1671447" y="1074230"/>
                  </a:cubicBezTo>
                  <a:lnTo>
                    <a:pt x="1671447" y="22479"/>
                  </a:lnTo>
                  <a:lnTo>
                    <a:pt x="1908048" y="22479"/>
                  </a:lnTo>
                  <a:lnTo>
                    <a:pt x="1908048" y="1074230"/>
                  </a:lnTo>
                  <a:cubicBezTo>
                    <a:pt x="1908048" y="1245108"/>
                    <a:pt x="1784128" y="1359694"/>
                    <a:pt x="1600009" y="1359694"/>
                  </a:cubicBezTo>
                  <a:cubicBezTo>
                    <a:pt x="1415891" y="1359694"/>
                    <a:pt x="1293876" y="1245108"/>
                    <a:pt x="1293876" y="1074230"/>
                  </a:cubicBezTo>
                  <a:close/>
                  <a:moveTo>
                    <a:pt x="2060162" y="22574"/>
                  </a:moveTo>
                  <a:lnTo>
                    <a:pt x="2394490" y="22574"/>
                  </a:lnTo>
                  <a:cubicBezTo>
                    <a:pt x="2561654" y="22574"/>
                    <a:pt x="2674335" y="125921"/>
                    <a:pt x="2674335" y="279844"/>
                  </a:cubicBezTo>
                  <a:lnTo>
                    <a:pt x="2674335" y="458248"/>
                  </a:lnTo>
                  <a:cubicBezTo>
                    <a:pt x="2674335" y="537115"/>
                    <a:pt x="2638616" y="617887"/>
                    <a:pt x="2565369" y="651701"/>
                  </a:cubicBezTo>
                  <a:lnTo>
                    <a:pt x="2565369" y="662940"/>
                  </a:lnTo>
                  <a:cubicBezTo>
                    <a:pt x="2644235" y="696754"/>
                    <a:pt x="2685574" y="781240"/>
                    <a:pt x="2685574" y="865727"/>
                  </a:cubicBezTo>
                  <a:lnTo>
                    <a:pt x="2685574" y="1079849"/>
                  </a:lnTo>
                  <a:cubicBezTo>
                    <a:pt x="2685574" y="1233869"/>
                    <a:pt x="2574798" y="1337120"/>
                    <a:pt x="2405729" y="1337120"/>
                  </a:cubicBezTo>
                  <a:lnTo>
                    <a:pt x="2060162" y="1337120"/>
                  </a:lnTo>
                  <a:lnTo>
                    <a:pt x="2060162" y="22574"/>
                  </a:lnTo>
                  <a:close/>
                  <a:moveTo>
                    <a:pt x="2296763" y="238506"/>
                  </a:moveTo>
                  <a:lnTo>
                    <a:pt x="2296763" y="569024"/>
                  </a:lnTo>
                  <a:lnTo>
                    <a:pt x="2366296" y="569024"/>
                  </a:lnTo>
                  <a:cubicBezTo>
                    <a:pt x="2409444" y="569024"/>
                    <a:pt x="2437638" y="540830"/>
                    <a:pt x="2437638" y="497681"/>
                  </a:cubicBezTo>
                  <a:lnTo>
                    <a:pt x="2437638" y="307943"/>
                  </a:lnTo>
                  <a:cubicBezTo>
                    <a:pt x="2437638" y="264795"/>
                    <a:pt x="2409444" y="238506"/>
                    <a:pt x="2366296" y="238506"/>
                  </a:cubicBezTo>
                  <a:lnTo>
                    <a:pt x="2296763" y="238506"/>
                  </a:lnTo>
                  <a:close/>
                  <a:moveTo>
                    <a:pt x="2296763" y="770001"/>
                  </a:moveTo>
                  <a:lnTo>
                    <a:pt x="2296763" y="1121188"/>
                  </a:lnTo>
                  <a:lnTo>
                    <a:pt x="2379440" y="1121188"/>
                  </a:lnTo>
                  <a:cubicBezTo>
                    <a:pt x="2420779" y="1121188"/>
                    <a:pt x="2448973" y="1094899"/>
                    <a:pt x="2448973" y="1051655"/>
                  </a:cubicBezTo>
                  <a:lnTo>
                    <a:pt x="2448973" y="841343"/>
                  </a:lnTo>
                  <a:cubicBezTo>
                    <a:pt x="2448973" y="798195"/>
                    <a:pt x="2420779" y="770001"/>
                    <a:pt x="2379440" y="770001"/>
                  </a:cubicBezTo>
                  <a:lnTo>
                    <a:pt x="2296763" y="770001"/>
                  </a:lnTo>
                  <a:close/>
                  <a:moveTo>
                    <a:pt x="3094482" y="1074230"/>
                  </a:moveTo>
                  <a:lnTo>
                    <a:pt x="3094482" y="283559"/>
                  </a:lnTo>
                  <a:cubicBezTo>
                    <a:pt x="3094482" y="114490"/>
                    <a:pt x="3218403" y="0"/>
                    <a:pt x="3402520" y="0"/>
                  </a:cubicBezTo>
                  <a:cubicBezTo>
                    <a:pt x="3586639" y="0"/>
                    <a:pt x="3710559" y="114586"/>
                    <a:pt x="3710559" y="283559"/>
                  </a:cubicBezTo>
                  <a:lnTo>
                    <a:pt x="3710559" y="557784"/>
                  </a:lnTo>
                  <a:lnTo>
                    <a:pt x="3473958" y="557784"/>
                  </a:lnTo>
                  <a:lnTo>
                    <a:pt x="3473958" y="285464"/>
                  </a:lnTo>
                  <a:cubicBezTo>
                    <a:pt x="3473958" y="242316"/>
                    <a:pt x="3445764" y="215932"/>
                    <a:pt x="3402616" y="215932"/>
                  </a:cubicBezTo>
                  <a:cubicBezTo>
                    <a:pt x="3359468" y="215932"/>
                    <a:pt x="3331274" y="242221"/>
                    <a:pt x="3331274" y="285464"/>
                  </a:cubicBezTo>
                  <a:lnTo>
                    <a:pt x="3331274" y="1074230"/>
                  </a:lnTo>
                  <a:cubicBezTo>
                    <a:pt x="3331274" y="1117378"/>
                    <a:pt x="3359468" y="1143667"/>
                    <a:pt x="3402616" y="1143667"/>
                  </a:cubicBezTo>
                  <a:cubicBezTo>
                    <a:pt x="3445764" y="1143667"/>
                    <a:pt x="3473958" y="1117378"/>
                    <a:pt x="3473958" y="1074230"/>
                  </a:cubicBezTo>
                  <a:lnTo>
                    <a:pt x="3473958" y="783146"/>
                  </a:lnTo>
                  <a:lnTo>
                    <a:pt x="3710559" y="783146"/>
                  </a:lnTo>
                  <a:lnTo>
                    <a:pt x="3710559" y="1074230"/>
                  </a:lnTo>
                  <a:cubicBezTo>
                    <a:pt x="3710559" y="1245108"/>
                    <a:pt x="3586639" y="1359694"/>
                    <a:pt x="3402520" y="1359694"/>
                  </a:cubicBezTo>
                  <a:cubicBezTo>
                    <a:pt x="3218403" y="1359694"/>
                    <a:pt x="3094482" y="1245108"/>
                    <a:pt x="3094482" y="1074230"/>
                  </a:cubicBezTo>
                  <a:close/>
                  <a:moveTo>
                    <a:pt x="3849434" y="1074230"/>
                  </a:moveTo>
                  <a:lnTo>
                    <a:pt x="3849434" y="283559"/>
                  </a:lnTo>
                  <a:cubicBezTo>
                    <a:pt x="3849434" y="114490"/>
                    <a:pt x="3973354" y="0"/>
                    <a:pt x="4157472" y="0"/>
                  </a:cubicBezTo>
                  <a:cubicBezTo>
                    <a:pt x="4341590" y="0"/>
                    <a:pt x="4465511" y="114586"/>
                    <a:pt x="4465511" y="283559"/>
                  </a:cubicBezTo>
                  <a:lnTo>
                    <a:pt x="4465511" y="1074230"/>
                  </a:lnTo>
                  <a:cubicBezTo>
                    <a:pt x="4465511" y="1245108"/>
                    <a:pt x="4341590" y="1359694"/>
                    <a:pt x="4157472" y="1359694"/>
                  </a:cubicBezTo>
                  <a:cubicBezTo>
                    <a:pt x="3973354" y="1359694"/>
                    <a:pt x="3849434" y="1245108"/>
                    <a:pt x="3849434" y="1074230"/>
                  </a:cubicBezTo>
                  <a:close/>
                  <a:moveTo>
                    <a:pt x="4228814" y="1074230"/>
                  </a:moveTo>
                  <a:lnTo>
                    <a:pt x="4228814" y="285464"/>
                  </a:lnTo>
                  <a:cubicBezTo>
                    <a:pt x="4228814" y="242316"/>
                    <a:pt x="4200621" y="215932"/>
                    <a:pt x="4157472" y="215932"/>
                  </a:cubicBezTo>
                  <a:cubicBezTo>
                    <a:pt x="4114324" y="215932"/>
                    <a:pt x="4086130" y="242221"/>
                    <a:pt x="4086130" y="285464"/>
                  </a:cubicBezTo>
                  <a:lnTo>
                    <a:pt x="4086130" y="1074230"/>
                  </a:lnTo>
                  <a:cubicBezTo>
                    <a:pt x="4086130" y="1117378"/>
                    <a:pt x="4114324" y="1143667"/>
                    <a:pt x="4157472" y="1143667"/>
                  </a:cubicBezTo>
                  <a:cubicBezTo>
                    <a:pt x="4200621" y="1143667"/>
                    <a:pt x="4228814" y="1117378"/>
                    <a:pt x="4228814" y="1074230"/>
                  </a:cubicBezTo>
                  <a:close/>
                  <a:moveTo>
                    <a:pt x="4613720" y="22574"/>
                  </a:moveTo>
                  <a:lnTo>
                    <a:pt x="4886039" y="22574"/>
                  </a:lnTo>
                  <a:lnTo>
                    <a:pt x="5021294" y="646081"/>
                  </a:lnTo>
                  <a:lnTo>
                    <a:pt x="5040059" y="811340"/>
                  </a:lnTo>
                  <a:lnTo>
                    <a:pt x="5071967" y="811340"/>
                  </a:lnTo>
                  <a:lnTo>
                    <a:pt x="5051298" y="646081"/>
                  </a:lnTo>
                  <a:lnTo>
                    <a:pt x="5051298" y="22574"/>
                  </a:lnTo>
                  <a:lnTo>
                    <a:pt x="5287899" y="22574"/>
                  </a:lnTo>
                  <a:lnTo>
                    <a:pt x="5287899" y="1337215"/>
                  </a:lnTo>
                  <a:lnTo>
                    <a:pt x="5017485" y="1337215"/>
                  </a:lnTo>
                  <a:lnTo>
                    <a:pt x="4882230" y="713708"/>
                  </a:lnTo>
                  <a:lnTo>
                    <a:pt x="4861560" y="548450"/>
                  </a:lnTo>
                  <a:lnTo>
                    <a:pt x="4829651" y="548450"/>
                  </a:lnTo>
                  <a:lnTo>
                    <a:pt x="4850320" y="713708"/>
                  </a:lnTo>
                  <a:lnTo>
                    <a:pt x="4850320" y="1337215"/>
                  </a:lnTo>
                  <a:lnTo>
                    <a:pt x="4613720" y="1337215"/>
                  </a:lnTo>
                  <a:lnTo>
                    <a:pt x="4613720" y="22574"/>
                  </a:lnTo>
                  <a:close/>
                  <a:moveTo>
                    <a:pt x="5443823" y="22574"/>
                  </a:moveTo>
                  <a:lnTo>
                    <a:pt x="5716143" y="22574"/>
                  </a:lnTo>
                  <a:lnTo>
                    <a:pt x="5851398" y="646081"/>
                  </a:lnTo>
                  <a:lnTo>
                    <a:pt x="5870162" y="811340"/>
                  </a:lnTo>
                  <a:lnTo>
                    <a:pt x="5902071" y="811340"/>
                  </a:lnTo>
                  <a:lnTo>
                    <a:pt x="5881402" y="646081"/>
                  </a:lnTo>
                  <a:lnTo>
                    <a:pt x="5881402" y="22574"/>
                  </a:lnTo>
                  <a:lnTo>
                    <a:pt x="6118003" y="22574"/>
                  </a:lnTo>
                  <a:lnTo>
                    <a:pt x="6118003" y="1337215"/>
                  </a:lnTo>
                  <a:lnTo>
                    <a:pt x="5847588" y="1337215"/>
                  </a:lnTo>
                  <a:lnTo>
                    <a:pt x="5712333" y="713708"/>
                  </a:lnTo>
                  <a:lnTo>
                    <a:pt x="5691664" y="548450"/>
                  </a:lnTo>
                  <a:lnTo>
                    <a:pt x="5659755" y="548450"/>
                  </a:lnTo>
                  <a:lnTo>
                    <a:pt x="5680424" y="713708"/>
                  </a:lnTo>
                  <a:lnTo>
                    <a:pt x="5680424" y="1337215"/>
                  </a:lnTo>
                  <a:lnTo>
                    <a:pt x="5443823" y="1337215"/>
                  </a:lnTo>
                  <a:lnTo>
                    <a:pt x="5443823" y="22574"/>
                  </a:lnTo>
                  <a:close/>
                  <a:moveTo>
                    <a:pt x="6273832" y="22574"/>
                  </a:moveTo>
                  <a:lnTo>
                    <a:pt x="6720840" y="22574"/>
                  </a:lnTo>
                  <a:lnTo>
                    <a:pt x="6720840" y="238601"/>
                  </a:lnTo>
                  <a:lnTo>
                    <a:pt x="6510528" y="238601"/>
                  </a:lnTo>
                  <a:lnTo>
                    <a:pt x="6510528" y="565404"/>
                  </a:lnTo>
                  <a:lnTo>
                    <a:pt x="6700172" y="565404"/>
                  </a:lnTo>
                  <a:lnTo>
                    <a:pt x="6700172" y="775716"/>
                  </a:lnTo>
                  <a:lnTo>
                    <a:pt x="6510528" y="775716"/>
                  </a:lnTo>
                  <a:lnTo>
                    <a:pt x="6510528" y="1121283"/>
                  </a:lnTo>
                  <a:lnTo>
                    <a:pt x="6720840" y="1121283"/>
                  </a:lnTo>
                  <a:lnTo>
                    <a:pt x="6720840" y="1337215"/>
                  </a:lnTo>
                  <a:lnTo>
                    <a:pt x="6273832" y="1337215"/>
                  </a:lnTo>
                  <a:lnTo>
                    <a:pt x="6273832" y="22574"/>
                  </a:lnTo>
                  <a:close/>
                  <a:moveTo>
                    <a:pt x="6846665" y="1074230"/>
                  </a:moveTo>
                  <a:lnTo>
                    <a:pt x="6846665" y="283559"/>
                  </a:lnTo>
                  <a:cubicBezTo>
                    <a:pt x="6846665" y="114490"/>
                    <a:pt x="6970585" y="0"/>
                    <a:pt x="7154704" y="0"/>
                  </a:cubicBezTo>
                  <a:cubicBezTo>
                    <a:pt x="7338822" y="0"/>
                    <a:pt x="7462742" y="114586"/>
                    <a:pt x="7462742" y="283559"/>
                  </a:cubicBezTo>
                  <a:lnTo>
                    <a:pt x="7462742" y="557784"/>
                  </a:lnTo>
                  <a:lnTo>
                    <a:pt x="7226142" y="557784"/>
                  </a:lnTo>
                  <a:lnTo>
                    <a:pt x="7226142" y="285464"/>
                  </a:lnTo>
                  <a:cubicBezTo>
                    <a:pt x="7226142" y="242316"/>
                    <a:pt x="7197947" y="215932"/>
                    <a:pt x="7154800" y="215932"/>
                  </a:cubicBezTo>
                  <a:cubicBezTo>
                    <a:pt x="7111651" y="215932"/>
                    <a:pt x="7083457" y="242221"/>
                    <a:pt x="7083457" y="285464"/>
                  </a:cubicBezTo>
                  <a:lnTo>
                    <a:pt x="7083457" y="1074230"/>
                  </a:lnTo>
                  <a:cubicBezTo>
                    <a:pt x="7083457" y="1117378"/>
                    <a:pt x="7111651" y="1143667"/>
                    <a:pt x="7154800" y="1143667"/>
                  </a:cubicBezTo>
                  <a:cubicBezTo>
                    <a:pt x="7197947" y="1143667"/>
                    <a:pt x="7226142" y="1117378"/>
                    <a:pt x="7226142" y="1074230"/>
                  </a:cubicBezTo>
                  <a:lnTo>
                    <a:pt x="7226142" y="783146"/>
                  </a:lnTo>
                  <a:lnTo>
                    <a:pt x="7462742" y="783146"/>
                  </a:lnTo>
                  <a:lnTo>
                    <a:pt x="7462742" y="1074230"/>
                  </a:lnTo>
                  <a:cubicBezTo>
                    <a:pt x="7462742" y="1245108"/>
                    <a:pt x="7338822" y="1359694"/>
                    <a:pt x="7154704" y="1359694"/>
                  </a:cubicBezTo>
                  <a:cubicBezTo>
                    <a:pt x="6970585" y="1359694"/>
                    <a:pt x="6846665" y="1245108"/>
                    <a:pt x="6846665" y="1074230"/>
                  </a:cubicBezTo>
                  <a:close/>
                  <a:moveTo>
                    <a:pt x="7699248" y="238506"/>
                  </a:moveTo>
                  <a:lnTo>
                    <a:pt x="7563993" y="238506"/>
                  </a:lnTo>
                  <a:lnTo>
                    <a:pt x="7563993" y="22479"/>
                  </a:lnTo>
                  <a:lnTo>
                    <a:pt x="8071104" y="22479"/>
                  </a:lnTo>
                  <a:lnTo>
                    <a:pt x="8071104" y="238506"/>
                  </a:lnTo>
                  <a:lnTo>
                    <a:pt x="7935850" y="238506"/>
                  </a:lnTo>
                  <a:lnTo>
                    <a:pt x="7935850" y="1337120"/>
                  </a:lnTo>
                  <a:lnTo>
                    <a:pt x="7699248" y="1337120"/>
                  </a:lnTo>
                  <a:lnTo>
                    <a:pt x="7699248" y="238506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</p:grp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EDA828F3-8932-B3A9-3D31-F24B67260E59}"/>
              </a:ext>
            </a:extLst>
          </p:cNvPr>
          <p:cNvSpPr/>
          <p:nvPr userDrawn="1"/>
        </p:nvSpPr>
        <p:spPr>
          <a:xfrm>
            <a:off x="10342967" y="1341394"/>
            <a:ext cx="1849033" cy="4175212"/>
          </a:xfrm>
          <a:custGeom>
            <a:avLst/>
            <a:gdLst>
              <a:gd name="connsiteX0" fmla="*/ 1778620 w 1778620"/>
              <a:gd name="connsiteY0" fmla="*/ 0 h 4016216"/>
              <a:gd name="connsiteX1" fmla="*/ 1778620 w 1778620"/>
              <a:gd name="connsiteY1" fmla="*/ 1118110 h 4016216"/>
              <a:gd name="connsiteX2" fmla="*/ 1099791 w 1778620"/>
              <a:gd name="connsiteY2" fmla="*/ 2008109 h 4016216"/>
              <a:gd name="connsiteX3" fmla="*/ 1778620 w 1778620"/>
              <a:gd name="connsiteY3" fmla="*/ 2898106 h 4016216"/>
              <a:gd name="connsiteX4" fmla="*/ 1778620 w 1778620"/>
              <a:gd name="connsiteY4" fmla="*/ 4016216 h 4016216"/>
              <a:gd name="connsiteX5" fmla="*/ 0 w 1778620"/>
              <a:gd name="connsiteY5" fmla="*/ 2008109 h 4016216"/>
              <a:gd name="connsiteX6" fmla="*/ 1778620 w 1778620"/>
              <a:gd name="connsiteY6" fmla="*/ 0 h 4016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8620" h="4016216">
                <a:moveTo>
                  <a:pt x="1778620" y="0"/>
                </a:moveTo>
                <a:lnTo>
                  <a:pt x="1778620" y="1118110"/>
                </a:lnTo>
                <a:cubicBezTo>
                  <a:pt x="1387825" y="1225417"/>
                  <a:pt x="1099791" y="1583703"/>
                  <a:pt x="1099791" y="2008109"/>
                </a:cubicBezTo>
                <a:cubicBezTo>
                  <a:pt x="1099791" y="2432514"/>
                  <a:pt x="1387825" y="2790799"/>
                  <a:pt x="1778620" y="2898106"/>
                </a:cubicBezTo>
                <a:lnTo>
                  <a:pt x="1778620" y="4016216"/>
                </a:lnTo>
                <a:cubicBezTo>
                  <a:pt x="776632" y="3895685"/>
                  <a:pt x="0" y="3042605"/>
                  <a:pt x="0" y="2008109"/>
                </a:cubicBezTo>
                <a:cubicBezTo>
                  <a:pt x="0" y="973612"/>
                  <a:pt x="776632" y="120531"/>
                  <a:pt x="1778620" y="0"/>
                </a:cubicBezTo>
                <a:close/>
              </a:path>
            </a:pathLst>
          </a:custGeom>
          <a:solidFill>
            <a:srgbClr val="96F500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EEA0BE63-FF18-A717-B7AD-2809C8A4BDEB}"/>
              </a:ext>
            </a:extLst>
          </p:cNvPr>
          <p:cNvSpPr/>
          <p:nvPr userDrawn="1"/>
        </p:nvSpPr>
        <p:spPr>
          <a:xfrm>
            <a:off x="11467577" y="2506050"/>
            <a:ext cx="724423" cy="1845903"/>
          </a:xfrm>
          <a:custGeom>
            <a:avLst/>
            <a:gdLst>
              <a:gd name="connsiteX0" fmla="*/ 724423 w 724423"/>
              <a:gd name="connsiteY0" fmla="*/ 0 h 1845903"/>
              <a:gd name="connsiteX1" fmla="*/ 724423 w 724423"/>
              <a:gd name="connsiteY1" fmla="*/ 1845903 h 1845903"/>
              <a:gd name="connsiteX2" fmla="*/ 720556 w 724423"/>
              <a:gd name="connsiteY2" fmla="*/ 1845287 h 1845903"/>
              <a:gd name="connsiteX3" fmla="*/ 0 w 724423"/>
              <a:gd name="connsiteY3" fmla="*/ 922951 h 1845903"/>
              <a:gd name="connsiteX4" fmla="*/ 720556 w 724423"/>
              <a:gd name="connsiteY4" fmla="*/ 615 h 1845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4423" h="1845903">
                <a:moveTo>
                  <a:pt x="724423" y="0"/>
                </a:moveTo>
                <a:lnTo>
                  <a:pt x="724423" y="1845903"/>
                </a:lnTo>
                <a:lnTo>
                  <a:pt x="720556" y="1845287"/>
                </a:lnTo>
                <a:cubicBezTo>
                  <a:pt x="309336" y="1757499"/>
                  <a:pt x="0" y="1377913"/>
                  <a:pt x="0" y="922951"/>
                </a:cubicBezTo>
                <a:cubicBezTo>
                  <a:pt x="0" y="467990"/>
                  <a:pt x="309336" y="88403"/>
                  <a:pt x="720556" y="615"/>
                </a:cubicBezTo>
                <a:close/>
              </a:path>
            </a:pathLst>
          </a:custGeom>
          <a:solidFill>
            <a:srgbClr val="014E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82166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1" name="Text Placeholder 60">
            <a:extLst>
              <a:ext uri="{FF2B5EF4-FFF2-40B4-BE49-F238E27FC236}">
                <a16:creationId xmlns:a16="http://schemas.microsoft.com/office/drawing/2014/main" id="{DFD8D30E-966A-7843-8DE0-595893F134C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69382" y="4620079"/>
            <a:ext cx="3081485" cy="138102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.</a:t>
            </a:r>
          </a:p>
        </p:txBody>
      </p:sp>
      <p:sp>
        <p:nvSpPr>
          <p:cNvPr id="22" name="Text Placeholder 60">
            <a:extLst>
              <a:ext uri="{FF2B5EF4-FFF2-40B4-BE49-F238E27FC236}">
                <a16:creationId xmlns:a16="http://schemas.microsoft.com/office/drawing/2014/main" id="{19041B1D-CD02-B349-9FCB-41959E33872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690909" y="4620078"/>
            <a:ext cx="3081485" cy="138102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.</a:t>
            </a:r>
          </a:p>
        </p:txBody>
      </p:sp>
      <p:sp>
        <p:nvSpPr>
          <p:cNvPr id="23" name="Text Placeholder 60">
            <a:extLst>
              <a:ext uri="{FF2B5EF4-FFF2-40B4-BE49-F238E27FC236}">
                <a16:creationId xmlns:a16="http://schemas.microsoft.com/office/drawing/2014/main" id="{07AF3E05-35E0-464C-BA8A-4A064BCE59C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12436" y="4620078"/>
            <a:ext cx="3081485" cy="138102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.</a:t>
            </a:r>
          </a:p>
        </p:txBody>
      </p:sp>
      <p:sp>
        <p:nvSpPr>
          <p:cNvPr id="42" name="Text Placeholder 60">
            <a:extLst>
              <a:ext uri="{FF2B5EF4-FFF2-40B4-BE49-F238E27FC236}">
                <a16:creationId xmlns:a16="http://schemas.microsoft.com/office/drawing/2014/main" id="{D84BA214-BCEF-E74D-8682-DA2C88B2B1F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12149" y="2613943"/>
            <a:ext cx="1499495" cy="946594"/>
          </a:xfrm>
        </p:spPr>
        <p:txBody>
          <a:bodyPr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i="0" kern="1200" spc="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en-VN"/>
              <a:t>90</a:t>
            </a:r>
          </a:p>
        </p:txBody>
      </p:sp>
      <p:sp>
        <p:nvSpPr>
          <p:cNvPr id="43" name="Text Placeholder 60">
            <a:extLst>
              <a:ext uri="{FF2B5EF4-FFF2-40B4-BE49-F238E27FC236}">
                <a16:creationId xmlns:a16="http://schemas.microsoft.com/office/drawing/2014/main" id="{0012AB77-93BB-804A-86A3-E396540AE4C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731324" y="2619277"/>
            <a:ext cx="1499495" cy="946594"/>
          </a:xfrm>
        </p:spPr>
        <p:txBody>
          <a:bodyPr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i="0" kern="1200" spc="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en-VN"/>
              <a:t>70</a:t>
            </a:r>
          </a:p>
        </p:txBody>
      </p:sp>
      <p:sp>
        <p:nvSpPr>
          <p:cNvPr id="44" name="Text Placeholder 60">
            <a:extLst>
              <a:ext uri="{FF2B5EF4-FFF2-40B4-BE49-F238E27FC236}">
                <a16:creationId xmlns:a16="http://schemas.microsoft.com/office/drawing/2014/main" id="{114745FC-72D4-A34F-9EB4-CBDE315BCF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252852" y="2613943"/>
            <a:ext cx="1499495" cy="946594"/>
          </a:xfrm>
        </p:spPr>
        <p:txBody>
          <a:bodyPr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i="0" kern="1200" spc="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en-VN"/>
              <a:t>50</a:t>
            </a:r>
          </a:p>
        </p:txBody>
      </p:sp>
      <p:sp>
        <p:nvSpPr>
          <p:cNvPr id="47" name="Text Placeholder 60">
            <a:extLst>
              <a:ext uri="{FF2B5EF4-FFF2-40B4-BE49-F238E27FC236}">
                <a16:creationId xmlns:a16="http://schemas.microsoft.com/office/drawing/2014/main" id="{BB04F1DD-DC73-B64F-8D95-470D3C9DE20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69357" y="3804469"/>
            <a:ext cx="3094240" cy="57167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-15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Headline</a:t>
            </a:r>
            <a:endParaRPr lang="pl-PL"/>
          </a:p>
        </p:txBody>
      </p:sp>
      <p:sp>
        <p:nvSpPr>
          <p:cNvPr id="48" name="Text Placeholder 60">
            <a:extLst>
              <a:ext uri="{FF2B5EF4-FFF2-40B4-BE49-F238E27FC236}">
                <a16:creationId xmlns:a16="http://schemas.microsoft.com/office/drawing/2014/main" id="{25F60B0D-B742-0042-88EE-1ABCF1A260B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690908" y="3804469"/>
            <a:ext cx="3081485" cy="57167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-15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Headline</a:t>
            </a:r>
            <a:endParaRPr lang="pl-PL"/>
          </a:p>
        </p:txBody>
      </p:sp>
      <p:sp>
        <p:nvSpPr>
          <p:cNvPr id="50" name="Text Placeholder 60">
            <a:extLst>
              <a:ext uri="{FF2B5EF4-FFF2-40B4-BE49-F238E27FC236}">
                <a16:creationId xmlns:a16="http://schemas.microsoft.com/office/drawing/2014/main" id="{DE9DABA4-C2D8-8E4E-AA85-55EE5E6132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212436" y="3808741"/>
            <a:ext cx="3081485" cy="57167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-15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Headline</a:t>
            </a:r>
            <a:endParaRPr lang="pl-PL"/>
          </a:p>
        </p:txBody>
      </p:sp>
      <p:sp>
        <p:nvSpPr>
          <p:cNvPr id="24" name="Tytuł 1">
            <a:extLst>
              <a:ext uri="{FF2B5EF4-FFF2-40B4-BE49-F238E27FC236}">
                <a16:creationId xmlns:a16="http://schemas.microsoft.com/office/drawing/2014/main" id="{46B78CD4-6DC0-104F-B4BD-0566E5541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2AB964A-EF59-DE48-AD8F-EEA61505B3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tatistics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D7E5FB14-933E-4364-B3D1-C09D685904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A2F4E2AC-1087-4DFC-850A-D9F3A645579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767012" y="2601437"/>
            <a:ext cx="1136930" cy="94659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2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%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5C0A0ADB-A1D9-49E0-8F6D-4C0B1164EC7C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278786" y="2610063"/>
            <a:ext cx="1136930" cy="94659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2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%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504EFA6F-F170-44CA-BAB1-4CD9E4F9790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790560" y="2610063"/>
            <a:ext cx="1136930" cy="94659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2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509674993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igh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9" descr="A green lines and dots on a black background&#10;&#10;Description automatically generated">
            <a:extLst>
              <a:ext uri="{FF2B5EF4-FFF2-40B4-BE49-F238E27FC236}">
                <a16:creationId xmlns:a16="http://schemas.microsoft.com/office/drawing/2014/main" id="{1599A4BA-D8AC-D65F-46A2-D1046BEF53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C2B404-9FBA-1E87-C027-2BB6C644C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110772"/>
            <a:ext cx="6826250" cy="1673731"/>
          </a:xfrm>
        </p:spPr>
        <p:txBody>
          <a:bodyPr anchor="b"/>
          <a:lstStyle>
            <a:lvl1pPr>
              <a:defRPr sz="5000">
                <a:solidFill>
                  <a:schemeClr val="accent2"/>
                </a:solidFill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8598D-4FA6-4246-6447-7B759D632FD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811492"/>
            <a:ext cx="6826250" cy="347270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optional 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B53587-0701-2BC6-CC8A-7319C380CA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849" y="6327552"/>
            <a:ext cx="6868450" cy="347270"/>
          </a:xfrm>
        </p:spPr>
        <p:txBody>
          <a:bodyPr/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Add optional date</a:t>
            </a:r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000BD6F-BC91-443B-2C16-849B7B326B0D}"/>
              </a:ext>
            </a:extLst>
          </p:cNvPr>
          <p:cNvGrpSpPr/>
          <p:nvPr userDrawn="1"/>
        </p:nvGrpSpPr>
        <p:grpSpPr>
          <a:xfrm>
            <a:off x="831849" y="1082662"/>
            <a:ext cx="3353494" cy="825804"/>
            <a:chOff x="13749337" y="746575"/>
            <a:chExt cx="11277504" cy="2777109"/>
          </a:xfrm>
          <a:solidFill>
            <a:schemeClr val="accent1"/>
          </a:solidFill>
        </p:grpSpPr>
        <p:sp>
          <p:nvSpPr>
            <p:cNvPr id="5" name="Freeform: Shape 44">
              <a:extLst>
                <a:ext uri="{FF2B5EF4-FFF2-40B4-BE49-F238E27FC236}">
                  <a16:creationId xmlns:a16="http://schemas.microsoft.com/office/drawing/2014/main" id="{092197CF-DF35-3544-3C8C-2E8396C96ADC}"/>
                </a:ext>
              </a:extLst>
            </p:cNvPr>
            <p:cNvSpPr/>
            <p:nvPr/>
          </p:nvSpPr>
          <p:spPr>
            <a:xfrm>
              <a:off x="13749337" y="746575"/>
              <a:ext cx="5114450" cy="2777109"/>
            </a:xfrm>
            <a:custGeom>
              <a:avLst/>
              <a:gdLst>
                <a:gd name="connsiteX0" fmla="*/ 5080826 w 5114450"/>
                <a:gd name="connsiteY0" fmla="*/ 664559 h 2777109"/>
                <a:gd name="connsiteX1" fmla="*/ 5114450 w 5114450"/>
                <a:gd name="connsiteY1" fmla="*/ 952786 h 2777109"/>
                <a:gd name="connsiteX2" fmla="*/ 4924234 w 5114450"/>
                <a:gd name="connsiteY2" fmla="*/ 952786 h 2777109"/>
                <a:gd name="connsiteX3" fmla="*/ 4911662 w 5114450"/>
                <a:gd name="connsiteY3" fmla="*/ 812292 h 2777109"/>
                <a:gd name="connsiteX4" fmla="*/ 4562570 w 5114450"/>
                <a:gd name="connsiteY4" fmla="*/ 812292 h 2777109"/>
                <a:gd name="connsiteX5" fmla="*/ 4196906 w 5114450"/>
                <a:gd name="connsiteY5" fmla="*/ 972026 h 2777109"/>
                <a:gd name="connsiteX6" fmla="*/ 4047362 w 5114450"/>
                <a:gd name="connsiteY6" fmla="*/ 952786 h 2777109"/>
                <a:gd name="connsiteX7" fmla="*/ 5080826 w 5114450"/>
                <a:gd name="connsiteY7" fmla="*/ 664559 h 2777109"/>
                <a:gd name="connsiteX8" fmla="*/ 4833462 w 5114450"/>
                <a:gd name="connsiteY8" fmla="*/ 250221 h 2777109"/>
                <a:gd name="connsiteX9" fmla="*/ 5031866 w 5114450"/>
                <a:gd name="connsiteY9" fmla="*/ 250221 h 2777109"/>
                <a:gd name="connsiteX10" fmla="*/ 5076634 w 5114450"/>
                <a:gd name="connsiteY10" fmla="*/ 629697 h 2777109"/>
                <a:gd name="connsiteX11" fmla="*/ 4896516 w 5114450"/>
                <a:gd name="connsiteY11" fmla="*/ 650176 h 2777109"/>
                <a:gd name="connsiteX12" fmla="*/ 4876418 w 5114450"/>
                <a:gd name="connsiteY12" fmla="*/ 423767 h 2777109"/>
                <a:gd name="connsiteX13" fmla="*/ 4658010 w 5114450"/>
                <a:gd name="connsiteY13" fmla="*/ 693610 h 2777109"/>
                <a:gd name="connsiteX14" fmla="*/ 4657914 w 5114450"/>
                <a:gd name="connsiteY14" fmla="*/ 693610 h 2777109"/>
                <a:gd name="connsiteX15" fmla="*/ 4412456 w 5114450"/>
                <a:gd name="connsiteY15" fmla="*/ 758856 h 2777109"/>
                <a:gd name="connsiteX16" fmla="*/ 4833462 w 5114450"/>
                <a:gd name="connsiteY16" fmla="*/ 250221 h 2777109"/>
                <a:gd name="connsiteX17" fmla="*/ 4326922 w 5114450"/>
                <a:gd name="connsiteY17" fmla="*/ 232600 h 2777109"/>
                <a:gd name="connsiteX18" fmla="*/ 4614670 w 5114450"/>
                <a:gd name="connsiteY18" fmla="*/ 329279 h 2777109"/>
                <a:gd name="connsiteX19" fmla="*/ 4508658 w 5114450"/>
                <a:gd name="connsiteY19" fmla="*/ 460438 h 2777109"/>
                <a:gd name="connsiteX20" fmla="*/ 4508658 w 5114450"/>
                <a:gd name="connsiteY20" fmla="*/ 460533 h 2777109"/>
                <a:gd name="connsiteX21" fmla="*/ 4299298 w 5114450"/>
                <a:gd name="connsiteY21" fmla="*/ 376999 h 2777109"/>
                <a:gd name="connsiteX22" fmla="*/ 4010024 w 5114450"/>
                <a:gd name="connsiteY22" fmla="*/ 619887 h 2777109"/>
                <a:gd name="connsiteX23" fmla="*/ 4113466 w 5114450"/>
                <a:gd name="connsiteY23" fmla="*/ 811911 h 2777109"/>
                <a:gd name="connsiteX24" fmla="*/ 4215670 w 5114450"/>
                <a:gd name="connsiteY24" fmla="*/ 826484 h 2777109"/>
                <a:gd name="connsiteX25" fmla="*/ 3928300 w 5114450"/>
                <a:gd name="connsiteY25" fmla="*/ 952881 h 2777109"/>
                <a:gd name="connsiteX26" fmla="*/ 3206400 w 5114450"/>
                <a:gd name="connsiteY26" fmla="*/ 952881 h 2777109"/>
                <a:gd name="connsiteX27" fmla="*/ 3454336 w 5114450"/>
                <a:gd name="connsiteY27" fmla="*/ 250317 h 2777109"/>
                <a:gd name="connsiteX28" fmla="*/ 3987164 w 5114450"/>
                <a:gd name="connsiteY28" fmla="*/ 250317 h 2777109"/>
                <a:gd name="connsiteX29" fmla="*/ 3871626 w 5114450"/>
                <a:gd name="connsiteY29" fmla="*/ 390810 h 2777109"/>
                <a:gd name="connsiteX30" fmla="*/ 3587590 w 5114450"/>
                <a:gd name="connsiteY30" fmla="*/ 390810 h 2777109"/>
                <a:gd name="connsiteX31" fmla="*/ 3544156 w 5114450"/>
                <a:gd name="connsiteY31" fmla="*/ 513683 h 2777109"/>
                <a:gd name="connsiteX32" fmla="*/ 3770470 w 5114450"/>
                <a:gd name="connsiteY32" fmla="*/ 513683 h 2777109"/>
                <a:gd name="connsiteX33" fmla="*/ 3655122 w 5114450"/>
                <a:gd name="connsiteY33" fmla="*/ 653796 h 2777109"/>
                <a:gd name="connsiteX34" fmla="*/ 3494722 w 5114450"/>
                <a:gd name="connsiteY34" fmla="*/ 653796 h 2777109"/>
                <a:gd name="connsiteX35" fmla="*/ 3438810 w 5114450"/>
                <a:gd name="connsiteY35" fmla="*/ 812101 h 2777109"/>
                <a:gd name="connsiteX36" fmla="*/ 3873530 w 5114450"/>
                <a:gd name="connsiteY36" fmla="*/ 812101 h 2777109"/>
                <a:gd name="connsiteX37" fmla="*/ 3829430 w 5114450"/>
                <a:gd name="connsiteY37" fmla="*/ 629793 h 2777109"/>
                <a:gd name="connsiteX38" fmla="*/ 4326922 w 5114450"/>
                <a:gd name="connsiteY38" fmla="*/ 232600 h 2777109"/>
                <a:gd name="connsiteX39" fmla="*/ 1567529 w 5114450"/>
                <a:gd name="connsiteY39" fmla="*/ 0 h 2777109"/>
                <a:gd name="connsiteX40" fmla="*/ 2797397 w 5114450"/>
                <a:gd name="connsiteY40" fmla="*/ 1388555 h 2777109"/>
                <a:gd name="connsiteX41" fmla="*/ 1567529 w 5114450"/>
                <a:gd name="connsiteY41" fmla="*/ 2777109 h 2777109"/>
                <a:gd name="connsiteX42" fmla="*/ 1567529 w 5114450"/>
                <a:gd name="connsiteY42" fmla="*/ 2003965 h 2777109"/>
                <a:gd name="connsiteX43" fmla="*/ 2036921 w 5114450"/>
                <a:gd name="connsiteY43" fmla="*/ 1388555 h 2777109"/>
                <a:gd name="connsiteX44" fmla="*/ 1567529 w 5114450"/>
                <a:gd name="connsiteY44" fmla="*/ 773144 h 2777109"/>
                <a:gd name="connsiteX45" fmla="*/ 1229868 w 5114450"/>
                <a:gd name="connsiteY45" fmla="*/ 0 h 2777109"/>
                <a:gd name="connsiteX46" fmla="*/ 1229868 w 5114450"/>
                <a:gd name="connsiteY46" fmla="*/ 773144 h 2777109"/>
                <a:gd name="connsiteX47" fmla="*/ 760476 w 5114450"/>
                <a:gd name="connsiteY47" fmla="*/ 1388555 h 2777109"/>
                <a:gd name="connsiteX48" fmla="*/ 1229868 w 5114450"/>
                <a:gd name="connsiteY48" fmla="*/ 2003965 h 2777109"/>
                <a:gd name="connsiteX49" fmla="*/ 1229868 w 5114450"/>
                <a:gd name="connsiteY49" fmla="*/ 2777109 h 2777109"/>
                <a:gd name="connsiteX50" fmla="*/ 0 w 5114450"/>
                <a:gd name="connsiteY50" fmla="*/ 1388555 h 2777109"/>
                <a:gd name="connsiteX51" fmla="*/ 1229868 w 5114450"/>
                <a:gd name="connsiteY51" fmla="*/ 0 h 2777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114450" h="2777109">
                  <a:moveTo>
                    <a:pt x="5080826" y="664559"/>
                  </a:moveTo>
                  <a:lnTo>
                    <a:pt x="5114450" y="952786"/>
                  </a:lnTo>
                  <a:lnTo>
                    <a:pt x="4924234" y="952786"/>
                  </a:lnTo>
                  <a:cubicBezTo>
                    <a:pt x="4924234" y="952786"/>
                    <a:pt x="4911662" y="812292"/>
                    <a:pt x="4911662" y="812292"/>
                  </a:cubicBezTo>
                  <a:lnTo>
                    <a:pt x="4562570" y="812292"/>
                  </a:lnTo>
                  <a:cubicBezTo>
                    <a:pt x="4448746" y="938022"/>
                    <a:pt x="4354162" y="972026"/>
                    <a:pt x="4196906" y="972026"/>
                  </a:cubicBezTo>
                  <a:cubicBezTo>
                    <a:pt x="4140136" y="972026"/>
                    <a:pt x="4086892" y="965549"/>
                    <a:pt x="4047362" y="952786"/>
                  </a:cubicBezTo>
                  <a:cubicBezTo>
                    <a:pt x="4047362" y="952786"/>
                    <a:pt x="4500562" y="719233"/>
                    <a:pt x="5080826" y="664559"/>
                  </a:cubicBezTo>
                  <a:close/>
                  <a:moveTo>
                    <a:pt x="4833462" y="250221"/>
                  </a:moveTo>
                  <a:lnTo>
                    <a:pt x="5031866" y="250221"/>
                  </a:lnTo>
                  <a:lnTo>
                    <a:pt x="5076634" y="629697"/>
                  </a:lnTo>
                  <a:cubicBezTo>
                    <a:pt x="5016626" y="636079"/>
                    <a:pt x="4955094" y="641127"/>
                    <a:pt x="4896516" y="650176"/>
                  </a:cubicBezTo>
                  <a:lnTo>
                    <a:pt x="4876418" y="423767"/>
                  </a:lnTo>
                  <a:lnTo>
                    <a:pt x="4658010" y="693610"/>
                  </a:lnTo>
                  <a:lnTo>
                    <a:pt x="4657914" y="693610"/>
                  </a:lnTo>
                  <a:cubicBezTo>
                    <a:pt x="4574094" y="712470"/>
                    <a:pt x="4492274" y="734282"/>
                    <a:pt x="4412456" y="758856"/>
                  </a:cubicBezTo>
                  <a:cubicBezTo>
                    <a:pt x="4412456" y="758856"/>
                    <a:pt x="4833462" y="250221"/>
                    <a:pt x="4833462" y="250221"/>
                  </a:cubicBezTo>
                  <a:close/>
                  <a:moveTo>
                    <a:pt x="4326922" y="232600"/>
                  </a:moveTo>
                  <a:cubicBezTo>
                    <a:pt x="4449222" y="232600"/>
                    <a:pt x="4548090" y="269271"/>
                    <a:pt x="4614670" y="329279"/>
                  </a:cubicBezTo>
                  <a:lnTo>
                    <a:pt x="4508658" y="460438"/>
                  </a:lnTo>
                  <a:lnTo>
                    <a:pt x="4508658" y="460533"/>
                  </a:lnTo>
                  <a:cubicBezTo>
                    <a:pt x="4467130" y="414051"/>
                    <a:pt x="4383498" y="376999"/>
                    <a:pt x="4299298" y="376999"/>
                  </a:cubicBezTo>
                  <a:cubicBezTo>
                    <a:pt x="4128706" y="376999"/>
                    <a:pt x="4021930" y="498538"/>
                    <a:pt x="4010024" y="619887"/>
                  </a:cubicBezTo>
                  <a:cubicBezTo>
                    <a:pt x="3999928" y="723042"/>
                    <a:pt x="4035838" y="785241"/>
                    <a:pt x="4113466" y="811911"/>
                  </a:cubicBezTo>
                  <a:cubicBezTo>
                    <a:pt x="4156518" y="822769"/>
                    <a:pt x="4180902" y="825246"/>
                    <a:pt x="4215670" y="826484"/>
                  </a:cubicBezTo>
                  <a:cubicBezTo>
                    <a:pt x="4030408" y="898017"/>
                    <a:pt x="3928300" y="952881"/>
                    <a:pt x="3928300" y="952881"/>
                  </a:cubicBezTo>
                  <a:lnTo>
                    <a:pt x="3206400" y="952881"/>
                  </a:lnTo>
                  <a:cubicBezTo>
                    <a:pt x="3206400" y="952881"/>
                    <a:pt x="3454336" y="250317"/>
                    <a:pt x="3454336" y="250317"/>
                  </a:cubicBezTo>
                  <a:lnTo>
                    <a:pt x="3987164" y="250317"/>
                  </a:lnTo>
                  <a:cubicBezTo>
                    <a:pt x="3987164" y="250317"/>
                    <a:pt x="3871626" y="390810"/>
                    <a:pt x="3871626" y="390810"/>
                  </a:cubicBezTo>
                  <a:lnTo>
                    <a:pt x="3587590" y="390810"/>
                  </a:lnTo>
                  <a:cubicBezTo>
                    <a:pt x="3587590" y="390810"/>
                    <a:pt x="3544156" y="513683"/>
                    <a:pt x="3544156" y="513683"/>
                  </a:cubicBezTo>
                  <a:lnTo>
                    <a:pt x="3770470" y="513683"/>
                  </a:lnTo>
                  <a:cubicBezTo>
                    <a:pt x="3770470" y="513683"/>
                    <a:pt x="3655122" y="653796"/>
                    <a:pt x="3655122" y="653796"/>
                  </a:cubicBezTo>
                  <a:lnTo>
                    <a:pt x="3494722" y="653796"/>
                  </a:lnTo>
                  <a:cubicBezTo>
                    <a:pt x="3494722" y="653796"/>
                    <a:pt x="3438810" y="812101"/>
                    <a:pt x="3438810" y="812101"/>
                  </a:cubicBezTo>
                  <a:lnTo>
                    <a:pt x="3873530" y="812101"/>
                  </a:lnTo>
                  <a:cubicBezTo>
                    <a:pt x="3837336" y="752284"/>
                    <a:pt x="3826192" y="691610"/>
                    <a:pt x="3829430" y="629793"/>
                  </a:cubicBezTo>
                  <a:cubicBezTo>
                    <a:pt x="3840290" y="425481"/>
                    <a:pt x="4007454" y="232600"/>
                    <a:pt x="4326922" y="232600"/>
                  </a:cubicBezTo>
                  <a:close/>
                  <a:moveTo>
                    <a:pt x="1567529" y="0"/>
                  </a:moveTo>
                  <a:cubicBezTo>
                    <a:pt x="2260473" y="83344"/>
                    <a:pt x="2797397" y="673227"/>
                    <a:pt x="2797397" y="1388555"/>
                  </a:cubicBezTo>
                  <a:cubicBezTo>
                    <a:pt x="2797397" y="2103882"/>
                    <a:pt x="2260378" y="2693765"/>
                    <a:pt x="1567529" y="2777109"/>
                  </a:cubicBezTo>
                  <a:lnTo>
                    <a:pt x="1567529" y="2003965"/>
                  </a:lnTo>
                  <a:cubicBezTo>
                    <a:pt x="1837754" y="1929765"/>
                    <a:pt x="2036921" y="1682020"/>
                    <a:pt x="2036921" y="1388555"/>
                  </a:cubicBezTo>
                  <a:cubicBezTo>
                    <a:pt x="2036921" y="1095089"/>
                    <a:pt x="1837754" y="847344"/>
                    <a:pt x="1567529" y="773144"/>
                  </a:cubicBezTo>
                  <a:close/>
                  <a:moveTo>
                    <a:pt x="1229868" y="0"/>
                  </a:moveTo>
                  <a:lnTo>
                    <a:pt x="1229868" y="773144"/>
                  </a:lnTo>
                  <a:cubicBezTo>
                    <a:pt x="959644" y="847344"/>
                    <a:pt x="760476" y="1095089"/>
                    <a:pt x="760476" y="1388555"/>
                  </a:cubicBezTo>
                  <a:cubicBezTo>
                    <a:pt x="760476" y="1682020"/>
                    <a:pt x="959644" y="1929765"/>
                    <a:pt x="1229868" y="2003965"/>
                  </a:cubicBezTo>
                  <a:lnTo>
                    <a:pt x="1229868" y="2777109"/>
                  </a:lnTo>
                  <a:cubicBezTo>
                    <a:pt x="537020" y="2693765"/>
                    <a:pt x="0" y="2103882"/>
                    <a:pt x="0" y="1388555"/>
                  </a:cubicBezTo>
                  <a:cubicBezTo>
                    <a:pt x="0" y="673227"/>
                    <a:pt x="537020" y="83344"/>
                    <a:pt x="1229868" y="0"/>
                  </a:cubicBezTo>
                  <a:close/>
                </a:path>
              </a:pathLst>
            </a:custGeom>
            <a:solidFill>
              <a:schemeClr val="accent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6" name="Freeform: Shape 24">
              <a:extLst>
                <a:ext uri="{FF2B5EF4-FFF2-40B4-BE49-F238E27FC236}">
                  <a16:creationId xmlns:a16="http://schemas.microsoft.com/office/drawing/2014/main" id="{F76C065E-E4DB-769F-5E26-2E81A684442C}"/>
                </a:ext>
              </a:extLst>
            </p:cNvPr>
            <p:cNvSpPr/>
            <p:nvPr/>
          </p:nvSpPr>
          <p:spPr>
            <a:xfrm>
              <a:off x="16955738" y="1931294"/>
              <a:ext cx="8071103" cy="1359693"/>
            </a:xfrm>
            <a:custGeom>
              <a:avLst/>
              <a:gdLst>
                <a:gd name="connsiteX0" fmla="*/ 0 w 8071103"/>
                <a:gd name="connsiteY0" fmla="*/ 1074230 h 1359693"/>
                <a:gd name="connsiteX1" fmla="*/ 0 w 8071103"/>
                <a:gd name="connsiteY1" fmla="*/ 283559 h 1359693"/>
                <a:gd name="connsiteX2" fmla="*/ 308038 w 8071103"/>
                <a:gd name="connsiteY2" fmla="*/ 0 h 1359693"/>
                <a:gd name="connsiteX3" fmla="*/ 616077 w 8071103"/>
                <a:gd name="connsiteY3" fmla="*/ 283559 h 1359693"/>
                <a:gd name="connsiteX4" fmla="*/ 616077 w 8071103"/>
                <a:gd name="connsiteY4" fmla="*/ 557784 h 1359693"/>
                <a:gd name="connsiteX5" fmla="*/ 379476 w 8071103"/>
                <a:gd name="connsiteY5" fmla="*/ 557784 h 1359693"/>
                <a:gd name="connsiteX6" fmla="*/ 379476 w 8071103"/>
                <a:gd name="connsiteY6" fmla="*/ 285464 h 1359693"/>
                <a:gd name="connsiteX7" fmla="*/ 308134 w 8071103"/>
                <a:gd name="connsiteY7" fmla="*/ 215932 h 1359693"/>
                <a:gd name="connsiteX8" fmla="*/ 236791 w 8071103"/>
                <a:gd name="connsiteY8" fmla="*/ 285464 h 1359693"/>
                <a:gd name="connsiteX9" fmla="*/ 236791 w 8071103"/>
                <a:gd name="connsiteY9" fmla="*/ 1074230 h 1359693"/>
                <a:gd name="connsiteX10" fmla="*/ 308134 w 8071103"/>
                <a:gd name="connsiteY10" fmla="*/ 1143667 h 1359693"/>
                <a:gd name="connsiteX11" fmla="*/ 379476 w 8071103"/>
                <a:gd name="connsiteY11" fmla="*/ 1074230 h 1359693"/>
                <a:gd name="connsiteX12" fmla="*/ 379476 w 8071103"/>
                <a:gd name="connsiteY12" fmla="*/ 783146 h 1359693"/>
                <a:gd name="connsiteX13" fmla="*/ 616077 w 8071103"/>
                <a:gd name="connsiteY13" fmla="*/ 783146 h 1359693"/>
                <a:gd name="connsiteX14" fmla="*/ 616077 w 8071103"/>
                <a:gd name="connsiteY14" fmla="*/ 1074230 h 1359693"/>
                <a:gd name="connsiteX15" fmla="*/ 308038 w 8071103"/>
                <a:gd name="connsiteY15" fmla="*/ 1359694 h 1359693"/>
                <a:gd name="connsiteX16" fmla="*/ 0 w 8071103"/>
                <a:gd name="connsiteY16" fmla="*/ 1074230 h 1359693"/>
                <a:gd name="connsiteX17" fmla="*/ 762476 w 8071103"/>
                <a:gd name="connsiteY17" fmla="*/ 22574 h 1359693"/>
                <a:gd name="connsiteX18" fmla="*/ 999077 w 8071103"/>
                <a:gd name="connsiteY18" fmla="*/ 22574 h 1359693"/>
                <a:gd name="connsiteX19" fmla="*/ 999077 w 8071103"/>
                <a:gd name="connsiteY19" fmla="*/ 1121283 h 1359693"/>
                <a:gd name="connsiteX20" fmla="*/ 1198150 w 8071103"/>
                <a:gd name="connsiteY20" fmla="*/ 1121283 h 1359693"/>
                <a:gd name="connsiteX21" fmla="*/ 1198150 w 8071103"/>
                <a:gd name="connsiteY21" fmla="*/ 1337215 h 1359693"/>
                <a:gd name="connsiteX22" fmla="*/ 762476 w 8071103"/>
                <a:gd name="connsiteY22" fmla="*/ 1337215 h 1359693"/>
                <a:gd name="connsiteX23" fmla="*/ 762476 w 8071103"/>
                <a:gd name="connsiteY23" fmla="*/ 22574 h 1359693"/>
                <a:gd name="connsiteX24" fmla="*/ 1293971 w 8071103"/>
                <a:gd name="connsiteY24" fmla="*/ 1074230 h 1359693"/>
                <a:gd name="connsiteX25" fmla="*/ 1293971 w 8071103"/>
                <a:gd name="connsiteY25" fmla="*/ 22479 h 1359693"/>
                <a:gd name="connsiteX26" fmla="*/ 1530572 w 8071103"/>
                <a:gd name="connsiteY26" fmla="*/ 22479 h 1359693"/>
                <a:gd name="connsiteX27" fmla="*/ 1530572 w 8071103"/>
                <a:gd name="connsiteY27" fmla="*/ 1074230 h 1359693"/>
                <a:gd name="connsiteX28" fmla="*/ 1600105 w 8071103"/>
                <a:gd name="connsiteY28" fmla="*/ 1143667 h 1359693"/>
                <a:gd name="connsiteX29" fmla="*/ 1671447 w 8071103"/>
                <a:gd name="connsiteY29" fmla="*/ 1074230 h 1359693"/>
                <a:gd name="connsiteX30" fmla="*/ 1671447 w 8071103"/>
                <a:gd name="connsiteY30" fmla="*/ 22479 h 1359693"/>
                <a:gd name="connsiteX31" fmla="*/ 1908048 w 8071103"/>
                <a:gd name="connsiteY31" fmla="*/ 22479 h 1359693"/>
                <a:gd name="connsiteX32" fmla="*/ 1908048 w 8071103"/>
                <a:gd name="connsiteY32" fmla="*/ 1074230 h 1359693"/>
                <a:gd name="connsiteX33" fmla="*/ 1600009 w 8071103"/>
                <a:gd name="connsiteY33" fmla="*/ 1359694 h 1359693"/>
                <a:gd name="connsiteX34" fmla="*/ 1293876 w 8071103"/>
                <a:gd name="connsiteY34" fmla="*/ 1074230 h 1359693"/>
                <a:gd name="connsiteX35" fmla="*/ 2060162 w 8071103"/>
                <a:gd name="connsiteY35" fmla="*/ 22574 h 1359693"/>
                <a:gd name="connsiteX36" fmla="*/ 2394490 w 8071103"/>
                <a:gd name="connsiteY36" fmla="*/ 22574 h 1359693"/>
                <a:gd name="connsiteX37" fmla="*/ 2674335 w 8071103"/>
                <a:gd name="connsiteY37" fmla="*/ 279844 h 1359693"/>
                <a:gd name="connsiteX38" fmla="*/ 2674335 w 8071103"/>
                <a:gd name="connsiteY38" fmla="*/ 458248 h 1359693"/>
                <a:gd name="connsiteX39" fmla="*/ 2565369 w 8071103"/>
                <a:gd name="connsiteY39" fmla="*/ 651701 h 1359693"/>
                <a:gd name="connsiteX40" fmla="*/ 2565369 w 8071103"/>
                <a:gd name="connsiteY40" fmla="*/ 662940 h 1359693"/>
                <a:gd name="connsiteX41" fmla="*/ 2685574 w 8071103"/>
                <a:gd name="connsiteY41" fmla="*/ 865727 h 1359693"/>
                <a:gd name="connsiteX42" fmla="*/ 2685574 w 8071103"/>
                <a:gd name="connsiteY42" fmla="*/ 1079849 h 1359693"/>
                <a:gd name="connsiteX43" fmla="*/ 2405729 w 8071103"/>
                <a:gd name="connsiteY43" fmla="*/ 1337120 h 1359693"/>
                <a:gd name="connsiteX44" fmla="*/ 2060162 w 8071103"/>
                <a:gd name="connsiteY44" fmla="*/ 1337120 h 1359693"/>
                <a:gd name="connsiteX45" fmla="*/ 2060162 w 8071103"/>
                <a:gd name="connsiteY45" fmla="*/ 22574 h 1359693"/>
                <a:gd name="connsiteX46" fmla="*/ 2296763 w 8071103"/>
                <a:gd name="connsiteY46" fmla="*/ 238506 h 1359693"/>
                <a:gd name="connsiteX47" fmla="*/ 2296763 w 8071103"/>
                <a:gd name="connsiteY47" fmla="*/ 569024 h 1359693"/>
                <a:gd name="connsiteX48" fmla="*/ 2366296 w 8071103"/>
                <a:gd name="connsiteY48" fmla="*/ 569024 h 1359693"/>
                <a:gd name="connsiteX49" fmla="*/ 2437638 w 8071103"/>
                <a:gd name="connsiteY49" fmla="*/ 497681 h 1359693"/>
                <a:gd name="connsiteX50" fmla="*/ 2437638 w 8071103"/>
                <a:gd name="connsiteY50" fmla="*/ 307943 h 1359693"/>
                <a:gd name="connsiteX51" fmla="*/ 2366296 w 8071103"/>
                <a:gd name="connsiteY51" fmla="*/ 238506 h 1359693"/>
                <a:gd name="connsiteX52" fmla="*/ 2296763 w 8071103"/>
                <a:gd name="connsiteY52" fmla="*/ 238506 h 1359693"/>
                <a:gd name="connsiteX53" fmla="*/ 2296763 w 8071103"/>
                <a:gd name="connsiteY53" fmla="*/ 770001 h 1359693"/>
                <a:gd name="connsiteX54" fmla="*/ 2296763 w 8071103"/>
                <a:gd name="connsiteY54" fmla="*/ 1121188 h 1359693"/>
                <a:gd name="connsiteX55" fmla="*/ 2379440 w 8071103"/>
                <a:gd name="connsiteY55" fmla="*/ 1121188 h 1359693"/>
                <a:gd name="connsiteX56" fmla="*/ 2448973 w 8071103"/>
                <a:gd name="connsiteY56" fmla="*/ 1051655 h 1359693"/>
                <a:gd name="connsiteX57" fmla="*/ 2448973 w 8071103"/>
                <a:gd name="connsiteY57" fmla="*/ 841343 h 1359693"/>
                <a:gd name="connsiteX58" fmla="*/ 2379440 w 8071103"/>
                <a:gd name="connsiteY58" fmla="*/ 770001 h 1359693"/>
                <a:gd name="connsiteX59" fmla="*/ 2296763 w 8071103"/>
                <a:gd name="connsiteY59" fmla="*/ 770001 h 1359693"/>
                <a:gd name="connsiteX60" fmla="*/ 3094482 w 8071103"/>
                <a:gd name="connsiteY60" fmla="*/ 1074230 h 1359693"/>
                <a:gd name="connsiteX61" fmla="*/ 3094482 w 8071103"/>
                <a:gd name="connsiteY61" fmla="*/ 283559 h 1359693"/>
                <a:gd name="connsiteX62" fmla="*/ 3402520 w 8071103"/>
                <a:gd name="connsiteY62" fmla="*/ 0 h 1359693"/>
                <a:gd name="connsiteX63" fmla="*/ 3710559 w 8071103"/>
                <a:gd name="connsiteY63" fmla="*/ 283559 h 1359693"/>
                <a:gd name="connsiteX64" fmla="*/ 3710559 w 8071103"/>
                <a:gd name="connsiteY64" fmla="*/ 557784 h 1359693"/>
                <a:gd name="connsiteX65" fmla="*/ 3473958 w 8071103"/>
                <a:gd name="connsiteY65" fmla="*/ 557784 h 1359693"/>
                <a:gd name="connsiteX66" fmla="*/ 3473958 w 8071103"/>
                <a:gd name="connsiteY66" fmla="*/ 285464 h 1359693"/>
                <a:gd name="connsiteX67" fmla="*/ 3402616 w 8071103"/>
                <a:gd name="connsiteY67" fmla="*/ 215932 h 1359693"/>
                <a:gd name="connsiteX68" fmla="*/ 3331274 w 8071103"/>
                <a:gd name="connsiteY68" fmla="*/ 285464 h 1359693"/>
                <a:gd name="connsiteX69" fmla="*/ 3331274 w 8071103"/>
                <a:gd name="connsiteY69" fmla="*/ 1074230 h 1359693"/>
                <a:gd name="connsiteX70" fmla="*/ 3402616 w 8071103"/>
                <a:gd name="connsiteY70" fmla="*/ 1143667 h 1359693"/>
                <a:gd name="connsiteX71" fmla="*/ 3473958 w 8071103"/>
                <a:gd name="connsiteY71" fmla="*/ 1074230 h 1359693"/>
                <a:gd name="connsiteX72" fmla="*/ 3473958 w 8071103"/>
                <a:gd name="connsiteY72" fmla="*/ 783146 h 1359693"/>
                <a:gd name="connsiteX73" fmla="*/ 3710559 w 8071103"/>
                <a:gd name="connsiteY73" fmla="*/ 783146 h 1359693"/>
                <a:gd name="connsiteX74" fmla="*/ 3710559 w 8071103"/>
                <a:gd name="connsiteY74" fmla="*/ 1074230 h 1359693"/>
                <a:gd name="connsiteX75" fmla="*/ 3402520 w 8071103"/>
                <a:gd name="connsiteY75" fmla="*/ 1359694 h 1359693"/>
                <a:gd name="connsiteX76" fmla="*/ 3094482 w 8071103"/>
                <a:gd name="connsiteY76" fmla="*/ 1074230 h 1359693"/>
                <a:gd name="connsiteX77" fmla="*/ 3849434 w 8071103"/>
                <a:gd name="connsiteY77" fmla="*/ 1074230 h 1359693"/>
                <a:gd name="connsiteX78" fmla="*/ 3849434 w 8071103"/>
                <a:gd name="connsiteY78" fmla="*/ 283559 h 1359693"/>
                <a:gd name="connsiteX79" fmla="*/ 4157472 w 8071103"/>
                <a:gd name="connsiteY79" fmla="*/ 0 h 1359693"/>
                <a:gd name="connsiteX80" fmla="*/ 4465511 w 8071103"/>
                <a:gd name="connsiteY80" fmla="*/ 283559 h 1359693"/>
                <a:gd name="connsiteX81" fmla="*/ 4465511 w 8071103"/>
                <a:gd name="connsiteY81" fmla="*/ 1074230 h 1359693"/>
                <a:gd name="connsiteX82" fmla="*/ 4157472 w 8071103"/>
                <a:gd name="connsiteY82" fmla="*/ 1359694 h 1359693"/>
                <a:gd name="connsiteX83" fmla="*/ 3849434 w 8071103"/>
                <a:gd name="connsiteY83" fmla="*/ 1074230 h 1359693"/>
                <a:gd name="connsiteX84" fmla="*/ 4228814 w 8071103"/>
                <a:gd name="connsiteY84" fmla="*/ 1074230 h 1359693"/>
                <a:gd name="connsiteX85" fmla="*/ 4228814 w 8071103"/>
                <a:gd name="connsiteY85" fmla="*/ 285464 h 1359693"/>
                <a:gd name="connsiteX86" fmla="*/ 4157472 w 8071103"/>
                <a:gd name="connsiteY86" fmla="*/ 215932 h 1359693"/>
                <a:gd name="connsiteX87" fmla="*/ 4086130 w 8071103"/>
                <a:gd name="connsiteY87" fmla="*/ 285464 h 1359693"/>
                <a:gd name="connsiteX88" fmla="*/ 4086130 w 8071103"/>
                <a:gd name="connsiteY88" fmla="*/ 1074230 h 1359693"/>
                <a:gd name="connsiteX89" fmla="*/ 4157472 w 8071103"/>
                <a:gd name="connsiteY89" fmla="*/ 1143667 h 1359693"/>
                <a:gd name="connsiteX90" fmla="*/ 4228814 w 8071103"/>
                <a:gd name="connsiteY90" fmla="*/ 1074230 h 1359693"/>
                <a:gd name="connsiteX91" fmla="*/ 4613720 w 8071103"/>
                <a:gd name="connsiteY91" fmla="*/ 22574 h 1359693"/>
                <a:gd name="connsiteX92" fmla="*/ 4886039 w 8071103"/>
                <a:gd name="connsiteY92" fmla="*/ 22574 h 1359693"/>
                <a:gd name="connsiteX93" fmla="*/ 5021294 w 8071103"/>
                <a:gd name="connsiteY93" fmla="*/ 646081 h 1359693"/>
                <a:gd name="connsiteX94" fmla="*/ 5040059 w 8071103"/>
                <a:gd name="connsiteY94" fmla="*/ 811340 h 1359693"/>
                <a:gd name="connsiteX95" fmla="*/ 5071967 w 8071103"/>
                <a:gd name="connsiteY95" fmla="*/ 811340 h 1359693"/>
                <a:gd name="connsiteX96" fmla="*/ 5051298 w 8071103"/>
                <a:gd name="connsiteY96" fmla="*/ 646081 h 1359693"/>
                <a:gd name="connsiteX97" fmla="*/ 5051298 w 8071103"/>
                <a:gd name="connsiteY97" fmla="*/ 22574 h 1359693"/>
                <a:gd name="connsiteX98" fmla="*/ 5287899 w 8071103"/>
                <a:gd name="connsiteY98" fmla="*/ 22574 h 1359693"/>
                <a:gd name="connsiteX99" fmla="*/ 5287899 w 8071103"/>
                <a:gd name="connsiteY99" fmla="*/ 1337215 h 1359693"/>
                <a:gd name="connsiteX100" fmla="*/ 5017485 w 8071103"/>
                <a:gd name="connsiteY100" fmla="*/ 1337215 h 1359693"/>
                <a:gd name="connsiteX101" fmla="*/ 4882230 w 8071103"/>
                <a:gd name="connsiteY101" fmla="*/ 713708 h 1359693"/>
                <a:gd name="connsiteX102" fmla="*/ 4861560 w 8071103"/>
                <a:gd name="connsiteY102" fmla="*/ 548450 h 1359693"/>
                <a:gd name="connsiteX103" fmla="*/ 4829651 w 8071103"/>
                <a:gd name="connsiteY103" fmla="*/ 548450 h 1359693"/>
                <a:gd name="connsiteX104" fmla="*/ 4850320 w 8071103"/>
                <a:gd name="connsiteY104" fmla="*/ 713708 h 1359693"/>
                <a:gd name="connsiteX105" fmla="*/ 4850320 w 8071103"/>
                <a:gd name="connsiteY105" fmla="*/ 1337215 h 1359693"/>
                <a:gd name="connsiteX106" fmla="*/ 4613720 w 8071103"/>
                <a:gd name="connsiteY106" fmla="*/ 1337215 h 1359693"/>
                <a:gd name="connsiteX107" fmla="*/ 4613720 w 8071103"/>
                <a:gd name="connsiteY107" fmla="*/ 22574 h 1359693"/>
                <a:gd name="connsiteX108" fmla="*/ 5443823 w 8071103"/>
                <a:gd name="connsiteY108" fmla="*/ 22574 h 1359693"/>
                <a:gd name="connsiteX109" fmla="*/ 5716143 w 8071103"/>
                <a:gd name="connsiteY109" fmla="*/ 22574 h 1359693"/>
                <a:gd name="connsiteX110" fmla="*/ 5851398 w 8071103"/>
                <a:gd name="connsiteY110" fmla="*/ 646081 h 1359693"/>
                <a:gd name="connsiteX111" fmla="*/ 5870162 w 8071103"/>
                <a:gd name="connsiteY111" fmla="*/ 811340 h 1359693"/>
                <a:gd name="connsiteX112" fmla="*/ 5902071 w 8071103"/>
                <a:gd name="connsiteY112" fmla="*/ 811340 h 1359693"/>
                <a:gd name="connsiteX113" fmla="*/ 5881402 w 8071103"/>
                <a:gd name="connsiteY113" fmla="*/ 646081 h 1359693"/>
                <a:gd name="connsiteX114" fmla="*/ 5881402 w 8071103"/>
                <a:gd name="connsiteY114" fmla="*/ 22574 h 1359693"/>
                <a:gd name="connsiteX115" fmla="*/ 6118003 w 8071103"/>
                <a:gd name="connsiteY115" fmla="*/ 22574 h 1359693"/>
                <a:gd name="connsiteX116" fmla="*/ 6118003 w 8071103"/>
                <a:gd name="connsiteY116" fmla="*/ 1337215 h 1359693"/>
                <a:gd name="connsiteX117" fmla="*/ 5847588 w 8071103"/>
                <a:gd name="connsiteY117" fmla="*/ 1337215 h 1359693"/>
                <a:gd name="connsiteX118" fmla="*/ 5712333 w 8071103"/>
                <a:gd name="connsiteY118" fmla="*/ 713708 h 1359693"/>
                <a:gd name="connsiteX119" fmla="*/ 5691664 w 8071103"/>
                <a:gd name="connsiteY119" fmla="*/ 548450 h 1359693"/>
                <a:gd name="connsiteX120" fmla="*/ 5659755 w 8071103"/>
                <a:gd name="connsiteY120" fmla="*/ 548450 h 1359693"/>
                <a:gd name="connsiteX121" fmla="*/ 5680424 w 8071103"/>
                <a:gd name="connsiteY121" fmla="*/ 713708 h 1359693"/>
                <a:gd name="connsiteX122" fmla="*/ 5680424 w 8071103"/>
                <a:gd name="connsiteY122" fmla="*/ 1337215 h 1359693"/>
                <a:gd name="connsiteX123" fmla="*/ 5443823 w 8071103"/>
                <a:gd name="connsiteY123" fmla="*/ 1337215 h 1359693"/>
                <a:gd name="connsiteX124" fmla="*/ 5443823 w 8071103"/>
                <a:gd name="connsiteY124" fmla="*/ 22574 h 1359693"/>
                <a:gd name="connsiteX125" fmla="*/ 6273832 w 8071103"/>
                <a:gd name="connsiteY125" fmla="*/ 22574 h 1359693"/>
                <a:gd name="connsiteX126" fmla="*/ 6720840 w 8071103"/>
                <a:gd name="connsiteY126" fmla="*/ 22574 h 1359693"/>
                <a:gd name="connsiteX127" fmla="*/ 6720840 w 8071103"/>
                <a:gd name="connsiteY127" fmla="*/ 238601 h 1359693"/>
                <a:gd name="connsiteX128" fmla="*/ 6510528 w 8071103"/>
                <a:gd name="connsiteY128" fmla="*/ 238601 h 1359693"/>
                <a:gd name="connsiteX129" fmla="*/ 6510528 w 8071103"/>
                <a:gd name="connsiteY129" fmla="*/ 565404 h 1359693"/>
                <a:gd name="connsiteX130" fmla="*/ 6700172 w 8071103"/>
                <a:gd name="connsiteY130" fmla="*/ 565404 h 1359693"/>
                <a:gd name="connsiteX131" fmla="*/ 6700172 w 8071103"/>
                <a:gd name="connsiteY131" fmla="*/ 775716 h 1359693"/>
                <a:gd name="connsiteX132" fmla="*/ 6510528 w 8071103"/>
                <a:gd name="connsiteY132" fmla="*/ 775716 h 1359693"/>
                <a:gd name="connsiteX133" fmla="*/ 6510528 w 8071103"/>
                <a:gd name="connsiteY133" fmla="*/ 1121283 h 1359693"/>
                <a:gd name="connsiteX134" fmla="*/ 6720840 w 8071103"/>
                <a:gd name="connsiteY134" fmla="*/ 1121283 h 1359693"/>
                <a:gd name="connsiteX135" fmla="*/ 6720840 w 8071103"/>
                <a:gd name="connsiteY135" fmla="*/ 1337215 h 1359693"/>
                <a:gd name="connsiteX136" fmla="*/ 6273832 w 8071103"/>
                <a:gd name="connsiteY136" fmla="*/ 1337215 h 1359693"/>
                <a:gd name="connsiteX137" fmla="*/ 6273832 w 8071103"/>
                <a:gd name="connsiteY137" fmla="*/ 22574 h 1359693"/>
                <a:gd name="connsiteX138" fmla="*/ 6846665 w 8071103"/>
                <a:gd name="connsiteY138" fmla="*/ 1074230 h 1359693"/>
                <a:gd name="connsiteX139" fmla="*/ 6846665 w 8071103"/>
                <a:gd name="connsiteY139" fmla="*/ 283559 h 1359693"/>
                <a:gd name="connsiteX140" fmla="*/ 7154704 w 8071103"/>
                <a:gd name="connsiteY140" fmla="*/ 0 h 1359693"/>
                <a:gd name="connsiteX141" fmla="*/ 7462742 w 8071103"/>
                <a:gd name="connsiteY141" fmla="*/ 283559 h 1359693"/>
                <a:gd name="connsiteX142" fmla="*/ 7462742 w 8071103"/>
                <a:gd name="connsiteY142" fmla="*/ 557784 h 1359693"/>
                <a:gd name="connsiteX143" fmla="*/ 7226142 w 8071103"/>
                <a:gd name="connsiteY143" fmla="*/ 557784 h 1359693"/>
                <a:gd name="connsiteX144" fmla="*/ 7226142 w 8071103"/>
                <a:gd name="connsiteY144" fmla="*/ 285464 h 1359693"/>
                <a:gd name="connsiteX145" fmla="*/ 7154800 w 8071103"/>
                <a:gd name="connsiteY145" fmla="*/ 215932 h 1359693"/>
                <a:gd name="connsiteX146" fmla="*/ 7083457 w 8071103"/>
                <a:gd name="connsiteY146" fmla="*/ 285464 h 1359693"/>
                <a:gd name="connsiteX147" fmla="*/ 7083457 w 8071103"/>
                <a:gd name="connsiteY147" fmla="*/ 1074230 h 1359693"/>
                <a:gd name="connsiteX148" fmla="*/ 7154800 w 8071103"/>
                <a:gd name="connsiteY148" fmla="*/ 1143667 h 1359693"/>
                <a:gd name="connsiteX149" fmla="*/ 7226142 w 8071103"/>
                <a:gd name="connsiteY149" fmla="*/ 1074230 h 1359693"/>
                <a:gd name="connsiteX150" fmla="*/ 7226142 w 8071103"/>
                <a:gd name="connsiteY150" fmla="*/ 783146 h 1359693"/>
                <a:gd name="connsiteX151" fmla="*/ 7462742 w 8071103"/>
                <a:gd name="connsiteY151" fmla="*/ 783146 h 1359693"/>
                <a:gd name="connsiteX152" fmla="*/ 7462742 w 8071103"/>
                <a:gd name="connsiteY152" fmla="*/ 1074230 h 1359693"/>
                <a:gd name="connsiteX153" fmla="*/ 7154704 w 8071103"/>
                <a:gd name="connsiteY153" fmla="*/ 1359694 h 1359693"/>
                <a:gd name="connsiteX154" fmla="*/ 6846665 w 8071103"/>
                <a:gd name="connsiteY154" fmla="*/ 1074230 h 1359693"/>
                <a:gd name="connsiteX155" fmla="*/ 7699248 w 8071103"/>
                <a:gd name="connsiteY155" fmla="*/ 238506 h 1359693"/>
                <a:gd name="connsiteX156" fmla="*/ 7563993 w 8071103"/>
                <a:gd name="connsiteY156" fmla="*/ 238506 h 1359693"/>
                <a:gd name="connsiteX157" fmla="*/ 7563993 w 8071103"/>
                <a:gd name="connsiteY157" fmla="*/ 22479 h 1359693"/>
                <a:gd name="connsiteX158" fmla="*/ 8071104 w 8071103"/>
                <a:gd name="connsiteY158" fmla="*/ 22479 h 1359693"/>
                <a:gd name="connsiteX159" fmla="*/ 8071104 w 8071103"/>
                <a:gd name="connsiteY159" fmla="*/ 238506 h 1359693"/>
                <a:gd name="connsiteX160" fmla="*/ 7935850 w 8071103"/>
                <a:gd name="connsiteY160" fmla="*/ 238506 h 1359693"/>
                <a:gd name="connsiteX161" fmla="*/ 7935850 w 8071103"/>
                <a:gd name="connsiteY161" fmla="*/ 1337120 h 1359693"/>
                <a:gd name="connsiteX162" fmla="*/ 7699248 w 8071103"/>
                <a:gd name="connsiteY162" fmla="*/ 1337120 h 1359693"/>
                <a:gd name="connsiteX163" fmla="*/ 7699248 w 8071103"/>
                <a:gd name="connsiteY163" fmla="*/ 238506 h 1359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8071103" h="1359693">
                  <a:moveTo>
                    <a:pt x="0" y="1074230"/>
                  </a:moveTo>
                  <a:lnTo>
                    <a:pt x="0" y="283559"/>
                  </a:lnTo>
                  <a:cubicBezTo>
                    <a:pt x="0" y="114490"/>
                    <a:pt x="123920" y="0"/>
                    <a:pt x="308038" y="0"/>
                  </a:cubicBezTo>
                  <a:cubicBezTo>
                    <a:pt x="492157" y="0"/>
                    <a:pt x="616077" y="114586"/>
                    <a:pt x="616077" y="283559"/>
                  </a:cubicBezTo>
                  <a:lnTo>
                    <a:pt x="616077" y="557784"/>
                  </a:lnTo>
                  <a:lnTo>
                    <a:pt x="379476" y="557784"/>
                  </a:lnTo>
                  <a:lnTo>
                    <a:pt x="379476" y="285464"/>
                  </a:lnTo>
                  <a:cubicBezTo>
                    <a:pt x="379476" y="242316"/>
                    <a:pt x="351282" y="215932"/>
                    <a:pt x="308134" y="215932"/>
                  </a:cubicBezTo>
                  <a:cubicBezTo>
                    <a:pt x="264986" y="215932"/>
                    <a:pt x="236791" y="242221"/>
                    <a:pt x="236791" y="285464"/>
                  </a:cubicBezTo>
                  <a:lnTo>
                    <a:pt x="236791" y="1074230"/>
                  </a:lnTo>
                  <a:cubicBezTo>
                    <a:pt x="236791" y="1117378"/>
                    <a:pt x="264986" y="1143667"/>
                    <a:pt x="308134" y="1143667"/>
                  </a:cubicBezTo>
                  <a:cubicBezTo>
                    <a:pt x="351282" y="1143667"/>
                    <a:pt x="379476" y="1117378"/>
                    <a:pt x="379476" y="1074230"/>
                  </a:cubicBezTo>
                  <a:lnTo>
                    <a:pt x="379476" y="783146"/>
                  </a:lnTo>
                  <a:lnTo>
                    <a:pt x="616077" y="783146"/>
                  </a:lnTo>
                  <a:lnTo>
                    <a:pt x="616077" y="1074230"/>
                  </a:lnTo>
                  <a:cubicBezTo>
                    <a:pt x="616077" y="1245108"/>
                    <a:pt x="492157" y="1359694"/>
                    <a:pt x="308038" y="1359694"/>
                  </a:cubicBezTo>
                  <a:cubicBezTo>
                    <a:pt x="123920" y="1359694"/>
                    <a:pt x="0" y="1245108"/>
                    <a:pt x="0" y="1074230"/>
                  </a:cubicBezTo>
                  <a:close/>
                  <a:moveTo>
                    <a:pt x="762476" y="22574"/>
                  </a:moveTo>
                  <a:lnTo>
                    <a:pt x="999077" y="22574"/>
                  </a:lnTo>
                  <a:lnTo>
                    <a:pt x="999077" y="1121283"/>
                  </a:lnTo>
                  <a:lnTo>
                    <a:pt x="1198150" y="1121283"/>
                  </a:lnTo>
                  <a:lnTo>
                    <a:pt x="1198150" y="1337215"/>
                  </a:lnTo>
                  <a:lnTo>
                    <a:pt x="762476" y="1337215"/>
                  </a:lnTo>
                  <a:lnTo>
                    <a:pt x="762476" y="22574"/>
                  </a:lnTo>
                  <a:close/>
                  <a:moveTo>
                    <a:pt x="1293971" y="1074230"/>
                  </a:moveTo>
                  <a:lnTo>
                    <a:pt x="1293971" y="22479"/>
                  </a:lnTo>
                  <a:lnTo>
                    <a:pt x="1530572" y="22479"/>
                  </a:lnTo>
                  <a:lnTo>
                    <a:pt x="1530572" y="1074230"/>
                  </a:lnTo>
                  <a:cubicBezTo>
                    <a:pt x="1530572" y="1117378"/>
                    <a:pt x="1558766" y="1143667"/>
                    <a:pt x="1600105" y="1143667"/>
                  </a:cubicBezTo>
                  <a:cubicBezTo>
                    <a:pt x="1641443" y="1143667"/>
                    <a:pt x="1671447" y="1117378"/>
                    <a:pt x="1671447" y="1074230"/>
                  </a:cubicBezTo>
                  <a:lnTo>
                    <a:pt x="1671447" y="22479"/>
                  </a:lnTo>
                  <a:lnTo>
                    <a:pt x="1908048" y="22479"/>
                  </a:lnTo>
                  <a:lnTo>
                    <a:pt x="1908048" y="1074230"/>
                  </a:lnTo>
                  <a:cubicBezTo>
                    <a:pt x="1908048" y="1245108"/>
                    <a:pt x="1784128" y="1359694"/>
                    <a:pt x="1600009" y="1359694"/>
                  </a:cubicBezTo>
                  <a:cubicBezTo>
                    <a:pt x="1415891" y="1359694"/>
                    <a:pt x="1293876" y="1245108"/>
                    <a:pt x="1293876" y="1074230"/>
                  </a:cubicBezTo>
                  <a:close/>
                  <a:moveTo>
                    <a:pt x="2060162" y="22574"/>
                  </a:moveTo>
                  <a:lnTo>
                    <a:pt x="2394490" y="22574"/>
                  </a:lnTo>
                  <a:cubicBezTo>
                    <a:pt x="2561654" y="22574"/>
                    <a:pt x="2674335" y="125921"/>
                    <a:pt x="2674335" y="279844"/>
                  </a:cubicBezTo>
                  <a:lnTo>
                    <a:pt x="2674335" y="458248"/>
                  </a:lnTo>
                  <a:cubicBezTo>
                    <a:pt x="2674335" y="537115"/>
                    <a:pt x="2638616" y="617887"/>
                    <a:pt x="2565369" y="651701"/>
                  </a:cubicBezTo>
                  <a:lnTo>
                    <a:pt x="2565369" y="662940"/>
                  </a:lnTo>
                  <a:cubicBezTo>
                    <a:pt x="2644235" y="696754"/>
                    <a:pt x="2685574" y="781240"/>
                    <a:pt x="2685574" y="865727"/>
                  </a:cubicBezTo>
                  <a:lnTo>
                    <a:pt x="2685574" y="1079849"/>
                  </a:lnTo>
                  <a:cubicBezTo>
                    <a:pt x="2685574" y="1233869"/>
                    <a:pt x="2574798" y="1337120"/>
                    <a:pt x="2405729" y="1337120"/>
                  </a:cubicBezTo>
                  <a:lnTo>
                    <a:pt x="2060162" y="1337120"/>
                  </a:lnTo>
                  <a:lnTo>
                    <a:pt x="2060162" y="22574"/>
                  </a:lnTo>
                  <a:close/>
                  <a:moveTo>
                    <a:pt x="2296763" y="238506"/>
                  </a:moveTo>
                  <a:lnTo>
                    <a:pt x="2296763" y="569024"/>
                  </a:lnTo>
                  <a:lnTo>
                    <a:pt x="2366296" y="569024"/>
                  </a:lnTo>
                  <a:cubicBezTo>
                    <a:pt x="2409444" y="569024"/>
                    <a:pt x="2437638" y="540830"/>
                    <a:pt x="2437638" y="497681"/>
                  </a:cubicBezTo>
                  <a:lnTo>
                    <a:pt x="2437638" y="307943"/>
                  </a:lnTo>
                  <a:cubicBezTo>
                    <a:pt x="2437638" y="264795"/>
                    <a:pt x="2409444" y="238506"/>
                    <a:pt x="2366296" y="238506"/>
                  </a:cubicBezTo>
                  <a:lnTo>
                    <a:pt x="2296763" y="238506"/>
                  </a:lnTo>
                  <a:close/>
                  <a:moveTo>
                    <a:pt x="2296763" y="770001"/>
                  </a:moveTo>
                  <a:lnTo>
                    <a:pt x="2296763" y="1121188"/>
                  </a:lnTo>
                  <a:lnTo>
                    <a:pt x="2379440" y="1121188"/>
                  </a:lnTo>
                  <a:cubicBezTo>
                    <a:pt x="2420779" y="1121188"/>
                    <a:pt x="2448973" y="1094899"/>
                    <a:pt x="2448973" y="1051655"/>
                  </a:cubicBezTo>
                  <a:lnTo>
                    <a:pt x="2448973" y="841343"/>
                  </a:lnTo>
                  <a:cubicBezTo>
                    <a:pt x="2448973" y="798195"/>
                    <a:pt x="2420779" y="770001"/>
                    <a:pt x="2379440" y="770001"/>
                  </a:cubicBezTo>
                  <a:lnTo>
                    <a:pt x="2296763" y="770001"/>
                  </a:lnTo>
                  <a:close/>
                  <a:moveTo>
                    <a:pt x="3094482" y="1074230"/>
                  </a:moveTo>
                  <a:lnTo>
                    <a:pt x="3094482" y="283559"/>
                  </a:lnTo>
                  <a:cubicBezTo>
                    <a:pt x="3094482" y="114490"/>
                    <a:pt x="3218403" y="0"/>
                    <a:pt x="3402520" y="0"/>
                  </a:cubicBezTo>
                  <a:cubicBezTo>
                    <a:pt x="3586639" y="0"/>
                    <a:pt x="3710559" y="114586"/>
                    <a:pt x="3710559" y="283559"/>
                  </a:cubicBezTo>
                  <a:lnTo>
                    <a:pt x="3710559" y="557784"/>
                  </a:lnTo>
                  <a:lnTo>
                    <a:pt x="3473958" y="557784"/>
                  </a:lnTo>
                  <a:lnTo>
                    <a:pt x="3473958" y="285464"/>
                  </a:lnTo>
                  <a:cubicBezTo>
                    <a:pt x="3473958" y="242316"/>
                    <a:pt x="3445764" y="215932"/>
                    <a:pt x="3402616" y="215932"/>
                  </a:cubicBezTo>
                  <a:cubicBezTo>
                    <a:pt x="3359468" y="215932"/>
                    <a:pt x="3331274" y="242221"/>
                    <a:pt x="3331274" y="285464"/>
                  </a:cubicBezTo>
                  <a:lnTo>
                    <a:pt x="3331274" y="1074230"/>
                  </a:lnTo>
                  <a:cubicBezTo>
                    <a:pt x="3331274" y="1117378"/>
                    <a:pt x="3359468" y="1143667"/>
                    <a:pt x="3402616" y="1143667"/>
                  </a:cubicBezTo>
                  <a:cubicBezTo>
                    <a:pt x="3445764" y="1143667"/>
                    <a:pt x="3473958" y="1117378"/>
                    <a:pt x="3473958" y="1074230"/>
                  </a:cubicBezTo>
                  <a:lnTo>
                    <a:pt x="3473958" y="783146"/>
                  </a:lnTo>
                  <a:lnTo>
                    <a:pt x="3710559" y="783146"/>
                  </a:lnTo>
                  <a:lnTo>
                    <a:pt x="3710559" y="1074230"/>
                  </a:lnTo>
                  <a:cubicBezTo>
                    <a:pt x="3710559" y="1245108"/>
                    <a:pt x="3586639" y="1359694"/>
                    <a:pt x="3402520" y="1359694"/>
                  </a:cubicBezTo>
                  <a:cubicBezTo>
                    <a:pt x="3218403" y="1359694"/>
                    <a:pt x="3094482" y="1245108"/>
                    <a:pt x="3094482" y="1074230"/>
                  </a:cubicBezTo>
                  <a:close/>
                  <a:moveTo>
                    <a:pt x="3849434" y="1074230"/>
                  </a:moveTo>
                  <a:lnTo>
                    <a:pt x="3849434" y="283559"/>
                  </a:lnTo>
                  <a:cubicBezTo>
                    <a:pt x="3849434" y="114490"/>
                    <a:pt x="3973354" y="0"/>
                    <a:pt x="4157472" y="0"/>
                  </a:cubicBezTo>
                  <a:cubicBezTo>
                    <a:pt x="4341590" y="0"/>
                    <a:pt x="4465511" y="114586"/>
                    <a:pt x="4465511" y="283559"/>
                  </a:cubicBezTo>
                  <a:lnTo>
                    <a:pt x="4465511" y="1074230"/>
                  </a:lnTo>
                  <a:cubicBezTo>
                    <a:pt x="4465511" y="1245108"/>
                    <a:pt x="4341590" y="1359694"/>
                    <a:pt x="4157472" y="1359694"/>
                  </a:cubicBezTo>
                  <a:cubicBezTo>
                    <a:pt x="3973354" y="1359694"/>
                    <a:pt x="3849434" y="1245108"/>
                    <a:pt x="3849434" y="1074230"/>
                  </a:cubicBezTo>
                  <a:close/>
                  <a:moveTo>
                    <a:pt x="4228814" y="1074230"/>
                  </a:moveTo>
                  <a:lnTo>
                    <a:pt x="4228814" y="285464"/>
                  </a:lnTo>
                  <a:cubicBezTo>
                    <a:pt x="4228814" y="242316"/>
                    <a:pt x="4200621" y="215932"/>
                    <a:pt x="4157472" y="215932"/>
                  </a:cubicBezTo>
                  <a:cubicBezTo>
                    <a:pt x="4114324" y="215932"/>
                    <a:pt x="4086130" y="242221"/>
                    <a:pt x="4086130" y="285464"/>
                  </a:cubicBezTo>
                  <a:lnTo>
                    <a:pt x="4086130" y="1074230"/>
                  </a:lnTo>
                  <a:cubicBezTo>
                    <a:pt x="4086130" y="1117378"/>
                    <a:pt x="4114324" y="1143667"/>
                    <a:pt x="4157472" y="1143667"/>
                  </a:cubicBezTo>
                  <a:cubicBezTo>
                    <a:pt x="4200621" y="1143667"/>
                    <a:pt x="4228814" y="1117378"/>
                    <a:pt x="4228814" y="1074230"/>
                  </a:cubicBezTo>
                  <a:close/>
                  <a:moveTo>
                    <a:pt x="4613720" y="22574"/>
                  </a:moveTo>
                  <a:lnTo>
                    <a:pt x="4886039" y="22574"/>
                  </a:lnTo>
                  <a:lnTo>
                    <a:pt x="5021294" y="646081"/>
                  </a:lnTo>
                  <a:lnTo>
                    <a:pt x="5040059" y="811340"/>
                  </a:lnTo>
                  <a:lnTo>
                    <a:pt x="5071967" y="811340"/>
                  </a:lnTo>
                  <a:lnTo>
                    <a:pt x="5051298" y="646081"/>
                  </a:lnTo>
                  <a:lnTo>
                    <a:pt x="5051298" y="22574"/>
                  </a:lnTo>
                  <a:lnTo>
                    <a:pt x="5287899" y="22574"/>
                  </a:lnTo>
                  <a:lnTo>
                    <a:pt x="5287899" y="1337215"/>
                  </a:lnTo>
                  <a:lnTo>
                    <a:pt x="5017485" y="1337215"/>
                  </a:lnTo>
                  <a:lnTo>
                    <a:pt x="4882230" y="713708"/>
                  </a:lnTo>
                  <a:lnTo>
                    <a:pt x="4861560" y="548450"/>
                  </a:lnTo>
                  <a:lnTo>
                    <a:pt x="4829651" y="548450"/>
                  </a:lnTo>
                  <a:lnTo>
                    <a:pt x="4850320" y="713708"/>
                  </a:lnTo>
                  <a:lnTo>
                    <a:pt x="4850320" y="1337215"/>
                  </a:lnTo>
                  <a:lnTo>
                    <a:pt x="4613720" y="1337215"/>
                  </a:lnTo>
                  <a:lnTo>
                    <a:pt x="4613720" y="22574"/>
                  </a:lnTo>
                  <a:close/>
                  <a:moveTo>
                    <a:pt x="5443823" y="22574"/>
                  </a:moveTo>
                  <a:lnTo>
                    <a:pt x="5716143" y="22574"/>
                  </a:lnTo>
                  <a:lnTo>
                    <a:pt x="5851398" y="646081"/>
                  </a:lnTo>
                  <a:lnTo>
                    <a:pt x="5870162" y="811340"/>
                  </a:lnTo>
                  <a:lnTo>
                    <a:pt x="5902071" y="811340"/>
                  </a:lnTo>
                  <a:lnTo>
                    <a:pt x="5881402" y="646081"/>
                  </a:lnTo>
                  <a:lnTo>
                    <a:pt x="5881402" y="22574"/>
                  </a:lnTo>
                  <a:lnTo>
                    <a:pt x="6118003" y="22574"/>
                  </a:lnTo>
                  <a:lnTo>
                    <a:pt x="6118003" y="1337215"/>
                  </a:lnTo>
                  <a:lnTo>
                    <a:pt x="5847588" y="1337215"/>
                  </a:lnTo>
                  <a:lnTo>
                    <a:pt x="5712333" y="713708"/>
                  </a:lnTo>
                  <a:lnTo>
                    <a:pt x="5691664" y="548450"/>
                  </a:lnTo>
                  <a:lnTo>
                    <a:pt x="5659755" y="548450"/>
                  </a:lnTo>
                  <a:lnTo>
                    <a:pt x="5680424" y="713708"/>
                  </a:lnTo>
                  <a:lnTo>
                    <a:pt x="5680424" y="1337215"/>
                  </a:lnTo>
                  <a:lnTo>
                    <a:pt x="5443823" y="1337215"/>
                  </a:lnTo>
                  <a:lnTo>
                    <a:pt x="5443823" y="22574"/>
                  </a:lnTo>
                  <a:close/>
                  <a:moveTo>
                    <a:pt x="6273832" y="22574"/>
                  </a:moveTo>
                  <a:lnTo>
                    <a:pt x="6720840" y="22574"/>
                  </a:lnTo>
                  <a:lnTo>
                    <a:pt x="6720840" y="238601"/>
                  </a:lnTo>
                  <a:lnTo>
                    <a:pt x="6510528" y="238601"/>
                  </a:lnTo>
                  <a:lnTo>
                    <a:pt x="6510528" y="565404"/>
                  </a:lnTo>
                  <a:lnTo>
                    <a:pt x="6700172" y="565404"/>
                  </a:lnTo>
                  <a:lnTo>
                    <a:pt x="6700172" y="775716"/>
                  </a:lnTo>
                  <a:lnTo>
                    <a:pt x="6510528" y="775716"/>
                  </a:lnTo>
                  <a:lnTo>
                    <a:pt x="6510528" y="1121283"/>
                  </a:lnTo>
                  <a:lnTo>
                    <a:pt x="6720840" y="1121283"/>
                  </a:lnTo>
                  <a:lnTo>
                    <a:pt x="6720840" y="1337215"/>
                  </a:lnTo>
                  <a:lnTo>
                    <a:pt x="6273832" y="1337215"/>
                  </a:lnTo>
                  <a:lnTo>
                    <a:pt x="6273832" y="22574"/>
                  </a:lnTo>
                  <a:close/>
                  <a:moveTo>
                    <a:pt x="6846665" y="1074230"/>
                  </a:moveTo>
                  <a:lnTo>
                    <a:pt x="6846665" y="283559"/>
                  </a:lnTo>
                  <a:cubicBezTo>
                    <a:pt x="6846665" y="114490"/>
                    <a:pt x="6970585" y="0"/>
                    <a:pt x="7154704" y="0"/>
                  </a:cubicBezTo>
                  <a:cubicBezTo>
                    <a:pt x="7338822" y="0"/>
                    <a:pt x="7462742" y="114586"/>
                    <a:pt x="7462742" y="283559"/>
                  </a:cubicBezTo>
                  <a:lnTo>
                    <a:pt x="7462742" y="557784"/>
                  </a:lnTo>
                  <a:lnTo>
                    <a:pt x="7226142" y="557784"/>
                  </a:lnTo>
                  <a:lnTo>
                    <a:pt x="7226142" y="285464"/>
                  </a:lnTo>
                  <a:cubicBezTo>
                    <a:pt x="7226142" y="242316"/>
                    <a:pt x="7197947" y="215932"/>
                    <a:pt x="7154800" y="215932"/>
                  </a:cubicBezTo>
                  <a:cubicBezTo>
                    <a:pt x="7111651" y="215932"/>
                    <a:pt x="7083457" y="242221"/>
                    <a:pt x="7083457" y="285464"/>
                  </a:cubicBezTo>
                  <a:lnTo>
                    <a:pt x="7083457" y="1074230"/>
                  </a:lnTo>
                  <a:cubicBezTo>
                    <a:pt x="7083457" y="1117378"/>
                    <a:pt x="7111651" y="1143667"/>
                    <a:pt x="7154800" y="1143667"/>
                  </a:cubicBezTo>
                  <a:cubicBezTo>
                    <a:pt x="7197947" y="1143667"/>
                    <a:pt x="7226142" y="1117378"/>
                    <a:pt x="7226142" y="1074230"/>
                  </a:cubicBezTo>
                  <a:lnTo>
                    <a:pt x="7226142" y="783146"/>
                  </a:lnTo>
                  <a:lnTo>
                    <a:pt x="7462742" y="783146"/>
                  </a:lnTo>
                  <a:lnTo>
                    <a:pt x="7462742" y="1074230"/>
                  </a:lnTo>
                  <a:cubicBezTo>
                    <a:pt x="7462742" y="1245108"/>
                    <a:pt x="7338822" y="1359694"/>
                    <a:pt x="7154704" y="1359694"/>
                  </a:cubicBezTo>
                  <a:cubicBezTo>
                    <a:pt x="6970585" y="1359694"/>
                    <a:pt x="6846665" y="1245108"/>
                    <a:pt x="6846665" y="1074230"/>
                  </a:cubicBezTo>
                  <a:close/>
                  <a:moveTo>
                    <a:pt x="7699248" y="238506"/>
                  </a:moveTo>
                  <a:lnTo>
                    <a:pt x="7563993" y="238506"/>
                  </a:lnTo>
                  <a:lnTo>
                    <a:pt x="7563993" y="22479"/>
                  </a:lnTo>
                  <a:lnTo>
                    <a:pt x="8071104" y="22479"/>
                  </a:lnTo>
                  <a:lnTo>
                    <a:pt x="8071104" y="238506"/>
                  </a:lnTo>
                  <a:lnTo>
                    <a:pt x="7935850" y="238506"/>
                  </a:lnTo>
                  <a:lnTo>
                    <a:pt x="7935850" y="1337120"/>
                  </a:lnTo>
                  <a:lnTo>
                    <a:pt x="7699248" y="1337120"/>
                  </a:lnTo>
                  <a:lnTo>
                    <a:pt x="7699248" y="238506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467250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ligh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D5F68A0-33FB-9348-B9CA-38FECCB3414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2468279 w 12192000"/>
              <a:gd name="connsiteY0" fmla="*/ 1666282 h 6858000"/>
              <a:gd name="connsiteX1" fmla="*/ 2492864 w 12192000"/>
              <a:gd name="connsiteY1" fmla="*/ 1666282 h 6858000"/>
              <a:gd name="connsiteX2" fmla="*/ 2513540 w 12192000"/>
              <a:gd name="connsiteY2" fmla="*/ 1687496 h 6858000"/>
              <a:gd name="connsiteX3" fmla="*/ 2513540 w 12192000"/>
              <a:gd name="connsiteY3" fmla="*/ 1750035 h 6858000"/>
              <a:gd name="connsiteX4" fmla="*/ 2492864 w 12192000"/>
              <a:gd name="connsiteY4" fmla="*/ 1770711 h 6858000"/>
              <a:gd name="connsiteX5" fmla="*/ 2468279 w 12192000"/>
              <a:gd name="connsiteY5" fmla="*/ 1770711 h 6858000"/>
              <a:gd name="connsiteX6" fmla="*/ 2468279 w 12192000"/>
              <a:gd name="connsiteY6" fmla="*/ 1508236 h 6858000"/>
              <a:gd name="connsiteX7" fmla="*/ 2488955 w 12192000"/>
              <a:gd name="connsiteY7" fmla="*/ 1508236 h 6858000"/>
              <a:gd name="connsiteX8" fmla="*/ 2510170 w 12192000"/>
              <a:gd name="connsiteY8" fmla="*/ 1528883 h 6858000"/>
              <a:gd name="connsiteX9" fmla="*/ 2510170 w 12192000"/>
              <a:gd name="connsiteY9" fmla="*/ 1585304 h 6858000"/>
              <a:gd name="connsiteX10" fmla="*/ 2488955 w 12192000"/>
              <a:gd name="connsiteY10" fmla="*/ 1606519 h 6858000"/>
              <a:gd name="connsiteX11" fmla="*/ 2468279 w 12192000"/>
              <a:gd name="connsiteY11" fmla="*/ 1606519 h 6858000"/>
              <a:gd name="connsiteX12" fmla="*/ 3021582 w 12192000"/>
              <a:gd name="connsiteY12" fmla="*/ 1501523 h 6858000"/>
              <a:gd name="connsiteX13" fmla="*/ 3042796 w 12192000"/>
              <a:gd name="connsiteY13" fmla="*/ 1522199 h 6858000"/>
              <a:gd name="connsiteX14" fmla="*/ 3042796 w 12192000"/>
              <a:gd name="connsiteY14" fmla="*/ 1756748 h 6858000"/>
              <a:gd name="connsiteX15" fmla="*/ 3021582 w 12192000"/>
              <a:gd name="connsiteY15" fmla="*/ 1777395 h 6858000"/>
              <a:gd name="connsiteX16" fmla="*/ 3000367 w 12192000"/>
              <a:gd name="connsiteY16" fmla="*/ 1756748 h 6858000"/>
              <a:gd name="connsiteX17" fmla="*/ 3000367 w 12192000"/>
              <a:gd name="connsiteY17" fmla="*/ 1522199 h 6858000"/>
              <a:gd name="connsiteX18" fmla="*/ 3021582 w 12192000"/>
              <a:gd name="connsiteY18" fmla="*/ 1501523 h 6858000"/>
              <a:gd name="connsiteX19" fmla="*/ 3650905 w 12192000"/>
              <a:gd name="connsiteY19" fmla="*/ 1444026 h 6858000"/>
              <a:gd name="connsiteX20" fmla="*/ 3650905 w 12192000"/>
              <a:gd name="connsiteY20" fmla="*/ 1834949 h 6858000"/>
              <a:gd name="connsiteX21" fmla="*/ 3783828 w 12192000"/>
              <a:gd name="connsiteY21" fmla="*/ 1834949 h 6858000"/>
              <a:gd name="connsiteX22" fmla="*/ 3783828 w 12192000"/>
              <a:gd name="connsiteY22" fmla="*/ 1770739 h 6858000"/>
              <a:gd name="connsiteX23" fmla="*/ 3721290 w 12192000"/>
              <a:gd name="connsiteY23" fmla="*/ 1770739 h 6858000"/>
              <a:gd name="connsiteX24" fmla="*/ 3721290 w 12192000"/>
              <a:gd name="connsiteY24" fmla="*/ 1667981 h 6858000"/>
              <a:gd name="connsiteX25" fmla="*/ 3777682 w 12192000"/>
              <a:gd name="connsiteY25" fmla="*/ 1667981 h 6858000"/>
              <a:gd name="connsiteX26" fmla="*/ 3777682 w 12192000"/>
              <a:gd name="connsiteY26" fmla="*/ 1605442 h 6858000"/>
              <a:gd name="connsiteX27" fmla="*/ 3721290 w 12192000"/>
              <a:gd name="connsiteY27" fmla="*/ 1605442 h 6858000"/>
              <a:gd name="connsiteX28" fmla="*/ 3721290 w 12192000"/>
              <a:gd name="connsiteY28" fmla="*/ 1508264 h 6858000"/>
              <a:gd name="connsiteX29" fmla="*/ 3783828 w 12192000"/>
              <a:gd name="connsiteY29" fmla="*/ 1508264 h 6858000"/>
              <a:gd name="connsiteX30" fmla="*/ 3783828 w 12192000"/>
              <a:gd name="connsiteY30" fmla="*/ 1444026 h 6858000"/>
              <a:gd name="connsiteX31" fmla="*/ 3404093 w 12192000"/>
              <a:gd name="connsiteY31" fmla="*/ 1444026 h 6858000"/>
              <a:gd name="connsiteX32" fmla="*/ 3404093 w 12192000"/>
              <a:gd name="connsiteY32" fmla="*/ 1834949 h 6858000"/>
              <a:gd name="connsiteX33" fmla="*/ 3474449 w 12192000"/>
              <a:gd name="connsiteY33" fmla="*/ 1834949 h 6858000"/>
              <a:gd name="connsiteX34" fmla="*/ 3474449 w 12192000"/>
              <a:gd name="connsiteY34" fmla="*/ 1649542 h 6858000"/>
              <a:gd name="connsiteX35" fmla="*/ 3468303 w 12192000"/>
              <a:gd name="connsiteY35" fmla="*/ 1600401 h 6858000"/>
              <a:gd name="connsiteX36" fmla="*/ 3477791 w 12192000"/>
              <a:gd name="connsiteY36" fmla="*/ 1600401 h 6858000"/>
              <a:gd name="connsiteX37" fmla="*/ 3483937 w 12192000"/>
              <a:gd name="connsiteY37" fmla="*/ 1649542 h 6858000"/>
              <a:gd name="connsiteX38" fmla="*/ 3524157 w 12192000"/>
              <a:gd name="connsiteY38" fmla="*/ 1834949 h 6858000"/>
              <a:gd name="connsiteX39" fmla="*/ 3604568 w 12192000"/>
              <a:gd name="connsiteY39" fmla="*/ 1834949 h 6858000"/>
              <a:gd name="connsiteX40" fmla="*/ 3604568 w 12192000"/>
              <a:gd name="connsiteY40" fmla="*/ 1444026 h 6858000"/>
              <a:gd name="connsiteX41" fmla="*/ 3534212 w 12192000"/>
              <a:gd name="connsiteY41" fmla="*/ 1444026 h 6858000"/>
              <a:gd name="connsiteX42" fmla="*/ 3534212 w 12192000"/>
              <a:gd name="connsiteY42" fmla="*/ 1629433 h 6858000"/>
              <a:gd name="connsiteX43" fmla="*/ 3540358 w 12192000"/>
              <a:gd name="connsiteY43" fmla="*/ 1678574 h 6858000"/>
              <a:gd name="connsiteX44" fmla="*/ 3530870 w 12192000"/>
              <a:gd name="connsiteY44" fmla="*/ 1678574 h 6858000"/>
              <a:gd name="connsiteX45" fmla="*/ 3525290 w 12192000"/>
              <a:gd name="connsiteY45" fmla="*/ 1629433 h 6858000"/>
              <a:gd name="connsiteX46" fmla="*/ 3485070 w 12192000"/>
              <a:gd name="connsiteY46" fmla="*/ 1444026 h 6858000"/>
              <a:gd name="connsiteX47" fmla="*/ 3157252 w 12192000"/>
              <a:gd name="connsiteY47" fmla="*/ 1444026 h 6858000"/>
              <a:gd name="connsiteX48" fmla="*/ 3157252 w 12192000"/>
              <a:gd name="connsiteY48" fmla="*/ 1834949 h 6858000"/>
              <a:gd name="connsiteX49" fmla="*/ 3227608 w 12192000"/>
              <a:gd name="connsiteY49" fmla="*/ 1834949 h 6858000"/>
              <a:gd name="connsiteX50" fmla="*/ 3227608 w 12192000"/>
              <a:gd name="connsiteY50" fmla="*/ 1649542 h 6858000"/>
              <a:gd name="connsiteX51" fmla="*/ 3221462 w 12192000"/>
              <a:gd name="connsiteY51" fmla="*/ 1600401 h 6858000"/>
              <a:gd name="connsiteX52" fmla="*/ 3230950 w 12192000"/>
              <a:gd name="connsiteY52" fmla="*/ 1600401 h 6858000"/>
              <a:gd name="connsiteX53" fmla="*/ 3237097 w 12192000"/>
              <a:gd name="connsiteY53" fmla="*/ 1649542 h 6858000"/>
              <a:gd name="connsiteX54" fmla="*/ 3277316 w 12192000"/>
              <a:gd name="connsiteY54" fmla="*/ 1834949 h 6858000"/>
              <a:gd name="connsiteX55" fmla="*/ 3357727 w 12192000"/>
              <a:gd name="connsiteY55" fmla="*/ 1834949 h 6858000"/>
              <a:gd name="connsiteX56" fmla="*/ 3357727 w 12192000"/>
              <a:gd name="connsiteY56" fmla="*/ 1444026 h 6858000"/>
              <a:gd name="connsiteX57" fmla="*/ 3287371 w 12192000"/>
              <a:gd name="connsiteY57" fmla="*/ 1444026 h 6858000"/>
              <a:gd name="connsiteX58" fmla="*/ 3287371 w 12192000"/>
              <a:gd name="connsiteY58" fmla="*/ 1629433 h 6858000"/>
              <a:gd name="connsiteX59" fmla="*/ 3293517 w 12192000"/>
              <a:gd name="connsiteY59" fmla="*/ 1678574 h 6858000"/>
              <a:gd name="connsiteX60" fmla="*/ 3284029 w 12192000"/>
              <a:gd name="connsiteY60" fmla="*/ 1678574 h 6858000"/>
              <a:gd name="connsiteX61" fmla="*/ 3278449 w 12192000"/>
              <a:gd name="connsiteY61" fmla="*/ 1629433 h 6858000"/>
              <a:gd name="connsiteX62" fmla="*/ 3238229 w 12192000"/>
              <a:gd name="connsiteY62" fmla="*/ 1444026 h 6858000"/>
              <a:gd name="connsiteX63" fmla="*/ 2397923 w 12192000"/>
              <a:gd name="connsiteY63" fmla="*/ 1444026 h 6858000"/>
              <a:gd name="connsiteX64" fmla="*/ 2397923 w 12192000"/>
              <a:gd name="connsiteY64" fmla="*/ 1834921 h 6858000"/>
              <a:gd name="connsiteX65" fmla="*/ 2500681 w 12192000"/>
              <a:gd name="connsiteY65" fmla="*/ 1834921 h 6858000"/>
              <a:gd name="connsiteX66" fmla="*/ 2583896 w 12192000"/>
              <a:gd name="connsiteY66" fmla="*/ 1758418 h 6858000"/>
              <a:gd name="connsiteX67" fmla="*/ 2583896 w 12192000"/>
              <a:gd name="connsiteY67" fmla="*/ 1694747 h 6858000"/>
              <a:gd name="connsiteX68" fmla="*/ 2548152 w 12192000"/>
              <a:gd name="connsiteY68" fmla="*/ 1634446 h 6858000"/>
              <a:gd name="connsiteX69" fmla="*/ 2548152 w 12192000"/>
              <a:gd name="connsiteY69" fmla="*/ 1631104 h 6858000"/>
              <a:gd name="connsiteX70" fmla="*/ 2580554 w 12192000"/>
              <a:gd name="connsiteY70" fmla="*/ 1573578 h 6858000"/>
              <a:gd name="connsiteX71" fmla="*/ 2580554 w 12192000"/>
              <a:gd name="connsiteY71" fmla="*/ 1520528 h 6858000"/>
              <a:gd name="connsiteX72" fmla="*/ 2497339 w 12192000"/>
              <a:gd name="connsiteY72" fmla="*/ 1444026 h 6858000"/>
              <a:gd name="connsiteX73" fmla="*/ 2012041 w 12192000"/>
              <a:gd name="connsiteY73" fmla="*/ 1444026 h 6858000"/>
              <a:gd name="connsiteX74" fmla="*/ 2012041 w 12192000"/>
              <a:gd name="connsiteY74" fmla="*/ 1834949 h 6858000"/>
              <a:gd name="connsiteX75" fmla="*/ 2141594 w 12192000"/>
              <a:gd name="connsiteY75" fmla="*/ 1834949 h 6858000"/>
              <a:gd name="connsiteX76" fmla="*/ 2141594 w 12192000"/>
              <a:gd name="connsiteY76" fmla="*/ 1770739 h 6858000"/>
              <a:gd name="connsiteX77" fmla="*/ 2082397 w 12192000"/>
              <a:gd name="connsiteY77" fmla="*/ 1770739 h 6858000"/>
              <a:gd name="connsiteX78" fmla="*/ 2082397 w 12192000"/>
              <a:gd name="connsiteY78" fmla="*/ 1444026 h 6858000"/>
              <a:gd name="connsiteX79" fmla="*/ 4034549 w 12192000"/>
              <a:gd name="connsiteY79" fmla="*/ 1443998 h 6858000"/>
              <a:gd name="connsiteX80" fmla="*/ 4034549 w 12192000"/>
              <a:gd name="connsiteY80" fmla="*/ 1508236 h 6858000"/>
              <a:gd name="connsiteX81" fmla="*/ 4074769 w 12192000"/>
              <a:gd name="connsiteY81" fmla="*/ 1508236 h 6858000"/>
              <a:gd name="connsiteX82" fmla="*/ 4074769 w 12192000"/>
              <a:gd name="connsiteY82" fmla="*/ 1834921 h 6858000"/>
              <a:gd name="connsiteX83" fmla="*/ 4145125 w 12192000"/>
              <a:gd name="connsiteY83" fmla="*/ 1834921 h 6858000"/>
              <a:gd name="connsiteX84" fmla="*/ 4145125 w 12192000"/>
              <a:gd name="connsiteY84" fmla="*/ 1508236 h 6858000"/>
              <a:gd name="connsiteX85" fmla="*/ 4185345 w 12192000"/>
              <a:gd name="connsiteY85" fmla="*/ 1508236 h 6858000"/>
              <a:gd name="connsiteX86" fmla="*/ 4185345 w 12192000"/>
              <a:gd name="connsiteY86" fmla="*/ 1443998 h 6858000"/>
              <a:gd name="connsiteX87" fmla="*/ 2170087 w 12192000"/>
              <a:gd name="connsiteY87" fmla="*/ 1443998 h 6858000"/>
              <a:gd name="connsiteX88" fmla="*/ 2170087 w 12192000"/>
              <a:gd name="connsiteY88" fmla="*/ 1756748 h 6858000"/>
              <a:gd name="connsiteX89" fmla="*/ 2170059 w 12192000"/>
              <a:gd name="connsiteY89" fmla="*/ 1756748 h 6858000"/>
              <a:gd name="connsiteX90" fmla="*/ 2261091 w 12192000"/>
              <a:gd name="connsiteY90" fmla="*/ 1841633 h 6858000"/>
              <a:gd name="connsiteX91" fmla="*/ 2352690 w 12192000"/>
              <a:gd name="connsiteY91" fmla="*/ 1756748 h 6858000"/>
              <a:gd name="connsiteX92" fmla="*/ 2352690 w 12192000"/>
              <a:gd name="connsiteY92" fmla="*/ 1443998 h 6858000"/>
              <a:gd name="connsiteX93" fmla="*/ 2282334 w 12192000"/>
              <a:gd name="connsiteY93" fmla="*/ 1443998 h 6858000"/>
              <a:gd name="connsiteX94" fmla="*/ 2282334 w 12192000"/>
              <a:gd name="connsiteY94" fmla="*/ 1756748 h 6858000"/>
              <a:gd name="connsiteX95" fmla="*/ 2261120 w 12192000"/>
              <a:gd name="connsiteY95" fmla="*/ 1777395 h 6858000"/>
              <a:gd name="connsiteX96" fmla="*/ 2240443 w 12192000"/>
              <a:gd name="connsiteY96" fmla="*/ 1756748 h 6858000"/>
              <a:gd name="connsiteX97" fmla="*/ 2240443 w 12192000"/>
              <a:gd name="connsiteY97" fmla="*/ 1443998 h 6858000"/>
              <a:gd name="connsiteX98" fmla="*/ 3912843 w 12192000"/>
              <a:gd name="connsiteY98" fmla="*/ 1437313 h 6858000"/>
              <a:gd name="connsiteX99" fmla="*/ 3821244 w 12192000"/>
              <a:gd name="connsiteY99" fmla="*/ 1521633 h 6858000"/>
              <a:gd name="connsiteX100" fmla="*/ 3821244 w 12192000"/>
              <a:gd name="connsiteY100" fmla="*/ 1756748 h 6858000"/>
              <a:gd name="connsiteX101" fmla="*/ 3912843 w 12192000"/>
              <a:gd name="connsiteY101" fmla="*/ 1841633 h 6858000"/>
              <a:gd name="connsiteX102" fmla="*/ 4004441 w 12192000"/>
              <a:gd name="connsiteY102" fmla="*/ 1756748 h 6858000"/>
              <a:gd name="connsiteX103" fmla="*/ 4004441 w 12192000"/>
              <a:gd name="connsiteY103" fmla="*/ 1670190 h 6858000"/>
              <a:gd name="connsiteX104" fmla="*/ 3934086 w 12192000"/>
              <a:gd name="connsiteY104" fmla="*/ 1670190 h 6858000"/>
              <a:gd name="connsiteX105" fmla="*/ 3934086 w 12192000"/>
              <a:gd name="connsiteY105" fmla="*/ 1756748 h 6858000"/>
              <a:gd name="connsiteX106" fmla="*/ 3912871 w 12192000"/>
              <a:gd name="connsiteY106" fmla="*/ 1777395 h 6858000"/>
              <a:gd name="connsiteX107" fmla="*/ 3891656 w 12192000"/>
              <a:gd name="connsiteY107" fmla="*/ 1756748 h 6858000"/>
              <a:gd name="connsiteX108" fmla="*/ 3891656 w 12192000"/>
              <a:gd name="connsiteY108" fmla="*/ 1522199 h 6858000"/>
              <a:gd name="connsiteX109" fmla="*/ 3912871 w 12192000"/>
              <a:gd name="connsiteY109" fmla="*/ 1501523 h 6858000"/>
              <a:gd name="connsiteX110" fmla="*/ 3934086 w 12192000"/>
              <a:gd name="connsiteY110" fmla="*/ 1522199 h 6858000"/>
              <a:gd name="connsiteX111" fmla="*/ 3934086 w 12192000"/>
              <a:gd name="connsiteY111" fmla="*/ 1603177 h 6858000"/>
              <a:gd name="connsiteX112" fmla="*/ 4004441 w 12192000"/>
              <a:gd name="connsiteY112" fmla="*/ 1603177 h 6858000"/>
              <a:gd name="connsiteX113" fmla="*/ 4004441 w 12192000"/>
              <a:gd name="connsiteY113" fmla="*/ 1521633 h 6858000"/>
              <a:gd name="connsiteX114" fmla="*/ 3912843 w 12192000"/>
              <a:gd name="connsiteY114" fmla="*/ 1437313 h 6858000"/>
              <a:gd name="connsiteX115" fmla="*/ 3021582 w 12192000"/>
              <a:gd name="connsiteY115" fmla="*/ 1437313 h 6858000"/>
              <a:gd name="connsiteX116" fmla="*/ 2929983 w 12192000"/>
              <a:gd name="connsiteY116" fmla="*/ 1521633 h 6858000"/>
              <a:gd name="connsiteX117" fmla="*/ 2929983 w 12192000"/>
              <a:gd name="connsiteY117" fmla="*/ 1756748 h 6858000"/>
              <a:gd name="connsiteX118" fmla="*/ 3021582 w 12192000"/>
              <a:gd name="connsiteY118" fmla="*/ 1841633 h 6858000"/>
              <a:gd name="connsiteX119" fmla="*/ 3113181 w 12192000"/>
              <a:gd name="connsiteY119" fmla="*/ 1756748 h 6858000"/>
              <a:gd name="connsiteX120" fmla="*/ 3113181 w 12192000"/>
              <a:gd name="connsiteY120" fmla="*/ 1521633 h 6858000"/>
              <a:gd name="connsiteX121" fmla="*/ 3021582 w 12192000"/>
              <a:gd name="connsiteY121" fmla="*/ 1437313 h 6858000"/>
              <a:gd name="connsiteX122" fmla="*/ 2797088 w 12192000"/>
              <a:gd name="connsiteY122" fmla="*/ 1437313 h 6858000"/>
              <a:gd name="connsiteX123" fmla="*/ 2705490 w 12192000"/>
              <a:gd name="connsiteY123" fmla="*/ 1521633 h 6858000"/>
              <a:gd name="connsiteX124" fmla="*/ 2705490 w 12192000"/>
              <a:gd name="connsiteY124" fmla="*/ 1756748 h 6858000"/>
              <a:gd name="connsiteX125" fmla="*/ 2797088 w 12192000"/>
              <a:gd name="connsiteY125" fmla="*/ 1841633 h 6858000"/>
              <a:gd name="connsiteX126" fmla="*/ 2888687 w 12192000"/>
              <a:gd name="connsiteY126" fmla="*/ 1756748 h 6858000"/>
              <a:gd name="connsiteX127" fmla="*/ 2888687 w 12192000"/>
              <a:gd name="connsiteY127" fmla="*/ 1670190 h 6858000"/>
              <a:gd name="connsiteX128" fmla="*/ 2818331 w 12192000"/>
              <a:gd name="connsiteY128" fmla="*/ 1670190 h 6858000"/>
              <a:gd name="connsiteX129" fmla="*/ 2818331 w 12192000"/>
              <a:gd name="connsiteY129" fmla="*/ 1756748 h 6858000"/>
              <a:gd name="connsiteX130" fmla="*/ 2797117 w 12192000"/>
              <a:gd name="connsiteY130" fmla="*/ 1777395 h 6858000"/>
              <a:gd name="connsiteX131" fmla="*/ 2775902 w 12192000"/>
              <a:gd name="connsiteY131" fmla="*/ 1756748 h 6858000"/>
              <a:gd name="connsiteX132" fmla="*/ 2775902 w 12192000"/>
              <a:gd name="connsiteY132" fmla="*/ 1522199 h 6858000"/>
              <a:gd name="connsiteX133" fmla="*/ 2797117 w 12192000"/>
              <a:gd name="connsiteY133" fmla="*/ 1501523 h 6858000"/>
              <a:gd name="connsiteX134" fmla="*/ 2818331 w 12192000"/>
              <a:gd name="connsiteY134" fmla="*/ 1522199 h 6858000"/>
              <a:gd name="connsiteX135" fmla="*/ 2818331 w 12192000"/>
              <a:gd name="connsiteY135" fmla="*/ 1603177 h 6858000"/>
              <a:gd name="connsiteX136" fmla="*/ 2888687 w 12192000"/>
              <a:gd name="connsiteY136" fmla="*/ 1603177 h 6858000"/>
              <a:gd name="connsiteX137" fmla="*/ 2888687 w 12192000"/>
              <a:gd name="connsiteY137" fmla="*/ 1521633 h 6858000"/>
              <a:gd name="connsiteX138" fmla="*/ 2797088 w 12192000"/>
              <a:gd name="connsiteY138" fmla="*/ 1437313 h 6858000"/>
              <a:gd name="connsiteX139" fmla="*/ 1876909 w 12192000"/>
              <a:gd name="connsiteY139" fmla="*/ 1437313 h 6858000"/>
              <a:gd name="connsiteX140" fmla="*/ 1785310 w 12192000"/>
              <a:gd name="connsiteY140" fmla="*/ 1521633 h 6858000"/>
              <a:gd name="connsiteX141" fmla="*/ 1785310 w 12192000"/>
              <a:gd name="connsiteY141" fmla="*/ 1756748 h 6858000"/>
              <a:gd name="connsiteX142" fmla="*/ 1876909 w 12192000"/>
              <a:gd name="connsiteY142" fmla="*/ 1841633 h 6858000"/>
              <a:gd name="connsiteX143" fmla="*/ 1968508 w 12192000"/>
              <a:gd name="connsiteY143" fmla="*/ 1756748 h 6858000"/>
              <a:gd name="connsiteX144" fmla="*/ 1968508 w 12192000"/>
              <a:gd name="connsiteY144" fmla="*/ 1670190 h 6858000"/>
              <a:gd name="connsiteX145" fmla="*/ 1898152 w 12192000"/>
              <a:gd name="connsiteY145" fmla="*/ 1670190 h 6858000"/>
              <a:gd name="connsiteX146" fmla="*/ 1898152 w 12192000"/>
              <a:gd name="connsiteY146" fmla="*/ 1756748 h 6858000"/>
              <a:gd name="connsiteX147" fmla="*/ 1876937 w 12192000"/>
              <a:gd name="connsiteY147" fmla="*/ 1777395 h 6858000"/>
              <a:gd name="connsiteX148" fmla="*/ 1855723 w 12192000"/>
              <a:gd name="connsiteY148" fmla="*/ 1756748 h 6858000"/>
              <a:gd name="connsiteX149" fmla="*/ 1855723 w 12192000"/>
              <a:gd name="connsiteY149" fmla="*/ 1522199 h 6858000"/>
              <a:gd name="connsiteX150" fmla="*/ 1876937 w 12192000"/>
              <a:gd name="connsiteY150" fmla="*/ 1501523 h 6858000"/>
              <a:gd name="connsiteX151" fmla="*/ 1898152 w 12192000"/>
              <a:gd name="connsiteY151" fmla="*/ 1522199 h 6858000"/>
              <a:gd name="connsiteX152" fmla="*/ 1898152 w 12192000"/>
              <a:gd name="connsiteY152" fmla="*/ 1603177 h 6858000"/>
              <a:gd name="connsiteX153" fmla="*/ 1968508 w 12192000"/>
              <a:gd name="connsiteY153" fmla="*/ 1603177 h 6858000"/>
              <a:gd name="connsiteX154" fmla="*/ 1968508 w 12192000"/>
              <a:gd name="connsiteY154" fmla="*/ 1521633 h 6858000"/>
              <a:gd name="connsiteX155" fmla="*/ 1876909 w 12192000"/>
              <a:gd name="connsiteY155" fmla="*/ 1437313 h 6858000"/>
              <a:gd name="connsiteX156" fmla="*/ 2342692 w 12192000"/>
              <a:gd name="connsiteY156" fmla="*/ 1282638 h 6858000"/>
              <a:gd name="connsiteX157" fmla="*/ 2035379 w 12192000"/>
              <a:gd name="connsiteY157" fmla="*/ 1368346 h 6858000"/>
              <a:gd name="connsiteX158" fmla="*/ 2079848 w 12192000"/>
              <a:gd name="connsiteY158" fmla="*/ 1374067 h 6858000"/>
              <a:gd name="connsiteX159" fmla="*/ 2188583 w 12192000"/>
              <a:gd name="connsiteY159" fmla="*/ 1326568 h 6858000"/>
              <a:gd name="connsiteX160" fmla="*/ 2292389 w 12192000"/>
              <a:gd name="connsiteY160" fmla="*/ 1326568 h 6858000"/>
              <a:gd name="connsiteX161" fmla="*/ 2296127 w 12192000"/>
              <a:gd name="connsiteY161" fmla="*/ 1368346 h 6858000"/>
              <a:gd name="connsiteX162" fmla="*/ 2352690 w 12192000"/>
              <a:gd name="connsiteY162" fmla="*/ 1368346 h 6858000"/>
              <a:gd name="connsiteX163" fmla="*/ 2269135 w 12192000"/>
              <a:gd name="connsiteY163" fmla="*/ 1159430 h 6858000"/>
              <a:gd name="connsiteX164" fmla="*/ 2143944 w 12192000"/>
              <a:gd name="connsiteY164" fmla="*/ 1310678 h 6858000"/>
              <a:gd name="connsiteX165" fmla="*/ 2216934 w 12192000"/>
              <a:gd name="connsiteY165" fmla="*/ 1291277 h 6858000"/>
              <a:gd name="connsiteX166" fmla="*/ 2216963 w 12192000"/>
              <a:gd name="connsiteY166" fmla="*/ 1291277 h 6858000"/>
              <a:gd name="connsiteX167" fmla="*/ 2281909 w 12192000"/>
              <a:gd name="connsiteY167" fmla="*/ 1211036 h 6858000"/>
              <a:gd name="connsiteX168" fmla="*/ 2287885 w 12192000"/>
              <a:gd name="connsiteY168" fmla="*/ 1278361 h 6858000"/>
              <a:gd name="connsiteX169" fmla="*/ 2341445 w 12192000"/>
              <a:gd name="connsiteY169" fmla="*/ 1272272 h 6858000"/>
              <a:gd name="connsiteX170" fmla="*/ 2328133 w 12192000"/>
              <a:gd name="connsiteY170" fmla="*/ 1159430 h 6858000"/>
              <a:gd name="connsiteX171" fmla="*/ 2118510 w 12192000"/>
              <a:gd name="connsiteY171" fmla="*/ 1154190 h 6858000"/>
              <a:gd name="connsiteX172" fmla="*/ 1970575 w 12192000"/>
              <a:gd name="connsiteY172" fmla="*/ 1272300 h 6858000"/>
              <a:gd name="connsiteX173" fmla="*/ 1983689 w 12192000"/>
              <a:gd name="connsiteY173" fmla="*/ 1326511 h 6858000"/>
              <a:gd name="connsiteX174" fmla="*/ 1854420 w 12192000"/>
              <a:gd name="connsiteY174" fmla="*/ 1326511 h 6858000"/>
              <a:gd name="connsiteX175" fmla="*/ 1871046 w 12192000"/>
              <a:gd name="connsiteY175" fmla="*/ 1279438 h 6858000"/>
              <a:gd name="connsiteX176" fmla="*/ 1918742 w 12192000"/>
              <a:gd name="connsiteY176" fmla="*/ 1279438 h 6858000"/>
              <a:gd name="connsiteX177" fmla="*/ 1953043 w 12192000"/>
              <a:gd name="connsiteY177" fmla="*/ 1237773 h 6858000"/>
              <a:gd name="connsiteX178" fmla="*/ 1885745 w 12192000"/>
              <a:gd name="connsiteY178" fmla="*/ 1237773 h 6858000"/>
              <a:gd name="connsiteX179" fmla="*/ 1898661 w 12192000"/>
              <a:gd name="connsiteY179" fmla="*/ 1201236 h 6858000"/>
              <a:gd name="connsiteX180" fmla="*/ 1983122 w 12192000"/>
              <a:gd name="connsiteY180" fmla="*/ 1201236 h 6858000"/>
              <a:gd name="connsiteX181" fmla="*/ 2017479 w 12192000"/>
              <a:gd name="connsiteY181" fmla="*/ 1159459 h 6858000"/>
              <a:gd name="connsiteX182" fmla="*/ 1859036 w 12192000"/>
              <a:gd name="connsiteY182" fmla="*/ 1159459 h 6858000"/>
              <a:gd name="connsiteX183" fmla="*/ 1785310 w 12192000"/>
              <a:gd name="connsiteY183" fmla="*/ 1368374 h 6858000"/>
              <a:gd name="connsiteX184" fmla="*/ 1999975 w 12192000"/>
              <a:gd name="connsiteY184" fmla="*/ 1368374 h 6858000"/>
              <a:gd name="connsiteX185" fmla="*/ 2085428 w 12192000"/>
              <a:gd name="connsiteY185" fmla="*/ 1330788 h 6858000"/>
              <a:gd name="connsiteX186" fmla="*/ 2055036 w 12192000"/>
              <a:gd name="connsiteY186" fmla="*/ 1326455 h 6858000"/>
              <a:gd name="connsiteX187" fmla="*/ 2024277 w 12192000"/>
              <a:gd name="connsiteY187" fmla="*/ 1269354 h 6858000"/>
              <a:gd name="connsiteX188" fmla="*/ 2110296 w 12192000"/>
              <a:gd name="connsiteY188" fmla="*/ 1197129 h 6858000"/>
              <a:gd name="connsiteX189" fmla="*/ 2172551 w 12192000"/>
              <a:gd name="connsiteY189" fmla="*/ 1221969 h 6858000"/>
              <a:gd name="connsiteX190" fmla="*/ 2172551 w 12192000"/>
              <a:gd name="connsiteY190" fmla="*/ 1221940 h 6858000"/>
              <a:gd name="connsiteX191" fmla="*/ 2204075 w 12192000"/>
              <a:gd name="connsiteY191" fmla="*/ 1182939 h 6858000"/>
              <a:gd name="connsiteX192" fmla="*/ 2118510 w 12192000"/>
              <a:gd name="connsiteY192" fmla="*/ 1154190 h 6858000"/>
              <a:gd name="connsiteX193" fmla="*/ 1297973 w 12192000"/>
              <a:gd name="connsiteY193" fmla="*/ 1085024 h 6858000"/>
              <a:gd name="connsiteX194" fmla="*/ 1297973 w 12192000"/>
              <a:gd name="connsiteY194" fmla="*/ 1314927 h 6858000"/>
              <a:gd name="connsiteX195" fmla="*/ 1437552 w 12192000"/>
              <a:gd name="connsiteY195" fmla="*/ 1497926 h 6858000"/>
              <a:gd name="connsiteX196" fmla="*/ 1297973 w 12192000"/>
              <a:gd name="connsiteY196" fmla="*/ 1680925 h 6858000"/>
              <a:gd name="connsiteX197" fmla="*/ 1297973 w 12192000"/>
              <a:gd name="connsiteY197" fmla="*/ 1910828 h 6858000"/>
              <a:gd name="connsiteX198" fmla="*/ 1663688 w 12192000"/>
              <a:gd name="connsiteY198" fmla="*/ 1497926 h 6858000"/>
              <a:gd name="connsiteX199" fmla="*/ 1297973 w 12192000"/>
              <a:gd name="connsiteY199" fmla="*/ 1085024 h 6858000"/>
              <a:gd name="connsiteX200" fmla="*/ 1197565 w 12192000"/>
              <a:gd name="connsiteY200" fmla="*/ 1085024 h 6858000"/>
              <a:gd name="connsiteX201" fmla="*/ 831850 w 12192000"/>
              <a:gd name="connsiteY201" fmla="*/ 1497926 h 6858000"/>
              <a:gd name="connsiteX202" fmla="*/ 1197565 w 12192000"/>
              <a:gd name="connsiteY202" fmla="*/ 1910828 h 6858000"/>
              <a:gd name="connsiteX203" fmla="*/ 1197565 w 12192000"/>
              <a:gd name="connsiteY203" fmla="*/ 1680925 h 6858000"/>
              <a:gd name="connsiteX204" fmla="*/ 1057987 w 12192000"/>
              <a:gd name="connsiteY204" fmla="*/ 1497926 h 6858000"/>
              <a:gd name="connsiteX205" fmla="*/ 1197565 w 12192000"/>
              <a:gd name="connsiteY205" fmla="*/ 1314927 h 6858000"/>
              <a:gd name="connsiteX206" fmla="*/ 0 w 12192000"/>
              <a:gd name="connsiteY206" fmla="*/ 0 h 6858000"/>
              <a:gd name="connsiteX207" fmla="*/ 12192000 w 12192000"/>
              <a:gd name="connsiteY207" fmla="*/ 0 h 6858000"/>
              <a:gd name="connsiteX208" fmla="*/ 12192000 w 12192000"/>
              <a:gd name="connsiteY208" fmla="*/ 6858000 h 6858000"/>
              <a:gd name="connsiteX209" fmla="*/ 0 w 12192000"/>
              <a:gd name="connsiteY20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</a:cxnLst>
            <a:rect l="l" t="t" r="r" b="b"/>
            <a:pathLst>
              <a:path w="12192000" h="6858000">
                <a:moveTo>
                  <a:pt x="2468279" y="1666282"/>
                </a:moveTo>
                <a:lnTo>
                  <a:pt x="2492864" y="1666282"/>
                </a:lnTo>
                <a:cubicBezTo>
                  <a:pt x="2505156" y="1666282"/>
                  <a:pt x="2513540" y="1674665"/>
                  <a:pt x="2513540" y="1687496"/>
                </a:cubicBezTo>
                <a:lnTo>
                  <a:pt x="2513540" y="1750035"/>
                </a:lnTo>
                <a:cubicBezTo>
                  <a:pt x="2513540" y="1762894"/>
                  <a:pt x="2505156" y="1770711"/>
                  <a:pt x="2492864" y="1770711"/>
                </a:cubicBezTo>
                <a:lnTo>
                  <a:pt x="2468279" y="1770711"/>
                </a:lnTo>
                <a:close/>
                <a:moveTo>
                  <a:pt x="2468279" y="1508236"/>
                </a:moveTo>
                <a:lnTo>
                  <a:pt x="2488955" y="1508236"/>
                </a:lnTo>
                <a:cubicBezTo>
                  <a:pt x="2501786" y="1508236"/>
                  <a:pt x="2510170" y="1516053"/>
                  <a:pt x="2510170" y="1528883"/>
                </a:cubicBezTo>
                <a:lnTo>
                  <a:pt x="2510170" y="1585304"/>
                </a:lnTo>
                <a:cubicBezTo>
                  <a:pt x="2510170" y="1598135"/>
                  <a:pt x="2501786" y="1606519"/>
                  <a:pt x="2488955" y="1606519"/>
                </a:cubicBezTo>
                <a:lnTo>
                  <a:pt x="2468279" y="1606519"/>
                </a:lnTo>
                <a:close/>
                <a:moveTo>
                  <a:pt x="3021582" y="1501523"/>
                </a:moveTo>
                <a:cubicBezTo>
                  <a:pt x="3034412" y="1501523"/>
                  <a:pt x="3042796" y="1509369"/>
                  <a:pt x="3042796" y="1522199"/>
                </a:cubicBezTo>
                <a:lnTo>
                  <a:pt x="3042796" y="1756748"/>
                </a:lnTo>
                <a:cubicBezTo>
                  <a:pt x="3042796" y="1769578"/>
                  <a:pt x="3034412" y="1777395"/>
                  <a:pt x="3021582" y="1777395"/>
                </a:cubicBezTo>
                <a:cubicBezTo>
                  <a:pt x="3008751" y="1777395"/>
                  <a:pt x="3000367" y="1769578"/>
                  <a:pt x="3000367" y="1756748"/>
                </a:cubicBezTo>
                <a:lnTo>
                  <a:pt x="3000367" y="1522199"/>
                </a:lnTo>
                <a:cubicBezTo>
                  <a:pt x="3000367" y="1509340"/>
                  <a:pt x="3008751" y="1501523"/>
                  <a:pt x="3021582" y="1501523"/>
                </a:cubicBezTo>
                <a:close/>
                <a:moveTo>
                  <a:pt x="3650905" y="1444026"/>
                </a:moveTo>
                <a:lnTo>
                  <a:pt x="3650905" y="1834949"/>
                </a:lnTo>
                <a:lnTo>
                  <a:pt x="3783828" y="1834949"/>
                </a:lnTo>
                <a:lnTo>
                  <a:pt x="3783828" y="1770739"/>
                </a:lnTo>
                <a:lnTo>
                  <a:pt x="3721290" y="1770739"/>
                </a:lnTo>
                <a:lnTo>
                  <a:pt x="3721290" y="1667981"/>
                </a:lnTo>
                <a:lnTo>
                  <a:pt x="3777682" y="1667981"/>
                </a:lnTo>
                <a:lnTo>
                  <a:pt x="3777682" y="1605442"/>
                </a:lnTo>
                <a:lnTo>
                  <a:pt x="3721290" y="1605442"/>
                </a:lnTo>
                <a:lnTo>
                  <a:pt x="3721290" y="1508264"/>
                </a:lnTo>
                <a:lnTo>
                  <a:pt x="3783828" y="1508264"/>
                </a:lnTo>
                <a:lnTo>
                  <a:pt x="3783828" y="1444026"/>
                </a:lnTo>
                <a:close/>
                <a:moveTo>
                  <a:pt x="3404093" y="1444026"/>
                </a:moveTo>
                <a:lnTo>
                  <a:pt x="3404093" y="1834949"/>
                </a:lnTo>
                <a:lnTo>
                  <a:pt x="3474449" y="1834949"/>
                </a:lnTo>
                <a:lnTo>
                  <a:pt x="3474449" y="1649542"/>
                </a:lnTo>
                <a:lnTo>
                  <a:pt x="3468303" y="1600401"/>
                </a:lnTo>
                <a:lnTo>
                  <a:pt x="3477791" y="1600401"/>
                </a:lnTo>
                <a:lnTo>
                  <a:pt x="3483937" y="1649542"/>
                </a:lnTo>
                <a:lnTo>
                  <a:pt x="3524157" y="1834949"/>
                </a:lnTo>
                <a:lnTo>
                  <a:pt x="3604568" y="1834949"/>
                </a:lnTo>
                <a:lnTo>
                  <a:pt x="3604568" y="1444026"/>
                </a:lnTo>
                <a:lnTo>
                  <a:pt x="3534212" y="1444026"/>
                </a:lnTo>
                <a:lnTo>
                  <a:pt x="3534212" y="1629433"/>
                </a:lnTo>
                <a:lnTo>
                  <a:pt x="3540358" y="1678574"/>
                </a:lnTo>
                <a:lnTo>
                  <a:pt x="3530870" y="1678574"/>
                </a:lnTo>
                <a:lnTo>
                  <a:pt x="3525290" y="1629433"/>
                </a:lnTo>
                <a:lnTo>
                  <a:pt x="3485070" y="1444026"/>
                </a:lnTo>
                <a:close/>
                <a:moveTo>
                  <a:pt x="3157252" y="1444026"/>
                </a:moveTo>
                <a:lnTo>
                  <a:pt x="3157252" y="1834949"/>
                </a:lnTo>
                <a:lnTo>
                  <a:pt x="3227608" y="1834949"/>
                </a:lnTo>
                <a:lnTo>
                  <a:pt x="3227608" y="1649542"/>
                </a:lnTo>
                <a:lnTo>
                  <a:pt x="3221462" y="1600401"/>
                </a:lnTo>
                <a:lnTo>
                  <a:pt x="3230950" y="1600401"/>
                </a:lnTo>
                <a:lnTo>
                  <a:pt x="3237097" y="1649542"/>
                </a:lnTo>
                <a:lnTo>
                  <a:pt x="3277316" y="1834949"/>
                </a:lnTo>
                <a:lnTo>
                  <a:pt x="3357727" y="1834949"/>
                </a:lnTo>
                <a:lnTo>
                  <a:pt x="3357727" y="1444026"/>
                </a:lnTo>
                <a:lnTo>
                  <a:pt x="3287371" y="1444026"/>
                </a:lnTo>
                <a:lnTo>
                  <a:pt x="3287371" y="1629433"/>
                </a:lnTo>
                <a:lnTo>
                  <a:pt x="3293517" y="1678574"/>
                </a:lnTo>
                <a:lnTo>
                  <a:pt x="3284029" y="1678574"/>
                </a:lnTo>
                <a:lnTo>
                  <a:pt x="3278449" y="1629433"/>
                </a:lnTo>
                <a:lnTo>
                  <a:pt x="3238229" y="1444026"/>
                </a:lnTo>
                <a:close/>
                <a:moveTo>
                  <a:pt x="2397923" y="1444026"/>
                </a:moveTo>
                <a:lnTo>
                  <a:pt x="2397923" y="1834921"/>
                </a:lnTo>
                <a:lnTo>
                  <a:pt x="2500681" y="1834921"/>
                </a:lnTo>
                <a:cubicBezTo>
                  <a:pt x="2550956" y="1834921"/>
                  <a:pt x="2583896" y="1804218"/>
                  <a:pt x="2583896" y="1758418"/>
                </a:cubicBezTo>
                <a:lnTo>
                  <a:pt x="2583896" y="1694747"/>
                </a:lnTo>
                <a:cubicBezTo>
                  <a:pt x="2583896" y="1669624"/>
                  <a:pt x="2571604" y="1644501"/>
                  <a:pt x="2548152" y="1634446"/>
                </a:cubicBezTo>
                <a:lnTo>
                  <a:pt x="2548152" y="1631104"/>
                </a:lnTo>
                <a:cubicBezTo>
                  <a:pt x="2569933" y="1621049"/>
                  <a:pt x="2580554" y="1597030"/>
                  <a:pt x="2580554" y="1573578"/>
                </a:cubicBezTo>
                <a:lnTo>
                  <a:pt x="2580554" y="1520528"/>
                </a:lnTo>
                <a:cubicBezTo>
                  <a:pt x="2580554" y="1474757"/>
                  <a:pt x="2547047" y="1444026"/>
                  <a:pt x="2497339" y="1444026"/>
                </a:cubicBezTo>
                <a:close/>
                <a:moveTo>
                  <a:pt x="2012041" y="1444026"/>
                </a:moveTo>
                <a:lnTo>
                  <a:pt x="2012041" y="1834949"/>
                </a:lnTo>
                <a:lnTo>
                  <a:pt x="2141594" y="1834949"/>
                </a:lnTo>
                <a:lnTo>
                  <a:pt x="2141594" y="1770739"/>
                </a:lnTo>
                <a:lnTo>
                  <a:pt x="2082397" y="1770739"/>
                </a:lnTo>
                <a:lnTo>
                  <a:pt x="2082397" y="1444026"/>
                </a:lnTo>
                <a:close/>
                <a:moveTo>
                  <a:pt x="4034549" y="1443998"/>
                </a:moveTo>
                <a:lnTo>
                  <a:pt x="4034549" y="1508236"/>
                </a:lnTo>
                <a:lnTo>
                  <a:pt x="4074769" y="1508236"/>
                </a:lnTo>
                <a:lnTo>
                  <a:pt x="4074769" y="1834921"/>
                </a:lnTo>
                <a:lnTo>
                  <a:pt x="4145125" y="1834921"/>
                </a:lnTo>
                <a:lnTo>
                  <a:pt x="4145125" y="1508236"/>
                </a:lnTo>
                <a:lnTo>
                  <a:pt x="4185345" y="1508236"/>
                </a:lnTo>
                <a:lnTo>
                  <a:pt x="4185345" y="1443998"/>
                </a:lnTo>
                <a:close/>
                <a:moveTo>
                  <a:pt x="2170087" y="1443998"/>
                </a:moveTo>
                <a:lnTo>
                  <a:pt x="2170087" y="1756748"/>
                </a:lnTo>
                <a:lnTo>
                  <a:pt x="2170059" y="1756748"/>
                </a:lnTo>
                <a:cubicBezTo>
                  <a:pt x="2170059" y="1807560"/>
                  <a:pt x="2206341" y="1841633"/>
                  <a:pt x="2261091" y="1841633"/>
                </a:cubicBezTo>
                <a:cubicBezTo>
                  <a:pt x="2315841" y="1841633"/>
                  <a:pt x="2352690" y="1807560"/>
                  <a:pt x="2352690" y="1756748"/>
                </a:cubicBezTo>
                <a:lnTo>
                  <a:pt x="2352690" y="1443998"/>
                </a:lnTo>
                <a:lnTo>
                  <a:pt x="2282334" y="1443998"/>
                </a:lnTo>
                <a:lnTo>
                  <a:pt x="2282334" y="1756748"/>
                </a:lnTo>
                <a:cubicBezTo>
                  <a:pt x="2282334" y="1769578"/>
                  <a:pt x="2273412" y="1777395"/>
                  <a:pt x="2261120" y="1777395"/>
                </a:cubicBezTo>
                <a:cubicBezTo>
                  <a:pt x="2248827" y="1777395"/>
                  <a:pt x="2240443" y="1769578"/>
                  <a:pt x="2240443" y="1756748"/>
                </a:cubicBezTo>
                <a:lnTo>
                  <a:pt x="2240443" y="1443998"/>
                </a:lnTo>
                <a:close/>
                <a:moveTo>
                  <a:pt x="3912843" y="1437313"/>
                </a:moveTo>
                <a:cubicBezTo>
                  <a:pt x="3858093" y="1437313"/>
                  <a:pt x="3821244" y="1471358"/>
                  <a:pt x="3821244" y="1521633"/>
                </a:cubicBezTo>
                <a:lnTo>
                  <a:pt x="3821244" y="1756748"/>
                </a:lnTo>
                <a:cubicBezTo>
                  <a:pt x="3821244" y="1807560"/>
                  <a:pt x="3858093" y="1841633"/>
                  <a:pt x="3912843" y="1841633"/>
                </a:cubicBezTo>
                <a:cubicBezTo>
                  <a:pt x="3967592" y="1841633"/>
                  <a:pt x="4004441" y="1807560"/>
                  <a:pt x="4004441" y="1756748"/>
                </a:cubicBezTo>
                <a:lnTo>
                  <a:pt x="4004441" y="1670190"/>
                </a:lnTo>
                <a:lnTo>
                  <a:pt x="3934086" y="1670190"/>
                </a:lnTo>
                <a:lnTo>
                  <a:pt x="3934086" y="1756748"/>
                </a:lnTo>
                <a:cubicBezTo>
                  <a:pt x="3934086" y="1769578"/>
                  <a:pt x="3925702" y="1777395"/>
                  <a:pt x="3912871" y="1777395"/>
                </a:cubicBezTo>
                <a:cubicBezTo>
                  <a:pt x="3900040" y="1777395"/>
                  <a:pt x="3891656" y="1769578"/>
                  <a:pt x="3891656" y="1756748"/>
                </a:cubicBezTo>
                <a:lnTo>
                  <a:pt x="3891656" y="1522199"/>
                </a:lnTo>
                <a:cubicBezTo>
                  <a:pt x="3891656" y="1509340"/>
                  <a:pt x="3900040" y="1501523"/>
                  <a:pt x="3912871" y="1501523"/>
                </a:cubicBezTo>
                <a:cubicBezTo>
                  <a:pt x="3925702" y="1501523"/>
                  <a:pt x="3934086" y="1509369"/>
                  <a:pt x="3934086" y="1522199"/>
                </a:cubicBezTo>
                <a:lnTo>
                  <a:pt x="3934086" y="1603177"/>
                </a:lnTo>
                <a:lnTo>
                  <a:pt x="4004441" y="1603177"/>
                </a:lnTo>
                <a:lnTo>
                  <a:pt x="4004441" y="1521633"/>
                </a:lnTo>
                <a:cubicBezTo>
                  <a:pt x="4004441" y="1471387"/>
                  <a:pt x="3967592" y="1437313"/>
                  <a:pt x="3912843" y="1437313"/>
                </a:cubicBezTo>
                <a:close/>
                <a:moveTo>
                  <a:pt x="3021582" y="1437313"/>
                </a:moveTo>
                <a:cubicBezTo>
                  <a:pt x="2966832" y="1437313"/>
                  <a:pt x="2929983" y="1471358"/>
                  <a:pt x="2929983" y="1521633"/>
                </a:cubicBezTo>
                <a:lnTo>
                  <a:pt x="2929983" y="1756748"/>
                </a:lnTo>
                <a:cubicBezTo>
                  <a:pt x="2929983" y="1807560"/>
                  <a:pt x="2966832" y="1841633"/>
                  <a:pt x="3021582" y="1841633"/>
                </a:cubicBezTo>
                <a:cubicBezTo>
                  <a:pt x="3076331" y="1841633"/>
                  <a:pt x="3113181" y="1807560"/>
                  <a:pt x="3113181" y="1756748"/>
                </a:cubicBezTo>
                <a:lnTo>
                  <a:pt x="3113181" y="1521633"/>
                </a:lnTo>
                <a:cubicBezTo>
                  <a:pt x="3113181" y="1471387"/>
                  <a:pt x="3076331" y="1437313"/>
                  <a:pt x="3021582" y="1437313"/>
                </a:cubicBezTo>
                <a:close/>
                <a:moveTo>
                  <a:pt x="2797088" y="1437313"/>
                </a:moveTo>
                <a:cubicBezTo>
                  <a:pt x="2742339" y="1437313"/>
                  <a:pt x="2705490" y="1471358"/>
                  <a:pt x="2705490" y="1521633"/>
                </a:cubicBezTo>
                <a:lnTo>
                  <a:pt x="2705490" y="1756748"/>
                </a:lnTo>
                <a:cubicBezTo>
                  <a:pt x="2705490" y="1807560"/>
                  <a:pt x="2742339" y="1841633"/>
                  <a:pt x="2797088" y="1841633"/>
                </a:cubicBezTo>
                <a:cubicBezTo>
                  <a:pt x="2851838" y="1841633"/>
                  <a:pt x="2888687" y="1807560"/>
                  <a:pt x="2888687" y="1756748"/>
                </a:cubicBezTo>
                <a:lnTo>
                  <a:pt x="2888687" y="1670190"/>
                </a:lnTo>
                <a:lnTo>
                  <a:pt x="2818331" y="1670190"/>
                </a:lnTo>
                <a:lnTo>
                  <a:pt x="2818331" y="1756748"/>
                </a:lnTo>
                <a:cubicBezTo>
                  <a:pt x="2818331" y="1769578"/>
                  <a:pt x="2809947" y="1777395"/>
                  <a:pt x="2797117" y="1777395"/>
                </a:cubicBezTo>
                <a:cubicBezTo>
                  <a:pt x="2784286" y="1777395"/>
                  <a:pt x="2775902" y="1769578"/>
                  <a:pt x="2775902" y="1756748"/>
                </a:cubicBezTo>
                <a:lnTo>
                  <a:pt x="2775902" y="1522199"/>
                </a:lnTo>
                <a:cubicBezTo>
                  <a:pt x="2775902" y="1509340"/>
                  <a:pt x="2784286" y="1501523"/>
                  <a:pt x="2797117" y="1501523"/>
                </a:cubicBezTo>
                <a:cubicBezTo>
                  <a:pt x="2809947" y="1501523"/>
                  <a:pt x="2818331" y="1509369"/>
                  <a:pt x="2818331" y="1522199"/>
                </a:cubicBezTo>
                <a:lnTo>
                  <a:pt x="2818331" y="1603177"/>
                </a:lnTo>
                <a:lnTo>
                  <a:pt x="2888687" y="1603177"/>
                </a:lnTo>
                <a:lnTo>
                  <a:pt x="2888687" y="1521633"/>
                </a:lnTo>
                <a:cubicBezTo>
                  <a:pt x="2888687" y="1471387"/>
                  <a:pt x="2851838" y="1437313"/>
                  <a:pt x="2797088" y="1437313"/>
                </a:cubicBezTo>
                <a:close/>
                <a:moveTo>
                  <a:pt x="1876909" y="1437313"/>
                </a:moveTo>
                <a:cubicBezTo>
                  <a:pt x="1822159" y="1437313"/>
                  <a:pt x="1785310" y="1471358"/>
                  <a:pt x="1785310" y="1521633"/>
                </a:cubicBezTo>
                <a:lnTo>
                  <a:pt x="1785310" y="1756748"/>
                </a:lnTo>
                <a:cubicBezTo>
                  <a:pt x="1785310" y="1807560"/>
                  <a:pt x="1822159" y="1841633"/>
                  <a:pt x="1876909" y="1841633"/>
                </a:cubicBezTo>
                <a:cubicBezTo>
                  <a:pt x="1931659" y="1841633"/>
                  <a:pt x="1968508" y="1807560"/>
                  <a:pt x="1968508" y="1756748"/>
                </a:cubicBezTo>
                <a:lnTo>
                  <a:pt x="1968508" y="1670190"/>
                </a:lnTo>
                <a:lnTo>
                  <a:pt x="1898152" y="1670190"/>
                </a:lnTo>
                <a:lnTo>
                  <a:pt x="1898152" y="1756748"/>
                </a:lnTo>
                <a:cubicBezTo>
                  <a:pt x="1898152" y="1769578"/>
                  <a:pt x="1889768" y="1777395"/>
                  <a:pt x="1876937" y="1777395"/>
                </a:cubicBezTo>
                <a:cubicBezTo>
                  <a:pt x="1864107" y="1777395"/>
                  <a:pt x="1855723" y="1769578"/>
                  <a:pt x="1855723" y="1756748"/>
                </a:cubicBezTo>
                <a:lnTo>
                  <a:pt x="1855723" y="1522199"/>
                </a:lnTo>
                <a:cubicBezTo>
                  <a:pt x="1855723" y="1509340"/>
                  <a:pt x="1864107" y="1501523"/>
                  <a:pt x="1876937" y="1501523"/>
                </a:cubicBezTo>
                <a:cubicBezTo>
                  <a:pt x="1889768" y="1501523"/>
                  <a:pt x="1898152" y="1509369"/>
                  <a:pt x="1898152" y="1522199"/>
                </a:cubicBezTo>
                <a:lnTo>
                  <a:pt x="1898152" y="1603177"/>
                </a:lnTo>
                <a:lnTo>
                  <a:pt x="1968508" y="1603177"/>
                </a:lnTo>
                <a:lnTo>
                  <a:pt x="1968508" y="1521633"/>
                </a:lnTo>
                <a:cubicBezTo>
                  <a:pt x="1968508" y="1471387"/>
                  <a:pt x="1931659" y="1437313"/>
                  <a:pt x="1876909" y="1437313"/>
                </a:cubicBezTo>
                <a:close/>
                <a:moveTo>
                  <a:pt x="2342692" y="1282638"/>
                </a:moveTo>
                <a:cubicBezTo>
                  <a:pt x="2170144" y="1298896"/>
                  <a:pt x="2035379" y="1368346"/>
                  <a:pt x="2035379" y="1368346"/>
                </a:cubicBezTo>
                <a:cubicBezTo>
                  <a:pt x="2047134" y="1372141"/>
                  <a:pt x="2062967" y="1374067"/>
                  <a:pt x="2079848" y="1374067"/>
                </a:cubicBezTo>
                <a:cubicBezTo>
                  <a:pt x="2126610" y="1374067"/>
                  <a:pt x="2154736" y="1363955"/>
                  <a:pt x="2188583" y="1326568"/>
                </a:cubicBezTo>
                <a:lnTo>
                  <a:pt x="2292389" y="1326568"/>
                </a:lnTo>
                <a:cubicBezTo>
                  <a:pt x="2292389" y="1326568"/>
                  <a:pt x="2296127" y="1368346"/>
                  <a:pt x="2296127" y="1368346"/>
                </a:cubicBezTo>
                <a:lnTo>
                  <a:pt x="2352690" y="1368346"/>
                </a:lnTo>
                <a:close/>
                <a:moveTo>
                  <a:pt x="2269135" y="1159430"/>
                </a:moveTo>
                <a:cubicBezTo>
                  <a:pt x="2269135" y="1159430"/>
                  <a:pt x="2143944" y="1310678"/>
                  <a:pt x="2143944" y="1310678"/>
                </a:cubicBezTo>
                <a:cubicBezTo>
                  <a:pt x="2167679" y="1303371"/>
                  <a:pt x="2192009" y="1296885"/>
                  <a:pt x="2216934" y="1291277"/>
                </a:cubicBezTo>
                <a:lnTo>
                  <a:pt x="2216963" y="1291277"/>
                </a:lnTo>
                <a:lnTo>
                  <a:pt x="2281909" y="1211036"/>
                </a:lnTo>
                <a:lnTo>
                  <a:pt x="2287885" y="1278361"/>
                </a:lnTo>
                <a:cubicBezTo>
                  <a:pt x="2305304" y="1275670"/>
                  <a:pt x="2323601" y="1274169"/>
                  <a:pt x="2341445" y="1272272"/>
                </a:cubicBezTo>
                <a:lnTo>
                  <a:pt x="2328133" y="1159430"/>
                </a:lnTo>
                <a:close/>
                <a:moveTo>
                  <a:pt x="2118510" y="1154190"/>
                </a:moveTo>
                <a:cubicBezTo>
                  <a:pt x="2023512" y="1154190"/>
                  <a:pt x="1973804" y="1211546"/>
                  <a:pt x="1970575" y="1272300"/>
                </a:cubicBezTo>
                <a:cubicBezTo>
                  <a:pt x="1969612" y="1290682"/>
                  <a:pt x="1972926" y="1308724"/>
                  <a:pt x="1983689" y="1326511"/>
                </a:cubicBezTo>
                <a:lnTo>
                  <a:pt x="1854420" y="1326511"/>
                </a:lnTo>
                <a:cubicBezTo>
                  <a:pt x="1854420" y="1326511"/>
                  <a:pt x="1871046" y="1279438"/>
                  <a:pt x="1871046" y="1279438"/>
                </a:cubicBezTo>
                <a:lnTo>
                  <a:pt x="1918742" y="1279438"/>
                </a:lnTo>
                <a:cubicBezTo>
                  <a:pt x="1918742" y="1279438"/>
                  <a:pt x="1953043" y="1237773"/>
                  <a:pt x="1953043" y="1237773"/>
                </a:cubicBezTo>
                <a:lnTo>
                  <a:pt x="1885745" y="1237773"/>
                </a:lnTo>
                <a:cubicBezTo>
                  <a:pt x="1885745" y="1237773"/>
                  <a:pt x="1898661" y="1201236"/>
                  <a:pt x="1898661" y="1201236"/>
                </a:cubicBezTo>
                <a:lnTo>
                  <a:pt x="1983122" y="1201236"/>
                </a:lnTo>
                <a:cubicBezTo>
                  <a:pt x="1983122" y="1201236"/>
                  <a:pt x="2017479" y="1159459"/>
                  <a:pt x="2017479" y="1159459"/>
                </a:cubicBezTo>
                <a:lnTo>
                  <a:pt x="1859036" y="1159459"/>
                </a:lnTo>
                <a:cubicBezTo>
                  <a:pt x="1859036" y="1159459"/>
                  <a:pt x="1785310" y="1368374"/>
                  <a:pt x="1785310" y="1368374"/>
                </a:cubicBezTo>
                <a:lnTo>
                  <a:pt x="1999975" y="1368374"/>
                </a:lnTo>
                <a:cubicBezTo>
                  <a:pt x="1999975" y="1368374"/>
                  <a:pt x="2030338" y="1352059"/>
                  <a:pt x="2085428" y="1330788"/>
                </a:cubicBezTo>
                <a:cubicBezTo>
                  <a:pt x="2075089" y="1330420"/>
                  <a:pt x="2067838" y="1329684"/>
                  <a:pt x="2055036" y="1326455"/>
                </a:cubicBezTo>
                <a:cubicBezTo>
                  <a:pt x="2031953" y="1318524"/>
                  <a:pt x="2021274" y="1300029"/>
                  <a:pt x="2024277" y="1269354"/>
                </a:cubicBezTo>
                <a:cubicBezTo>
                  <a:pt x="2027817" y="1233270"/>
                  <a:pt x="2059568" y="1197129"/>
                  <a:pt x="2110296" y="1197129"/>
                </a:cubicBezTo>
                <a:cubicBezTo>
                  <a:pt x="2135333" y="1197129"/>
                  <a:pt x="2160202" y="1208147"/>
                  <a:pt x="2172551" y="1221969"/>
                </a:cubicBezTo>
                <a:lnTo>
                  <a:pt x="2172551" y="1221940"/>
                </a:lnTo>
                <a:lnTo>
                  <a:pt x="2204075" y="1182939"/>
                </a:lnTo>
                <a:cubicBezTo>
                  <a:pt x="2184277" y="1165095"/>
                  <a:pt x="2154877" y="1154190"/>
                  <a:pt x="2118510" y="1154190"/>
                </a:cubicBezTo>
                <a:close/>
                <a:moveTo>
                  <a:pt x="1297973" y="1085024"/>
                </a:moveTo>
                <a:lnTo>
                  <a:pt x="1297973" y="1314927"/>
                </a:lnTo>
                <a:cubicBezTo>
                  <a:pt x="1378327" y="1336991"/>
                  <a:pt x="1437552" y="1410661"/>
                  <a:pt x="1437552" y="1497926"/>
                </a:cubicBezTo>
                <a:cubicBezTo>
                  <a:pt x="1437552" y="1585191"/>
                  <a:pt x="1378327" y="1658861"/>
                  <a:pt x="1297973" y="1680925"/>
                </a:cubicBezTo>
                <a:lnTo>
                  <a:pt x="1297973" y="1910828"/>
                </a:lnTo>
                <a:cubicBezTo>
                  <a:pt x="1503999" y="1886045"/>
                  <a:pt x="1663688" y="1710637"/>
                  <a:pt x="1663688" y="1497926"/>
                </a:cubicBezTo>
                <a:cubicBezTo>
                  <a:pt x="1663688" y="1285216"/>
                  <a:pt x="1504028" y="1109807"/>
                  <a:pt x="1297973" y="1085024"/>
                </a:cubicBezTo>
                <a:close/>
                <a:moveTo>
                  <a:pt x="1197565" y="1085024"/>
                </a:moveTo>
                <a:cubicBezTo>
                  <a:pt x="991539" y="1109807"/>
                  <a:pt x="831850" y="1285216"/>
                  <a:pt x="831850" y="1497926"/>
                </a:cubicBezTo>
                <a:cubicBezTo>
                  <a:pt x="831850" y="1710637"/>
                  <a:pt x="991539" y="1886045"/>
                  <a:pt x="1197565" y="1910828"/>
                </a:cubicBezTo>
                <a:lnTo>
                  <a:pt x="1197565" y="1680925"/>
                </a:lnTo>
                <a:cubicBezTo>
                  <a:pt x="1117211" y="1658861"/>
                  <a:pt x="1057987" y="1585191"/>
                  <a:pt x="1057987" y="1497926"/>
                </a:cubicBezTo>
                <a:cubicBezTo>
                  <a:pt x="1057987" y="1410661"/>
                  <a:pt x="1117211" y="1336991"/>
                  <a:pt x="1197565" y="1314927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vert="horz" wrap="square" lIns="0" tIns="0" rIns="0" bIns="1152000" rtlCol="0" anchor="ctr">
            <a:noAutofit/>
          </a:bodyPr>
          <a:lstStyle>
            <a:lvl1pPr>
              <a:defRPr lang="en-GB"/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C2B404-9FBA-1E87-C027-2BB6C644C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110772"/>
            <a:ext cx="6826250" cy="1673731"/>
          </a:xfrm>
        </p:spPr>
        <p:txBody>
          <a:bodyPr anchor="b"/>
          <a:lstStyle>
            <a:lvl1pPr>
              <a:defRPr sz="5000">
                <a:solidFill>
                  <a:schemeClr val="accent2"/>
                </a:solidFill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8598D-4FA6-4246-6447-7B759D632FD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811492"/>
            <a:ext cx="6826250" cy="347270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optional 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B53587-0701-2BC6-CC8A-7319C380CA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849" y="6327552"/>
            <a:ext cx="6868450" cy="347270"/>
          </a:xfrm>
        </p:spPr>
        <p:txBody>
          <a:bodyPr/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Add optional date</a:t>
            </a:r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000BD6F-BC91-443B-2C16-849B7B326B0D}"/>
              </a:ext>
            </a:extLst>
          </p:cNvPr>
          <p:cNvGrpSpPr/>
          <p:nvPr userDrawn="1"/>
        </p:nvGrpSpPr>
        <p:grpSpPr>
          <a:xfrm>
            <a:off x="831849" y="1082662"/>
            <a:ext cx="3353494" cy="825804"/>
            <a:chOff x="13749337" y="746575"/>
            <a:chExt cx="11277504" cy="2777109"/>
          </a:xfrm>
          <a:solidFill>
            <a:schemeClr val="accent1"/>
          </a:solidFill>
        </p:grpSpPr>
        <p:sp>
          <p:nvSpPr>
            <p:cNvPr id="5" name="Freeform: Shape 44">
              <a:extLst>
                <a:ext uri="{FF2B5EF4-FFF2-40B4-BE49-F238E27FC236}">
                  <a16:creationId xmlns:a16="http://schemas.microsoft.com/office/drawing/2014/main" id="{092197CF-DF35-3544-3C8C-2E8396C96ADC}"/>
                </a:ext>
              </a:extLst>
            </p:cNvPr>
            <p:cNvSpPr/>
            <p:nvPr/>
          </p:nvSpPr>
          <p:spPr>
            <a:xfrm>
              <a:off x="13749337" y="746575"/>
              <a:ext cx="5114450" cy="2777109"/>
            </a:xfrm>
            <a:custGeom>
              <a:avLst/>
              <a:gdLst>
                <a:gd name="connsiteX0" fmla="*/ 5080826 w 5114450"/>
                <a:gd name="connsiteY0" fmla="*/ 664559 h 2777109"/>
                <a:gd name="connsiteX1" fmla="*/ 5114450 w 5114450"/>
                <a:gd name="connsiteY1" fmla="*/ 952786 h 2777109"/>
                <a:gd name="connsiteX2" fmla="*/ 4924234 w 5114450"/>
                <a:gd name="connsiteY2" fmla="*/ 952786 h 2777109"/>
                <a:gd name="connsiteX3" fmla="*/ 4911662 w 5114450"/>
                <a:gd name="connsiteY3" fmla="*/ 812292 h 2777109"/>
                <a:gd name="connsiteX4" fmla="*/ 4562570 w 5114450"/>
                <a:gd name="connsiteY4" fmla="*/ 812292 h 2777109"/>
                <a:gd name="connsiteX5" fmla="*/ 4196906 w 5114450"/>
                <a:gd name="connsiteY5" fmla="*/ 972026 h 2777109"/>
                <a:gd name="connsiteX6" fmla="*/ 4047362 w 5114450"/>
                <a:gd name="connsiteY6" fmla="*/ 952786 h 2777109"/>
                <a:gd name="connsiteX7" fmla="*/ 5080826 w 5114450"/>
                <a:gd name="connsiteY7" fmla="*/ 664559 h 2777109"/>
                <a:gd name="connsiteX8" fmla="*/ 4833462 w 5114450"/>
                <a:gd name="connsiteY8" fmla="*/ 250221 h 2777109"/>
                <a:gd name="connsiteX9" fmla="*/ 5031866 w 5114450"/>
                <a:gd name="connsiteY9" fmla="*/ 250221 h 2777109"/>
                <a:gd name="connsiteX10" fmla="*/ 5076634 w 5114450"/>
                <a:gd name="connsiteY10" fmla="*/ 629697 h 2777109"/>
                <a:gd name="connsiteX11" fmla="*/ 4896516 w 5114450"/>
                <a:gd name="connsiteY11" fmla="*/ 650176 h 2777109"/>
                <a:gd name="connsiteX12" fmla="*/ 4876418 w 5114450"/>
                <a:gd name="connsiteY12" fmla="*/ 423767 h 2777109"/>
                <a:gd name="connsiteX13" fmla="*/ 4658010 w 5114450"/>
                <a:gd name="connsiteY13" fmla="*/ 693610 h 2777109"/>
                <a:gd name="connsiteX14" fmla="*/ 4657914 w 5114450"/>
                <a:gd name="connsiteY14" fmla="*/ 693610 h 2777109"/>
                <a:gd name="connsiteX15" fmla="*/ 4412456 w 5114450"/>
                <a:gd name="connsiteY15" fmla="*/ 758856 h 2777109"/>
                <a:gd name="connsiteX16" fmla="*/ 4833462 w 5114450"/>
                <a:gd name="connsiteY16" fmla="*/ 250221 h 2777109"/>
                <a:gd name="connsiteX17" fmla="*/ 4326922 w 5114450"/>
                <a:gd name="connsiteY17" fmla="*/ 232600 h 2777109"/>
                <a:gd name="connsiteX18" fmla="*/ 4614670 w 5114450"/>
                <a:gd name="connsiteY18" fmla="*/ 329279 h 2777109"/>
                <a:gd name="connsiteX19" fmla="*/ 4508658 w 5114450"/>
                <a:gd name="connsiteY19" fmla="*/ 460438 h 2777109"/>
                <a:gd name="connsiteX20" fmla="*/ 4508658 w 5114450"/>
                <a:gd name="connsiteY20" fmla="*/ 460533 h 2777109"/>
                <a:gd name="connsiteX21" fmla="*/ 4299298 w 5114450"/>
                <a:gd name="connsiteY21" fmla="*/ 376999 h 2777109"/>
                <a:gd name="connsiteX22" fmla="*/ 4010024 w 5114450"/>
                <a:gd name="connsiteY22" fmla="*/ 619887 h 2777109"/>
                <a:gd name="connsiteX23" fmla="*/ 4113466 w 5114450"/>
                <a:gd name="connsiteY23" fmla="*/ 811911 h 2777109"/>
                <a:gd name="connsiteX24" fmla="*/ 4215670 w 5114450"/>
                <a:gd name="connsiteY24" fmla="*/ 826484 h 2777109"/>
                <a:gd name="connsiteX25" fmla="*/ 3928300 w 5114450"/>
                <a:gd name="connsiteY25" fmla="*/ 952881 h 2777109"/>
                <a:gd name="connsiteX26" fmla="*/ 3206400 w 5114450"/>
                <a:gd name="connsiteY26" fmla="*/ 952881 h 2777109"/>
                <a:gd name="connsiteX27" fmla="*/ 3454336 w 5114450"/>
                <a:gd name="connsiteY27" fmla="*/ 250317 h 2777109"/>
                <a:gd name="connsiteX28" fmla="*/ 3987164 w 5114450"/>
                <a:gd name="connsiteY28" fmla="*/ 250317 h 2777109"/>
                <a:gd name="connsiteX29" fmla="*/ 3871626 w 5114450"/>
                <a:gd name="connsiteY29" fmla="*/ 390810 h 2777109"/>
                <a:gd name="connsiteX30" fmla="*/ 3587590 w 5114450"/>
                <a:gd name="connsiteY30" fmla="*/ 390810 h 2777109"/>
                <a:gd name="connsiteX31" fmla="*/ 3544156 w 5114450"/>
                <a:gd name="connsiteY31" fmla="*/ 513683 h 2777109"/>
                <a:gd name="connsiteX32" fmla="*/ 3770470 w 5114450"/>
                <a:gd name="connsiteY32" fmla="*/ 513683 h 2777109"/>
                <a:gd name="connsiteX33" fmla="*/ 3655122 w 5114450"/>
                <a:gd name="connsiteY33" fmla="*/ 653796 h 2777109"/>
                <a:gd name="connsiteX34" fmla="*/ 3494722 w 5114450"/>
                <a:gd name="connsiteY34" fmla="*/ 653796 h 2777109"/>
                <a:gd name="connsiteX35" fmla="*/ 3438810 w 5114450"/>
                <a:gd name="connsiteY35" fmla="*/ 812101 h 2777109"/>
                <a:gd name="connsiteX36" fmla="*/ 3873530 w 5114450"/>
                <a:gd name="connsiteY36" fmla="*/ 812101 h 2777109"/>
                <a:gd name="connsiteX37" fmla="*/ 3829430 w 5114450"/>
                <a:gd name="connsiteY37" fmla="*/ 629793 h 2777109"/>
                <a:gd name="connsiteX38" fmla="*/ 4326922 w 5114450"/>
                <a:gd name="connsiteY38" fmla="*/ 232600 h 2777109"/>
                <a:gd name="connsiteX39" fmla="*/ 1567529 w 5114450"/>
                <a:gd name="connsiteY39" fmla="*/ 0 h 2777109"/>
                <a:gd name="connsiteX40" fmla="*/ 2797397 w 5114450"/>
                <a:gd name="connsiteY40" fmla="*/ 1388555 h 2777109"/>
                <a:gd name="connsiteX41" fmla="*/ 1567529 w 5114450"/>
                <a:gd name="connsiteY41" fmla="*/ 2777109 h 2777109"/>
                <a:gd name="connsiteX42" fmla="*/ 1567529 w 5114450"/>
                <a:gd name="connsiteY42" fmla="*/ 2003965 h 2777109"/>
                <a:gd name="connsiteX43" fmla="*/ 2036921 w 5114450"/>
                <a:gd name="connsiteY43" fmla="*/ 1388555 h 2777109"/>
                <a:gd name="connsiteX44" fmla="*/ 1567529 w 5114450"/>
                <a:gd name="connsiteY44" fmla="*/ 773144 h 2777109"/>
                <a:gd name="connsiteX45" fmla="*/ 1229868 w 5114450"/>
                <a:gd name="connsiteY45" fmla="*/ 0 h 2777109"/>
                <a:gd name="connsiteX46" fmla="*/ 1229868 w 5114450"/>
                <a:gd name="connsiteY46" fmla="*/ 773144 h 2777109"/>
                <a:gd name="connsiteX47" fmla="*/ 760476 w 5114450"/>
                <a:gd name="connsiteY47" fmla="*/ 1388555 h 2777109"/>
                <a:gd name="connsiteX48" fmla="*/ 1229868 w 5114450"/>
                <a:gd name="connsiteY48" fmla="*/ 2003965 h 2777109"/>
                <a:gd name="connsiteX49" fmla="*/ 1229868 w 5114450"/>
                <a:gd name="connsiteY49" fmla="*/ 2777109 h 2777109"/>
                <a:gd name="connsiteX50" fmla="*/ 0 w 5114450"/>
                <a:gd name="connsiteY50" fmla="*/ 1388555 h 2777109"/>
                <a:gd name="connsiteX51" fmla="*/ 1229868 w 5114450"/>
                <a:gd name="connsiteY51" fmla="*/ 0 h 2777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114450" h="2777109">
                  <a:moveTo>
                    <a:pt x="5080826" y="664559"/>
                  </a:moveTo>
                  <a:lnTo>
                    <a:pt x="5114450" y="952786"/>
                  </a:lnTo>
                  <a:lnTo>
                    <a:pt x="4924234" y="952786"/>
                  </a:lnTo>
                  <a:cubicBezTo>
                    <a:pt x="4924234" y="952786"/>
                    <a:pt x="4911662" y="812292"/>
                    <a:pt x="4911662" y="812292"/>
                  </a:cubicBezTo>
                  <a:lnTo>
                    <a:pt x="4562570" y="812292"/>
                  </a:lnTo>
                  <a:cubicBezTo>
                    <a:pt x="4448746" y="938022"/>
                    <a:pt x="4354162" y="972026"/>
                    <a:pt x="4196906" y="972026"/>
                  </a:cubicBezTo>
                  <a:cubicBezTo>
                    <a:pt x="4140136" y="972026"/>
                    <a:pt x="4086892" y="965549"/>
                    <a:pt x="4047362" y="952786"/>
                  </a:cubicBezTo>
                  <a:cubicBezTo>
                    <a:pt x="4047362" y="952786"/>
                    <a:pt x="4500562" y="719233"/>
                    <a:pt x="5080826" y="664559"/>
                  </a:cubicBezTo>
                  <a:close/>
                  <a:moveTo>
                    <a:pt x="4833462" y="250221"/>
                  </a:moveTo>
                  <a:lnTo>
                    <a:pt x="5031866" y="250221"/>
                  </a:lnTo>
                  <a:lnTo>
                    <a:pt x="5076634" y="629697"/>
                  </a:lnTo>
                  <a:cubicBezTo>
                    <a:pt x="5016626" y="636079"/>
                    <a:pt x="4955094" y="641127"/>
                    <a:pt x="4896516" y="650176"/>
                  </a:cubicBezTo>
                  <a:lnTo>
                    <a:pt x="4876418" y="423767"/>
                  </a:lnTo>
                  <a:lnTo>
                    <a:pt x="4658010" y="693610"/>
                  </a:lnTo>
                  <a:lnTo>
                    <a:pt x="4657914" y="693610"/>
                  </a:lnTo>
                  <a:cubicBezTo>
                    <a:pt x="4574094" y="712470"/>
                    <a:pt x="4492274" y="734282"/>
                    <a:pt x="4412456" y="758856"/>
                  </a:cubicBezTo>
                  <a:cubicBezTo>
                    <a:pt x="4412456" y="758856"/>
                    <a:pt x="4833462" y="250221"/>
                    <a:pt x="4833462" y="250221"/>
                  </a:cubicBezTo>
                  <a:close/>
                  <a:moveTo>
                    <a:pt x="4326922" y="232600"/>
                  </a:moveTo>
                  <a:cubicBezTo>
                    <a:pt x="4449222" y="232600"/>
                    <a:pt x="4548090" y="269271"/>
                    <a:pt x="4614670" y="329279"/>
                  </a:cubicBezTo>
                  <a:lnTo>
                    <a:pt x="4508658" y="460438"/>
                  </a:lnTo>
                  <a:lnTo>
                    <a:pt x="4508658" y="460533"/>
                  </a:lnTo>
                  <a:cubicBezTo>
                    <a:pt x="4467130" y="414051"/>
                    <a:pt x="4383498" y="376999"/>
                    <a:pt x="4299298" y="376999"/>
                  </a:cubicBezTo>
                  <a:cubicBezTo>
                    <a:pt x="4128706" y="376999"/>
                    <a:pt x="4021930" y="498538"/>
                    <a:pt x="4010024" y="619887"/>
                  </a:cubicBezTo>
                  <a:cubicBezTo>
                    <a:pt x="3999928" y="723042"/>
                    <a:pt x="4035838" y="785241"/>
                    <a:pt x="4113466" y="811911"/>
                  </a:cubicBezTo>
                  <a:cubicBezTo>
                    <a:pt x="4156518" y="822769"/>
                    <a:pt x="4180902" y="825246"/>
                    <a:pt x="4215670" y="826484"/>
                  </a:cubicBezTo>
                  <a:cubicBezTo>
                    <a:pt x="4030408" y="898017"/>
                    <a:pt x="3928300" y="952881"/>
                    <a:pt x="3928300" y="952881"/>
                  </a:cubicBezTo>
                  <a:lnTo>
                    <a:pt x="3206400" y="952881"/>
                  </a:lnTo>
                  <a:cubicBezTo>
                    <a:pt x="3206400" y="952881"/>
                    <a:pt x="3454336" y="250317"/>
                    <a:pt x="3454336" y="250317"/>
                  </a:cubicBezTo>
                  <a:lnTo>
                    <a:pt x="3987164" y="250317"/>
                  </a:lnTo>
                  <a:cubicBezTo>
                    <a:pt x="3987164" y="250317"/>
                    <a:pt x="3871626" y="390810"/>
                    <a:pt x="3871626" y="390810"/>
                  </a:cubicBezTo>
                  <a:lnTo>
                    <a:pt x="3587590" y="390810"/>
                  </a:lnTo>
                  <a:cubicBezTo>
                    <a:pt x="3587590" y="390810"/>
                    <a:pt x="3544156" y="513683"/>
                    <a:pt x="3544156" y="513683"/>
                  </a:cubicBezTo>
                  <a:lnTo>
                    <a:pt x="3770470" y="513683"/>
                  </a:lnTo>
                  <a:cubicBezTo>
                    <a:pt x="3770470" y="513683"/>
                    <a:pt x="3655122" y="653796"/>
                    <a:pt x="3655122" y="653796"/>
                  </a:cubicBezTo>
                  <a:lnTo>
                    <a:pt x="3494722" y="653796"/>
                  </a:lnTo>
                  <a:cubicBezTo>
                    <a:pt x="3494722" y="653796"/>
                    <a:pt x="3438810" y="812101"/>
                    <a:pt x="3438810" y="812101"/>
                  </a:cubicBezTo>
                  <a:lnTo>
                    <a:pt x="3873530" y="812101"/>
                  </a:lnTo>
                  <a:cubicBezTo>
                    <a:pt x="3837336" y="752284"/>
                    <a:pt x="3826192" y="691610"/>
                    <a:pt x="3829430" y="629793"/>
                  </a:cubicBezTo>
                  <a:cubicBezTo>
                    <a:pt x="3840290" y="425481"/>
                    <a:pt x="4007454" y="232600"/>
                    <a:pt x="4326922" y="232600"/>
                  </a:cubicBezTo>
                  <a:close/>
                  <a:moveTo>
                    <a:pt x="1567529" y="0"/>
                  </a:moveTo>
                  <a:cubicBezTo>
                    <a:pt x="2260473" y="83344"/>
                    <a:pt x="2797397" y="673227"/>
                    <a:pt x="2797397" y="1388555"/>
                  </a:cubicBezTo>
                  <a:cubicBezTo>
                    <a:pt x="2797397" y="2103882"/>
                    <a:pt x="2260378" y="2693765"/>
                    <a:pt x="1567529" y="2777109"/>
                  </a:cubicBezTo>
                  <a:lnTo>
                    <a:pt x="1567529" y="2003965"/>
                  </a:lnTo>
                  <a:cubicBezTo>
                    <a:pt x="1837754" y="1929765"/>
                    <a:pt x="2036921" y="1682020"/>
                    <a:pt x="2036921" y="1388555"/>
                  </a:cubicBezTo>
                  <a:cubicBezTo>
                    <a:pt x="2036921" y="1095089"/>
                    <a:pt x="1837754" y="847344"/>
                    <a:pt x="1567529" y="773144"/>
                  </a:cubicBezTo>
                  <a:close/>
                  <a:moveTo>
                    <a:pt x="1229868" y="0"/>
                  </a:moveTo>
                  <a:lnTo>
                    <a:pt x="1229868" y="773144"/>
                  </a:lnTo>
                  <a:cubicBezTo>
                    <a:pt x="959644" y="847344"/>
                    <a:pt x="760476" y="1095089"/>
                    <a:pt x="760476" y="1388555"/>
                  </a:cubicBezTo>
                  <a:cubicBezTo>
                    <a:pt x="760476" y="1682020"/>
                    <a:pt x="959644" y="1929765"/>
                    <a:pt x="1229868" y="2003965"/>
                  </a:cubicBezTo>
                  <a:lnTo>
                    <a:pt x="1229868" y="2777109"/>
                  </a:lnTo>
                  <a:cubicBezTo>
                    <a:pt x="537020" y="2693765"/>
                    <a:pt x="0" y="2103882"/>
                    <a:pt x="0" y="1388555"/>
                  </a:cubicBezTo>
                  <a:cubicBezTo>
                    <a:pt x="0" y="673227"/>
                    <a:pt x="537020" y="83344"/>
                    <a:pt x="1229868" y="0"/>
                  </a:cubicBezTo>
                  <a:close/>
                </a:path>
              </a:pathLst>
            </a:custGeom>
            <a:solidFill>
              <a:schemeClr val="accent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6" name="Freeform: Shape 24">
              <a:extLst>
                <a:ext uri="{FF2B5EF4-FFF2-40B4-BE49-F238E27FC236}">
                  <a16:creationId xmlns:a16="http://schemas.microsoft.com/office/drawing/2014/main" id="{F76C065E-E4DB-769F-5E26-2E81A684442C}"/>
                </a:ext>
              </a:extLst>
            </p:cNvPr>
            <p:cNvSpPr/>
            <p:nvPr/>
          </p:nvSpPr>
          <p:spPr>
            <a:xfrm>
              <a:off x="16955738" y="1931294"/>
              <a:ext cx="8071103" cy="1359693"/>
            </a:xfrm>
            <a:custGeom>
              <a:avLst/>
              <a:gdLst>
                <a:gd name="connsiteX0" fmla="*/ 0 w 8071103"/>
                <a:gd name="connsiteY0" fmla="*/ 1074230 h 1359693"/>
                <a:gd name="connsiteX1" fmla="*/ 0 w 8071103"/>
                <a:gd name="connsiteY1" fmla="*/ 283559 h 1359693"/>
                <a:gd name="connsiteX2" fmla="*/ 308038 w 8071103"/>
                <a:gd name="connsiteY2" fmla="*/ 0 h 1359693"/>
                <a:gd name="connsiteX3" fmla="*/ 616077 w 8071103"/>
                <a:gd name="connsiteY3" fmla="*/ 283559 h 1359693"/>
                <a:gd name="connsiteX4" fmla="*/ 616077 w 8071103"/>
                <a:gd name="connsiteY4" fmla="*/ 557784 h 1359693"/>
                <a:gd name="connsiteX5" fmla="*/ 379476 w 8071103"/>
                <a:gd name="connsiteY5" fmla="*/ 557784 h 1359693"/>
                <a:gd name="connsiteX6" fmla="*/ 379476 w 8071103"/>
                <a:gd name="connsiteY6" fmla="*/ 285464 h 1359693"/>
                <a:gd name="connsiteX7" fmla="*/ 308134 w 8071103"/>
                <a:gd name="connsiteY7" fmla="*/ 215932 h 1359693"/>
                <a:gd name="connsiteX8" fmla="*/ 236791 w 8071103"/>
                <a:gd name="connsiteY8" fmla="*/ 285464 h 1359693"/>
                <a:gd name="connsiteX9" fmla="*/ 236791 w 8071103"/>
                <a:gd name="connsiteY9" fmla="*/ 1074230 h 1359693"/>
                <a:gd name="connsiteX10" fmla="*/ 308134 w 8071103"/>
                <a:gd name="connsiteY10" fmla="*/ 1143667 h 1359693"/>
                <a:gd name="connsiteX11" fmla="*/ 379476 w 8071103"/>
                <a:gd name="connsiteY11" fmla="*/ 1074230 h 1359693"/>
                <a:gd name="connsiteX12" fmla="*/ 379476 w 8071103"/>
                <a:gd name="connsiteY12" fmla="*/ 783146 h 1359693"/>
                <a:gd name="connsiteX13" fmla="*/ 616077 w 8071103"/>
                <a:gd name="connsiteY13" fmla="*/ 783146 h 1359693"/>
                <a:gd name="connsiteX14" fmla="*/ 616077 w 8071103"/>
                <a:gd name="connsiteY14" fmla="*/ 1074230 h 1359693"/>
                <a:gd name="connsiteX15" fmla="*/ 308038 w 8071103"/>
                <a:gd name="connsiteY15" fmla="*/ 1359694 h 1359693"/>
                <a:gd name="connsiteX16" fmla="*/ 0 w 8071103"/>
                <a:gd name="connsiteY16" fmla="*/ 1074230 h 1359693"/>
                <a:gd name="connsiteX17" fmla="*/ 762476 w 8071103"/>
                <a:gd name="connsiteY17" fmla="*/ 22574 h 1359693"/>
                <a:gd name="connsiteX18" fmla="*/ 999077 w 8071103"/>
                <a:gd name="connsiteY18" fmla="*/ 22574 h 1359693"/>
                <a:gd name="connsiteX19" fmla="*/ 999077 w 8071103"/>
                <a:gd name="connsiteY19" fmla="*/ 1121283 h 1359693"/>
                <a:gd name="connsiteX20" fmla="*/ 1198150 w 8071103"/>
                <a:gd name="connsiteY20" fmla="*/ 1121283 h 1359693"/>
                <a:gd name="connsiteX21" fmla="*/ 1198150 w 8071103"/>
                <a:gd name="connsiteY21" fmla="*/ 1337215 h 1359693"/>
                <a:gd name="connsiteX22" fmla="*/ 762476 w 8071103"/>
                <a:gd name="connsiteY22" fmla="*/ 1337215 h 1359693"/>
                <a:gd name="connsiteX23" fmla="*/ 762476 w 8071103"/>
                <a:gd name="connsiteY23" fmla="*/ 22574 h 1359693"/>
                <a:gd name="connsiteX24" fmla="*/ 1293971 w 8071103"/>
                <a:gd name="connsiteY24" fmla="*/ 1074230 h 1359693"/>
                <a:gd name="connsiteX25" fmla="*/ 1293971 w 8071103"/>
                <a:gd name="connsiteY25" fmla="*/ 22479 h 1359693"/>
                <a:gd name="connsiteX26" fmla="*/ 1530572 w 8071103"/>
                <a:gd name="connsiteY26" fmla="*/ 22479 h 1359693"/>
                <a:gd name="connsiteX27" fmla="*/ 1530572 w 8071103"/>
                <a:gd name="connsiteY27" fmla="*/ 1074230 h 1359693"/>
                <a:gd name="connsiteX28" fmla="*/ 1600105 w 8071103"/>
                <a:gd name="connsiteY28" fmla="*/ 1143667 h 1359693"/>
                <a:gd name="connsiteX29" fmla="*/ 1671447 w 8071103"/>
                <a:gd name="connsiteY29" fmla="*/ 1074230 h 1359693"/>
                <a:gd name="connsiteX30" fmla="*/ 1671447 w 8071103"/>
                <a:gd name="connsiteY30" fmla="*/ 22479 h 1359693"/>
                <a:gd name="connsiteX31" fmla="*/ 1908048 w 8071103"/>
                <a:gd name="connsiteY31" fmla="*/ 22479 h 1359693"/>
                <a:gd name="connsiteX32" fmla="*/ 1908048 w 8071103"/>
                <a:gd name="connsiteY32" fmla="*/ 1074230 h 1359693"/>
                <a:gd name="connsiteX33" fmla="*/ 1600009 w 8071103"/>
                <a:gd name="connsiteY33" fmla="*/ 1359694 h 1359693"/>
                <a:gd name="connsiteX34" fmla="*/ 1293876 w 8071103"/>
                <a:gd name="connsiteY34" fmla="*/ 1074230 h 1359693"/>
                <a:gd name="connsiteX35" fmla="*/ 2060162 w 8071103"/>
                <a:gd name="connsiteY35" fmla="*/ 22574 h 1359693"/>
                <a:gd name="connsiteX36" fmla="*/ 2394490 w 8071103"/>
                <a:gd name="connsiteY36" fmla="*/ 22574 h 1359693"/>
                <a:gd name="connsiteX37" fmla="*/ 2674335 w 8071103"/>
                <a:gd name="connsiteY37" fmla="*/ 279844 h 1359693"/>
                <a:gd name="connsiteX38" fmla="*/ 2674335 w 8071103"/>
                <a:gd name="connsiteY38" fmla="*/ 458248 h 1359693"/>
                <a:gd name="connsiteX39" fmla="*/ 2565369 w 8071103"/>
                <a:gd name="connsiteY39" fmla="*/ 651701 h 1359693"/>
                <a:gd name="connsiteX40" fmla="*/ 2565369 w 8071103"/>
                <a:gd name="connsiteY40" fmla="*/ 662940 h 1359693"/>
                <a:gd name="connsiteX41" fmla="*/ 2685574 w 8071103"/>
                <a:gd name="connsiteY41" fmla="*/ 865727 h 1359693"/>
                <a:gd name="connsiteX42" fmla="*/ 2685574 w 8071103"/>
                <a:gd name="connsiteY42" fmla="*/ 1079849 h 1359693"/>
                <a:gd name="connsiteX43" fmla="*/ 2405729 w 8071103"/>
                <a:gd name="connsiteY43" fmla="*/ 1337120 h 1359693"/>
                <a:gd name="connsiteX44" fmla="*/ 2060162 w 8071103"/>
                <a:gd name="connsiteY44" fmla="*/ 1337120 h 1359693"/>
                <a:gd name="connsiteX45" fmla="*/ 2060162 w 8071103"/>
                <a:gd name="connsiteY45" fmla="*/ 22574 h 1359693"/>
                <a:gd name="connsiteX46" fmla="*/ 2296763 w 8071103"/>
                <a:gd name="connsiteY46" fmla="*/ 238506 h 1359693"/>
                <a:gd name="connsiteX47" fmla="*/ 2296763 w 8071103"/>
                <a:gd name="connsiteY47" fmla="*/ 569024 h 1359693"/>
                <a:gd name="connsiteX48" fmla="*/ 2366296 w 8071103"/>
                <a:gd name="connsiteY48" fmla="*/ 569024 h 1359693"/>
                <a:gd name="connsiteX49" fmla="*/ 2437638 w 8071103"/>
                <a:gd name="connsiteY49" fmla="*/ 497681 h 1359693"/>
                <a:gd name="connsiteX50" fmla="*/ 2437638 w 8071103"/>
                <a:gd name="connsiteY50" fmla="*/ 307943 h 1359693"/>
                <a:gd name="connsiteX51" fmla="*/ 2366296 w 8071103"/>
                <a:gd name="connsiteY51" fmla="*/ 238506 h 1359693"/>
                <a:gd name="connsiteX52" fmla="*/ 2296763 w 8071103"/>
                <a:gd name="connsiteY52" fmla="*/ 238506 h 1359693"/>
                <a:gd name="connsiteX53" fmla="*/ 2296763 w 8071103"/>
                <a:gd name="connsiteY53" fmla="*/ 770001 h 1359693"/>
                <a:gd name="connsiteX54" fmla="*/ 2296763 w 8071103"/>
                <a:gd name="connsiteY54" fmla="*/ 1121188 h 1359693"/>
                <a:gd name="connsiteX55" fmla="*/ 2379440 w 8071103"/>
                <a:gd name="connsiteY55" fmla="*/ 1121188 h 1359693"/>
                <a:gd name="connsiteX56" fmla="*/ 2448973 w 8071103"/>
                <a:gd name="connsiteY56" fmla="*/ 1051655 h 1359693"/>
                <a:gd name="connsiteX57" fmla="*/ 2448973 w 8071103"/>
                <a:gd name="connsiteY57" fmla="*/ 841343 h 1359693"/>
                <a:gd name="connsiteX58" fmla="*/ 2379440 w 8071103"/>
                <a:gd name="connsiteY58" fmla="*/ 770001 h 1359693"/>
                <a:gd name="connsiteX59" fmla="*/ 2296763 w 8071103"/>
                <a:gd name="connsiteY59" fmla="*/ 770001 h 1359693"/>
                <a:gd name="connsiteX60" fmla="*/ 3094482 w 8071103"/>
                <a:gd name="connsiteY60" fmla="*/ 1074230 h 1359693"/>
                <a:gd name="connsiteX61" fmla="*/ 3094482 w 8071103"/>
                <a:gd name="connsiteY61" fmla="*/ 283559 h 1359693"/>
                <a:gd name="connsiteX62" fmla="*/ 3402520 w 8071103"/>
                <a:gd name="connsiteY62" fmla="*/ 0 h 1359693"/>
                <a:gd name="connsiteX63" fmla="*/ 3710559 w 8071103"/>
                <a:gd name="connsiteY63" fmla="*/ 283559 h 1359693"/>
                <a:gd name="connsiteX64" fmla="*/ 3710559 w 8071103"/>
                <a:gd name="connsiteY64" fmla="*/ 557784 h 1359693"/>
                <a:gd name="connsiteX65" fmla="*/ 3473958 w 8071103"/>
                <a:gd name="connsiteY65" fmla="*/ 557784 h 1359693"/>
                <a:gd name="connsiteX66" fmla="*/ 3473958 w 8071103"/>
                <a:gd name="connsiteY66" fmla="*/ 285464 h 1359693"/>
                <a:gd name="connsiteX67" fmla="*/ 3402616 w 8071103"/>
                <a:gd name="connsiteY67" fmla="*/ 215932 h 1359693"/>
                <a:gd name="connsiteX68" fmla="*/ 3331274 w 8071103"/>
                <a:gd name="connsiteY68" fmla="*/ 285464 h 1359693"/>
                <a:gd name="connsiteX69" fmla="*/ 3331274 w 8071103"/>
                <a:gd name="connsiteY69" fmla="*/ 1074230 h 1359693"/>
                <a:gd name="connsiteX70" fmla="*/ 3402616 w 8071103"/>
                <a:gd name="connsiteY70" fmla="*/ 1143667 h 1359693"/>
                <a:gd name="connsiteX71" fmla="*/ 3473958 w 8071103"/>
                <a:gd name="connsiteY71" fmla="*/ 1074230 h 1359693"/>
                <a:gd name="connsiteX72" fmla="*/ 3473958 w 8071103"/>
                <a:gd name="connsiteY72" fmla="*/ 783146 h 1359693"/>
                <a:gd name="connsiteX73" fmla="*/ 3710559 w 8071103"/>
                <a:gd name="connsiteY73" fmla="*/ 783146 h 1359693"/>
                <a:gd name="connsiteX74" fmla="*/ 3710559 w 8071103"/>
                <a:gd name="connsiteY74" fmla="*/ 1074230 h 1359693"/>
                <a:gd name="connsiteX75" fmla="*/ 3402520 w 8071103"/>
                <a:gd name="connsiteY75" fmla="*/ 1359694 h 1359693"/>
                <a:gd name="connsiteX76" fmla="*/ 3094482 w 8071103"/>
                <a:gd name="connsiteY76" fmla="*/ 1074230 h 1359693"/>
                <a:gd name="connsiteX77" fmla="*/ 3849434 w 8071103"/>
                <a:gd name="connsiteY77" fmla="*/ 1074230 h 1359693"/>
                <a:gd name="connsiteX78" fmla="*/ 3849434 w 8071103"/>
                <a:gd name="connsiteY78" fmla="*/ 283559 h 1359693"/>
                <a:gd name="connsiteX79" fmla="*/ 4157472 w 8071103"/>
                <a:gd name="connsiteY79" fmla="*/ 0 h 1359693"/>
                <a:gd name="connsiteX80" fmla="*/ 4465511 w 8071103"/>
                <a:gd name="connsiteY80" fmla="*/ 283559 h 1359693"/>
                <a:gd name="connsiteX81" fmla="*/ 4465511 w 8071103"/>
                <a:gd name="connsiteY81" fmla="*/ 1074230 h 1359693"/>
                <a:gd name="connsiteX82" fmla="*/ 4157472 w 8071103"/>
                <a:gd name="connsiteY82" fmla="*/ 1359694 h 1359693"/>
                <a:gd name="connsiteX83" fmla="*/ 3849434 w 8071103"/>
                <a:gd name="connsiteY83" fmla="*/ 1074230 h 1359693"/>
                <a:gd name="connsiteX84" fmla="*/ 4228814 w 8071103"/>
                <a:gd name="connsiteY84" fmla="*/ 1074230 h 1359693"/>
                <a:gd name="connsiteX85" fmla="*/ 4228814 w 8071103"/>
                <a:gd name="connsiteY85" fmla="*/ 285464 h 1359693"/>
                <a:gd name="connsiteX86" fmla="*/ 4157472 w 8071103"/>
                <a:gd name="connsiteY86" fmla="*/ 215932 h 1359693"/>
                <a:gd name="connsiteX87" fmla="*/ 4086130 w 8071103"/>
                <a:gd name="connsiteY87" fmla="*/ 285464 h 1359693"/>
                <a:gd name="connsiteX88" fmla="*/ 4086130 w 8071103"/>
                <a:gd name="connsiteY88" fmla="*/ 1074230 h 1359693"/>
                <a:gd name="connsiteX89" fmla="*/ 4157472 w 8071103"/>
                <a:gd name="connsiteY89" fmla="*/ 1143667 h 1359693"/>
                <a:gd name="connsiteX90" fmla="*/ 4228814 w 8071103"/>
                <a:gd name="connsiteY90" fmla="*/ 1074230 h 1359693"/>
                <a:gd name="connsiteX91" fmla="*/ 4613720 w 8071103"/>
                <a:gd name="connsiteY91" fmla="*/ 22574 h 1359693"/>
                <a:gd name="connsiteX92" fmla="*/ 4886039 w 8071103"/>
                <a:gd name="connsiteY92" fmla="*/ 22574 h 1359693"/>
                <a:gd name="connsiteX93" fmla="*/ 5021294 w 8071103"/>
                <a:gd name="connsiteY93" fmla="*/ 646081 h 1359693"/>
                <a:gd name="connsiteX94" fmla="*/ 5040059 w 8071103"/>
                <a:gd name="connsiteY94" fmla="*/ 811340 h 1359693"/>
                <a:gd name="connsiteX95" fmla="*/ 5071967 w 8071103"/>
                <a:gd name="connsiteY95" fmla="*/ 811340 h 1359693"/>
                <a:gd name="connsiteX96" fmla="*/ 5051298 w 8071103"/>
                <a:gd name="connsiteY96" fmla="*/ 646081 h 1359693"/>
                <a:gd name="connsiteX97" fmla="*/ 5051298 w 8071103"/>
                <a:gd name="connsiteY97" fmla="*/ 22574 h 1359693"/>
                <a:gd name="connsiteX98" fmla="*/ 5287899 w 8071103"/>
                <a:gd name="connsiteY98" fmla="*/ 22574 h 1359693"/>
                <a:gd name="connsiteX99" fmla="*/ 5287899 w 8071103"/>
                <a:gd name="connsiteY99" fmla="*/ 1337215 h 1359693"/>
                <a:gd name="connsiteX100" fmla="*/ 5017485 w 8071103"/>
                <a:gd name="connsiteY100" fmla="*/ 1337215 h 1359693"/>
                <a:gd name="connsiteX101" fmla="*/ 4882230 w 8071103"/>
                <a:gd name="connsiteY101" fmla="*/ 713708 h 1359693"/>
                <a:gd name="connsiteX102" fmla="*/ 4861560 w 8071103"/>
                <a:gd name="connsiteY102" fmla="*/ 548450 h 1359693"/>
                <a:gd name="connsiteX103" fmla="*/ 4829651 w 8071103"/>
                <a:gd name="connsiteY103" fmla="*/ 548450 h 1359693"/>
                <a:gd name="connsiteX104" fmla="*/ 4850320 w 8071103"/>
                <a:gd name="connsiteY104" fmla="*/ 713708 h 1359693"/>
                <a:gd name="connsiteX105" fmla="*/ 4850320 w 8071103"/>
                <a:gd name="connsiteY105" fmla="*/ 1337215 h 1359693"/>
                <a:gd name="connsiteX106" fmla="*/ 4613720 w 8071103"/>
                <a:gd name="connsiteY106" fmla="*/ 1337215 h 1359693"/>
                <a:gd name="connsiteX107" fmla="*/ 4613720 w 8071103"/>
                <a:gd name="connsiteY107" fmla="*/ 22574 h 1359693"/>
                <a:gd name="connsiteX108" fmla="*/ 5443823 w 8071103"/>
                <a:gd name="connsiteY108" fmla="*/ 22574 h 1359693"/>
                <a:gd name="connsiteX109" fmla="*/ 5716143 w 8071103"/>
                <a:gd name="connsiteY109" fmla="*/ 22574 h 1359693"/>
                <a:gd name="connsiteX110" fmla="*/ 5851398 w 8071103"/>
                <a:gd name="connsiteY110" fmla="*/ 646081 h 1359693"/>
                <a:gd name="connsiteX111" fmla="*/ 5870162 w 8071103"/>
                <a:gd name="connsiteY111" fmla="*/ 811340 h 1359693"/>
                <a:gd name="connsiteX112" fmla="*/ 5902071 w 8071103"/>
                <a:gd name="connsiteY112" fmla="*/ 811340 h 1359693"/>
                <a:gd name="connsiteX113" fmla="*/ 5881402 w 8071103"/>
                <a:gd name="connsiteY113" fmla="*/ 646081 h 1359693"/>
                <a:gd name="connsiteX114" fmla="*/ 5881402 w 8071103"/>
                <a:gd name="connsiteY114" fmla="*/ 22574 h 1359693"/>
                <a:gd name="connsiteX115" fmla="*/ 6118003 w 8071103"/>
                <a:gd name="connsiteY115" fmla="*/ 22574 h 1359693"/>
                <a:gd name="connsiteX116" fmla="*/ 6118003 w 8071103"/>
                <a:gd name="connsiteY116" fmla="*/ 1337215 h 1359693"/>
                <a:gd name="connsiteX117" fmla="*/ 5847588 w 8071103"/>
                <a:gd name="connsiteY117" fmla="*/ 1337215 h 1359693"/>
                <a:gd name="connsiteX118" fmla="*/ 5712333 w 8071103"/>
                <a:gd name="connsiteY118" fmla="*/ 713708 h 1359693"/>
                <a:gd name="connsiteX119" fmla="*/ 5691664 w 8071103"/>
                <a:gd name="connsiteY119" fmla="*/ 548450 h 1359693"/>
                <a:gd name="connsiteX120" fmla="*/ 5659755 w 8071103"/>
                <a:gd name="connsiteY120" fmla="*/ 548450 h 1359693"/>
                <a:gd name="connsiteX121" fmla="*/ 5680424 w 8071103"/>
                <a:gd name="connsiteY121" fmla="*/ 713708 h 1359693"/>
                <a:gd name="connsiteX122" fmla="*/ 5680424 w 8071103"/>
                <a:gd name="connsiteY122" fmla="*/ 1337215 h 1359693"/>
                <a:gd name="connsiteX123" fmla="*/ 5443823 w 8071103"/>
                <a:gd name="connsiteY123" fmla="*/ 1337215 h 1359693"/>
                <a:gd name="connsiteX124" fmla="*/ 5443823 w 8071103"/>
                <a:gd name="connsiteY124" fmla="*/ 22574 h 1359693"/>
                <a:gd name="connsiteX125" fmla="*/ 6273832 w 8071103"/>
                <a:gd name="connsiteY125" fmla="*/ 22574 h 1359693"/>
                <a:gd name="connsiteX126" fmla="*/ 6720840 w 8071103"/>
                <a:gd name="connsiteY126" fmla="*/ 22574 h 1359693"/>
                <a:gd name="connsiteX127" fmla="*/ 6720840 w 8071103"/>
                <a:gd name="connsiteY127" fmla="*/ 238601 h 1359693"/>
                <a:gd name="connsiteX128" fmla="*/ 6510528 w 8071103"/>
                <a:gd name="connsiteY128" fmla="*/ 238601 h 1359693"/>
                <a:gd name="connsiteX129" fmla="*/ 6510528 w 8071103"/>
                <a:gd name="connsiteY129" fmla="*/ 565404 h 1359693"/>
                <a:gd name="connsiteX130" fmla="*/ 6700172 w 8071103"/>
                <a:gd name="connsiteY130" fmla="*/ 565404 h 1359693"/>
                <a:gd name="connsiteX131" fmla="*/ 6700172 w 8071103"/>
                <a:gd name="connsiteY131" fmla="*/ 775716 h 1359693"/>
                <a:gd name="connsiteX132" fmla="*/ 6510528 w 8071103"/>
                <a:gd name="connsiteY132" fmla="*/ 775716 h 1359693"/>
                <a:gd name="connsiteX133" fmla="*/ 6510528 w 8071103"/>
                <a:gd name="connsiteY133" fmla="*/ 1121283 h 1359693"/>
                <a:gd name="connsiteX134" fmla="*/ 6720840 w 8071103"/>
                <a:gd name="connsiteY134" fmla="*/ 1121283 h 1359693"/>
                <a:gd name="connsiteX135" fmla="*/ 6720840 w 8071103"/>
                <a:gd name="connsiteY135" fmla="*/ 1337215 h 1359693"/>
                <a:gd name="connsiteX136" fmla="*/ 6273832 w 8071103"/>
                <a:gd name="connsiteY136" fmla="*/ 1337215 h 1359693"/>
                <a:gd name="connsiteX137" fmla="*/ 6273832 w 8071103"/>
                <a:gd name="connsiteY137" fmla="*/ 22574 h 1359693"/>
                <a:gd name="connsiteX138" fmla="*/ 6846665 w 8071103"/>
                <a:gd name="connsiteY138" fmla="*/ 1074230 h 1359693"/>
                <a:gd name="connsiteX139" fmla="*/ 6846665 w 8071103"/>
                <a:gd name="connsiteY139" fmla="*/ 283559 h 1359693"/>
                <a:gd name="connsiteX140" fmla="*/ 7154704 w 8071103"/>
                <a:gd name="connsiteY140" fmla="*/ 0 h 1359693"/>
                <a:gd name="connsiteX141" fmla="*/ 7462742 w 8071103"/>
                <a:gd name="connsiteY141" fmla="*/ 283559 h 1359693"/>
                <a:gd name="connsiteX142" fmla="*/ 7462742 w 8071103"/>
                <a:gd name="connsiteY142" fmla="*/ 557784 h 1359693"/>
                <a:gd name="connsiteX143" fmla="*/ 7226142 w 8071103"/>
                <a:gd name="connsiteY143" fmla="*/ 557784 h 1359693"/>
                <a:gd name="connsiteX144" fmla="*/ 7226142 w 8071103"/>
                <a:gd name="connsiteY144" fmla="*/ 285464 h 1359693"/>
                <a:gd name="connsiteX145" fmla="*/ 7154800 w 8071103"/>
                <a:gd name="connsiteY145" fmla="*/ 215932 h 1359693"/>
                <a:gd name="connsiteX146" fmla="*/ 7083457 w 8071103"/>
                <a:gd name="connsiteY146" fmla="*/ 285464 h 1359693"/>
                <a:gd name="connsiteX147" fmla="*/ 7083457 w 8071103"/>
                <a:gd name="connsiteY147" fmla="*/ 1074230 h 1359693"/>
                <a:gd name="connsiteX148" fmla="*/ 7154800 w 8071103"/>
                <a:gd name="connsiteY148" fmla="*/ 1143667 h 1359693"/>
                <a:gd name="connsiteX149" fmla="*/ 7226142 w 8071103"/>
                <a:gd name="connsiteY149" fmla="*/ 1074230 h 1359693"/>
                <a:gd name="connsiteX150" fmla="*/ 7226142 w 8071103"/>
                <a:gd name="connsiteY150" fmla="*/ 783146 h 1359693"/>
                <a:gd name="connsiteX151" fmla="*/ 7462742 w 8071103"/>
                <a:gd name="connsiteY151" fmla="*/ 783146 h 1359693"/>
                <a:gd name="connsiteX152" fmla="*/ 7462742 w 8071103"/>
                <a:gd name="connsiteY152" fmla="*/ 1074230 h 1359693"/>
                <a:gd name="connsiteX153" fmla="*/ 7154704 w 8071103"/>
                <a:gd name="connsiteY153" fmla="*/ 1359694 h 1359693"/>
                <a:gd name="connsiteX154" fmla="*/ 6846665 w 8071103"/>
                <a:gd name="connsiteY154" fmla="*/ 1074230 h 1359693"/>
                <a:gd name="connsiteX155" fmla="*/ 7699248 w 8071103"/>
                <a:gd name="connsiteY155" fmla="*/ 238506 h 1359693"/>
                <a:gd name="connsiteX156" fmla="*/ 7563993 w 8071103"/>
                <a:gd name="connsiteY156" fmla="*/ 238506 h 1359693"/>
                <a:gd name="connsiteX157" fmla="*/ 7563993 w 8071103"/>
                <a:gd name="connsiteY157" fmla="*/ 22479 h 1359693"/>
                <a:gd name="connsiteX158" fmla="*/ 8071104 w 8071103"/>
                <a:gd name="connsiteY158" fmla="*/ 22479 h 1359693"/>
                <a:gd name="connsiteX159" fmla="*/ 8071104 w 8071103"/>
                <a:gd name="connsiteY159" fmla="*/ 238506 h 1359693"/>
                <a:gd name="connsiteX160" fmla="*/ 7935850 w 8071103"/>
                <a:gd name="connsiteY160" fmla="*/ 238506 h 1359693"/>
                <a:gd name="connsiteX161" fmla="*/ 7935850 w 8071103"/>
                <a:gd name="connsiteY161" fmla="*/ 1337120 h 1359693"/>
                <a:gd name="connsiteX162" fmla="*/ 7699248 w 8071103"/>
                <a:gd name="connsiteY162" fmla="*/ 1337120 h 1359693"/>
                <a:gd name="connsiteX163" fmla="*/ 7699248 w 8071103"/>
                <a:gd name="connsiteY163" fmla="*/ 238506 h 1359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8071103" h="1359693">
                  <a:moveTo>
                    <a:pt x="0" y="1074230"/>
                  </a:moveTo>
                  <a:lnTo>
                    <a:pt x="0" y="283559"/>
                  </a:lnTo>
                  <a:cubicBezTo>
                    <a:pt x="0" y="114490"/>
                    <a:pt x="123920" y="0"/>
                    <a:pt x="308038" y="0"/>
                  </a:cubicBezTo>
                  <a:cubicBezTo>
                    <a:pt x="492157" y="0"/>
                    <a:pt x="616077" y="114586"/>
                    <a:pt x="616077" y="283559"/>
                  </a:cubicBezTo>
                  <a:lnTo>
                    <a:pt x="616077" y="557784"/>
                  </a:lnTo>
                  <a:lnTo>
                    <a:pt x="379476" y="557784"/>
                  </a:lnTo>
                  <a:lnTo>
                    <a:pt x="379476" y="285464"/>
                  </a:lnTo>
                  <a:cubicBezTo>
                    <a:pt x="379476" y="242316"/>
                    <a:pt x="351282" y="215932"/>
                    <a:pt x="308134" y="215932"/>
                  </a:cubicBezTo>
                  <a:cubicBezTo>
                    <a:pt x="264986" y="215932"/>
                    <a:pt x="236791" y="242221"/>
                    <a:pt x="236791" y="285464"/>
                  </a:cubicBezTo>
                  <a:lnTo>
                    <a:pt x="236791" y="1074230"/>
                  </a:lnTo>
                  <a:cubicBezTo>
                    <a:pt x="236791" y="1117378"/>
                    <a:pt x="264986" y="1143667"/>
                    <a:pt x="308134" y="1143667"/>
                  </a:cubicBezTo>
                  <a:cubicBezTo>
                    <a:pt x="351282" y="1143667"/>
                    <a:pt x="379476" y="1117378"/>
                    <a:pt x="379476" y="1074230"/>
                  </a:cubicBezTo>
                  <a:lnTo>
                    <a:pt x="379476" y="783146"/>
                  </a:lnTo>
                  <a:lnTo>
                    <a:pt x="616077" y="783146"/>
                  </a:lnTo>
                  <a:lnTo>
                    <a:pt x="616077" y="1074230"/>
                  </a:lnTo>
                  <a:cubicBezTo>
                    <a:pt x="616077" y="1245108"/>
                    <a:pt x="492157" y="1359694"/>
                    <a:pt x="308038" y="1359694"/>
                  </a:cubicBezTo>
                  <a:cubicBezTo>
                    <a:pt x="123920" y="1359694"/>
                    <a:pt x="0" y="1245108"/>
                    <a:pt x="0" y="1074230"/>
                  </a:cubicBezTo>
                  <a:close/>
                  <a:moveTo>
                    <a:pt x="762476" y="22574"/>
                  </a:moveTo>
                  <a:lnTo>
                    <a:pt x="999077" y="22574"/>
                  </a:lnTo>
                  <a:lnTo>
                    <a:pt x="999077" y="1121283"/>
                  </a:lnTo>
                  <a:lnTo>
                    <a:pt x="1198150" y="1121283"/>
                  </a:lnTo>
                  <a:lnTo>
                    <a:pt x="1198150" y="1337215"/>
                  </a:lnTo>
                  <a:lnTo>
                    <a:pt x="762476" y="1337215"/>
                  </a:lnTo>
                  <a:lnTo>
                    <a:pt x="762476" y="22574"/>
                  </a:lnTo>
                  <a:close/>
                  <a:moveTo>
                    <a:pt x="1293971" y="1074230"/>
                  </a:moveTo>
                  <a:lnTo>
                    <a:pt x="1293971" y="22479"/>
                  </a:lnTo>
                  <a:lnTo>
                    <a:pt x="1530572" y="22479"/>
                  </a:lnTo>
                  <a:lnTo>
                    <a:pt x="1530572" y="1074230"/>
                  </a:lnTo>
                  <a:cubicBezTo>
                    <a:pt x="1530572" y="1117378"/>
                    <a:pt x="1558766" y="1143667"/>
                    <a:pt x="1600105" y="1143667"/>
                  </a:cubicBezTo>
                  <a:cubicBezTo>
                    <a:pt x="1641443" y="1143667"/>
                    <a:pt x="1671447" y="1117378"/>
                    <a:pt x="1671447" y="1074230"/>
                  </a:cubicBezTo>
                  <a:lnTo>
                    <a:pt x="1671447" y="22479"/>
                  </a:lnTo>
                  <a:lnTo>
                    <a:pt x="1908048" y="22479"/>
                  </a:lnTo>
                  <a:lnTo>
                    <a:pt x="1908048" y="1074230"/>
                  </a:lnTo>
                  <a:cubicBezTo>
                    <a:pt x="1908048" y="1245108"/>
                    <a:pt x="1784128" y="1359694"/>
                    <a:pt x="1600009" y="1359694"/>
                  </a:cubicBezTo>
                  <a:cubicBezTo>
                    <a:pt x="1415891" y="1359694"/>
                    <a:pt x="1293876" y="1245108"/>
                    <a:pt x="1293876" y="1074230"/>
                  </a:cubicBezTo>
                  <a:close/>
                  <a:moveTo>
                    <a:pt x="2060162" y="22574"/>
                  </a:moveTo>
                  <a:lnTo>
                    <a:pt x="2394490" y="22574"/>
                  </a:lnTo>
                  <a:cubicBezTo>
                    <a:pt x="2561654" y="22574"/>
                    <a:pt x="2674335" y="125921"/>
                    <a:pt x="2674335" y="279844"/>
                  </a:cubicBezTo>
                  <a:lnTo>
                    <a:pt x="2674335" y="458248"/>
                  </a:lnTo>
                  <a:cubicBezTo>
                    <a:pt x="2674335" y="537115"/>
                    <a:pt x="2638616" y="617887"/>
                    <a:pt x="2565369" y="651701"/>
                  </a:cubicBezTo>
                  <a:lnTo>
                    <a:pt x="2565369" y="662940"/>
                  </a:lnTo>
                  <a:cubicBezTo>
                    <a:pt x="2644235" y="696754"/>
                    <a:pt x="2685574" y="781240"/>
                    <a:pt x="2685574" y="865727"/>
                  </a:cubicBezTo>
                  <a:lnTo>
                    <a:pt x="2685574" y="1079849"/>
                  </a:lnTo>
                  <a:cubicBezTo>
                    <a:pt x="2685574" y="1233869"/>
                    <a:pt x="2574798" y="1337120"/>
                    <a:pt x="2405729" y="1337120"/>
                  </a:cubicBezTo>
                  <a:lnTo>
                    <a:pt x="2060162" y="1337120"/>
                  </a:lnTo>
                  <a:lnTo>
                    <a:pt x="2060162" y="22574"/>
                  </a:lnTo>
                  <a:close/>
                  <a:moveTo>
                    <a:pt x="2296763" y="238506"/>
                  </a:moveTo>
                  <a:lnTo>
                    <a:pt x="2296763" y="569024"/>
                  </a:lnTo>
                  <a:lnTo>
                    <a:pt x="2366296" y="569024"/>
                  </a:lnTo>
                  <a:cubicBezTo>
                    <a:pt x="2409444" y="569024"/>
                    <a:pt x="2437638" y="540830"/>
                    <a:pt x="2437638" y="497681"/>
                  </a:cubicBezTo>
                  <a:lnTo>
                    <a:pt x="2437638" y="307943"/>
                  </a:lnTo>
                  <a:cubicBezTo>
                    <a:pt x="2437638" y="264795"/>
                    <a:pt x="2409444" y="238506"/>
                    <a:pt x="2366296" y="238506"/>
                  </a:cubicBezTo>
                  <a:lnTo>
                    <a:pt x="2296763" y="238506"/>
                  </a:lnTo>
                  <a:close/>
                  <a:moveTo>
                    <a:pt x="2296763" y="770001"/>
                  </a:moveTo>
                  <a:lnTo>
                    <a:pt x="2296763" y="1121188"/>
                  </a:lnTo>
                  <a:lnTo>
                    <a:pt x="2379440" y="1121188"/>
                  </a:lnTo>
                  <a:cubicBezTo>
                    <a:pt x="2420779" y="1121188"/>
                    <a:pt x="2448973" y="1094899"/>
                    <a:pt x="2448973" y="1051655"/>
                  </a:cubicBezTo>
                  <a:lnTo>
                    <a:pt x="2448973" y="841343"/>
                  </a:lnTo>
                  <a:cubicBezTo>
                    <a:pt x="2448973" y="798195"/>
                    <a:pt x="2420779" y="770001"/>
                    <a:pt x="2379440" y="770001"/>
                  </a:cubicBezTo>
                  <a:lnTo>
                    <a:pt x="2296763" y="770001"/>
                  </a:lnTo>
                  <a:close/>
                  <a:moveTo>
                    <a:pt x="3094482" y="1074230"/>
                  </a:moveTo>
                  <a:lnTo>
                    <a:pt x="3094482" y="283559"/>
                  </a:lnTo>
                  <a:cubicBezTo>
                    <a:pt x="3094482" y="114490"/>
                    <a:pt x="3218403" y="0"/>
                    <a:pt x="3402520" y="0"/>
                  </a:cubicBezTo>
                  <a:cubicBezTo>
                    <a:pt x="3586639" y="0"/>
                    <a:pt x="3710559" y="114586"/>
                    <a:pt x="3710559" y="283559"/>
                  </a:cubicBezTo>
                  <a:lnTo>
                    <a:pt x="3710559" y="557784"/>
                  </a:lnTo>
                  <a:lnTo>
                    <a:pt x="3473958" y="557784"/>
                  </a:lnTo>
                  <a:lnTo>
                    <a:pt x="3473958" y="285464"/>
                  </a:lnTo>
                  <a:cubicBezTo>
                    <a:pt x="3473958" y="242316"/>
                    <a:pt x="3445764" y="215932"/>
                    <a:pt x="3402616" y="215932"/>
                  </a:cubicBezTo>
                  <a:cubicBezTo>
                    <a:pt x="3359468" y="215932"/>
                    <a:pt x="3331274" y="242221"/>
                    <a:pt x="3331274" y="285464"/>
                  </a:cubicBezTo>
                  <a:lnTo>
                    <a:pt x="3331274" y="1074230"/>
                  </a:lnTo>
                  <a:cubicBezTo>
                    <a:pt x="3331274" y="1117378"/>
                    <a:pt x="3359468" y="1143667"/>
                    <a:pt x="3402616" y="1143667"/>
                  </a:cubicBezTo>
                  <a:cubicBezTo>
                    <a:pt x="3445764" y="1143667"/>
                    <a:pt x="3473958" y="1117378"/>
                    <a:pt x="3473958" y="1074230"/>
                  </a:cubicBezTo>
                  <a:lnTo>
                    <a:pt x="3473958" y="783146"/>
                  </a:lnTo>
                  <a:lnTo>
                    <a:pt x="3710559" y="783146"/>
                  </a:lnTo>
                  <a:lnTo>
                    <a:pt x="3710559" y="1074230"/>
                  </a:lnTo>
                  <a:cubicBezTo>
                    <a:pt x="3710559" y="1245108"/>
                    <a:pt x="3586639" y="1359694"/>
                    <a:pt x="3402520" y="1359694"/>
                  </a:cubicBezTo>
                  <a:cubicBezTo>
                    <a:pt x="3218403" y="1359694"/>
                    <a:pt x="3094482" y="1245108"/>
                    <a:pt x="3094482" y="1074230"/>
                  </a:cubicBezTo>
                  <a:close/>
                  <a:moveTo>
                    <a:pt x="3849434" y="1074230"/>
                  </a:moveTo>
                  <a:lnTo>
                    <a:pt x="3849434" y="283559"/>
                  </a:lnTo>
                  <a:cubicBezTo>
                    <a:pt x="3849434" y="114490"/>
                    <a:pt x="3973354" y="0"/>
                    <a:pt x="4157472" y="0"/>
                  </a:cubicBezTo>
                  <a:cubicBezTo>
                    <a:pt x="4341590" y="0"/>
                    <a:pt x="4465511" y="114586"/>
                    <a:pt x="4465511" y="283559"/>
                  </a:cubicBezTo>
                  <a:lnTo>
                    <a:pt x="4465511" y="1074230"/>
                  </a:lnTo>
                  <a:cubicBezTo>
                    <a:pt x="4465511" y="1245108"/>
                    <a:pt x="4341590" y="1359694"/>
                    <a:pt x="4157472" y="1359694"/>
                  </a:cubicBezTo>
                  <a:cubicBezTo>
                    <a:pt x="3973354" y="1359694"/>
                    <a:pt x="3849434" y="1245108"/>
                    <a:pt x="3849434" y="1074230"/>
                  </a:cubicBezTo>
                  <a:close/>
                  <a:moveTo>
                    <a:pt x="4228814" y="1074230"/>
                  </a:moveTo>
                  <a:lnTo>
                    <a:pt x="4228814" y="285464"/>
                  </a:lnTo>
                  <a:cubicBezTo>
                    <a:pt x="4228814" y="242316"/>
                    <a:pt x="4200621" y="215932"/>
                    <a:pt x="4157472" y="215932"/>
                  </a:cubicBezTo>
                  <a:cubicBezTo>
                    <a:pt x="4114324" y="215932"/>
                    <a:pt x="4086130" y="242221"/>
                    <a:pt x="4086130" y="285464"/>
                  </a:cubicBezTo>
                  <a:lnTo>
                    <a:pt x="4086130" y="1074230"/>
                  </a:lnTo>
                  <a:cubicBezTo>
                    <a:pt x="4086130" y="1117378"/>
                    <a:pt x="4114324" y="1143667"/>
                    <a:pt x="4157472" y="1143667"/>
                  </a:cubicBezTo>
                  <a:cubicBezTo>
                    <a:pt x="4200621" y="1143667"/>
                    <a:pt x="4228814" y="1117378"/>
                    <a:pt x="4228814" y="1074230"/>
                  </a:cubicBezTo>
                  <a:close/>
                  <a:moveTo>
                    <a:pt x="4613720" y="22574"/>
                  </a:moveTo>
                  <a:lnTo>
                    <a:pt x="4886039" y="22574"/>
                  </a:lnTo>
                  <a:lnTo>
                    <a:pt x="5021294" y="646081"/>
                  </a:lnTo>
                  <a:lnTo>
                    <a:pt x="5040059" y="811340"/>
                  </a:lnTo>
                  <a:lnTo>
                    <a:pt x="5071967" y="811340"/>
                  </a:lnTo>
                  <a:lnTo>
                    <a:pt x="5051298" y="646081"/>
                  </a:lnTo>
                  <a:lnTo>
                    <a:pt x="5051298" y="22574"/>
                  </a:lnTo>
                  <a:lnTo>
                    <a:pt x="5287899" y="22574"/>
                  </a:lnTo>
                  <a:lnTo>
                    <a:pt x="5287899" y="1337215"/>
                  </a:lnTo>
                  <a:lnTo>
                    <a:pt x="5017485" y="1337215"/>
                  </a:lnTo>
                  <a:lnTo>
                    <a:pt x="4882230" y="713708"/>
                  </a:lnTo>
                  <a:lnTo>
                    <a:pt x="4861560" y="548450"/>
                  </a:lnTo>
                  <a:lnTo>
                    <a:pt x="4829651" y="548450"/>
                  </a:lnTo>
                  <a:lnTo>
                    <a:pt x="4850320" y="713708"/>
                  </a:lnTo>
                  <a:lnTo>
                    <a:pt x="4850320" y="1337215"/>
                  </a:lnTo>
                  <a:lnTo>
                    <a:pt x="4613720" y="1337215"/>
                  </a:lnTo>
                  <a:lnTo>
                    <a:pt x="4613720" y="22574"/>
                  </a:lnTo>
                  <a:close/>
                  <a:moveTo>
                    <a:pt x="5443823" y="22574"/>
                  </a:moveTo>
                  <a:lnTo>
                    <a:pt x="5716143" y="22574"/>
                  </a:lnTo>
                  <a:lnTo>
                    <a:pt x="5851398" y="646081"/>
                  </a:lnTo>
                  <a:lnTo>
                    <a:pt x="5870162" y="811340"/>
                  </a:lnTo>
                  <a:lnTo>
                    <a:pt x="5902071" y="811340"/>
                  </a:lnTo>
                  <a:lnTo>
                    <a:pt x="5881402" y="646081"/>
                  </a:lnTo>
                  <a:lnTo>
                    <a:pt x="5881402" y="22574"/>
                  </a:lnTo>
                  <a:lnTo>
                    <a:pt x="6118003" y="22574"/>
                  </a:lnTo>
                  <a:lnTo>
                    <a:pt x="6118003" y="1337215"/>
                  </a:lnTo>
                  <a:lnTo>
                    <a:pt x="5847588" y="1337215"/>
                  </a:lnTo>
                  <a:lnTo>
                    <a:pt x="5712333" y="713708"/>
                  </a:lnTo>
                  <a:lnTo>
                    <a:pt x="5691664" y="548450"/>
                  </a:lnTo>
                  <a:lnTo>
                    <a:pt x="5659755" y="548450"/>
                  </a:lnTo>
                  <a:lnTo>
                    <a:pt x="5680424" y="713708"/>
                  </a:lnTo>
                  <a:lnTo>
                    <a:pt x="5680424" y="1337215"/>
                  </a:lnTo>
                  <a:lnTo>
                    <a:pt x="5443823" y="1337215"/>
                  </a:lnTo>
                  <a:lnTo>
                    <a:pt x="5443823" y="22574"/>
                  </a:lnTo>
                  <a:close/>
                  <a:moveTo>
                    <a:pt x="6273832" y="22574"/>
                  </a:moveTo>
                  <a:lnTo>
                    <a:pt x="6720840" y="22574"/>
                  </a:lnTo>
                  <a:lnTo>
                    <a:pt x="6720840" y="238601"/>
                  </a:lnTo>
                  <a:lnTo>
                    <a:pt x="6510528" y="238601"/>
                  </a:lnTo>
                  <a:lnTo>
                    <a:pt x="6510528" y="565404"/>
                  </a:lnTo>
                  <a:lnTo>
                    <a:pt x="6700172" y="565404"/>
                  </a:lnTo>
                  <a:lnTo>
                    <a:pt x="6700172" y="775716"/>
                  </a:lnTo>
                  <a:lnTo>
                    <a:pt x="6510528" y="775716"/>
                  </a:lnTo>
                  <a:lnTo>
                    <a:pt x="6510528" y="1121283"/>
                  </a:lnTo>
                  <a:lnTo>
                    <a:pt x="6720840" y="1121283"/>
                  </a:lnTo>
                  <a:lnTo>
                    <a:pt x="6720840" y="1337215"/>
                  </a:lnTo>
                  <a:lnTo>
                    <a:pt x="6273832" y="1337215"/>
                  </a:lnTo>
                  <a:lnTo>
                    <a:pt x="6273832" y="22574"/>
                  </a:lnTo>
                  <a:close/>
                  <a:moveTo>
                    <a:pt x="6846665" y="1074230"/>
                  </a:moveTo>
                  <a:lnTo>
                    <a:pt x="6846665" y="283559"/>
                  </a:lnTo>
                  <a:cubicBezTo>
                    <a:pt x="6846665" y="114490"/>
                    <a:pt x="6970585" y="0"/>
                    <a:pt x="7154704" y="0"/>
                  </a:cubicBezTo>
                  <a:cubicBezTo>
                    <a:pt x="7338822" y="0"/>
                    <a:pt x="7462742" y="114586"/>
                    <a:pt x="7462742" y="283559"/>
                  </a:cubicBezTo>
                  <a:lnTo>
                    <a:pt x="7462742" y="557784"/>
                  </a:lnTo>
                  <a:lnTo>
                    <a:pt x="7226142" y="557784"/>
                  </a:lnTo>
                  <a:lnTo>
                    <a:pt x="7226142" y="285464"/>
                  </a:lnTo>
                  <a:cubicBezTo>
                    <a:pt x="7226142" y="242316"/>
                    <a:pt x="7197947" y="215932"/>
                    <a:pt x="7154800" y="215932"/>
                  </a:cubicBezTo>
                  <a:cubicBezTo>
                    <a:pt x="7111651" y="215932"/>
                    <a:pt x="7083457" y="242221"/>
                    <a:pt x="7083457" y="285464"/>
                  </a:cubicBezTo>
                  <a:lnTo>
                    <a:pt x="7083457" y="1074230"/>
                  </a:lnTo>
                  <a:cubicBezTo>
                    <a:pt x="7083457" y="1117378"/>
                    <a:pt x="7111651" y="1143667"/>
                    <a:pt x="7154800" y="1143667"/>
                  </a:cubicBezTo>
                  <a:cubicBezTo>
                    <a:pt x="7197947" y="1143667"/>
                    <a:pt x="7226142" y="1117378"/>
                    <a:pt x="7226142" y="1074230"/>
                  </a:cubicBezTo>
                  <a:lnTo>
                    <a:pt x="7226142" y="783146"/>
                  </a:lnTo>
                  <a:lnTo>
                    <a:pt x="7462742" y="783146"/>
                  </a:lnTo>
                  <a:lnTo>
                    <a:pt x="7462742" y="1074230"/>
                  </a:lnTo>
                  <a:cubicBezTo>
                    <a:pt x="7462742" y="1245108"/>
                    <a:pt x="7338822" y="1359694"/>
                    <a:pt x="7154704" y="1359694"/>
                  </a:cubicBezTo>
                  <a:cubicBezTo>
                    <a:pt x="6970585" y="1359694"/>
                    <a:pt x="6846665" y="1245108"/>
                    <a:pt x="6846665" y="1074230"/>
                  </a:cubicBezTo>
                  <a:close/>
                  <a:moveTo>
                    <a:pt x="7699248" y="238506"/>
                  </a:moveTo>
                  <a:lnTo>
                    <a:pt x="7563993" y="238506"/>
                  </a:lnTo>
                  <a:lnTo>
                    <a:pt x="7563993" y="22479"/>
                  </a:lnTo>
                  <a:lnTo>
                    <a:pt x="8071104" y="22479"/>
                  </a:lnTo>
                  <a:lnTo>
                    <a:pt x="8071104" y="238506"/>
                  </a:lnTo>
                  <a:lnTo>
                    <a:pt x="7935850" y="238506"/>
                  </a:lnTo>
                  <a:lnTo>
                    <a:pt x="7935850" y="1337120"/>
                  </a:lnTo>
                  <a:lnTo>
                    <a:pt x="7699248" y="1337120"/>
                  </a:lnTo>
                  <a:lnTo>
                    <a:pt x="7699248" y="238506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2398161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rk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14" descr="A football ball in the net&#10;&#10;Description automatically generated">
            <a:extLst>
              <a:ext uri="{FF2B5EF4-FFF2-40B4-BE49-F238E27FC236}">
                <a16:creationId xmlns:a16="http://schemas.microsoft.com/office/drawing/2014/main" id="{6E42B4B2-FBE4-05F8-0584-6D69F2389A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3F748AF8-4448-81DE-F0BA-A520C2A36C79}"/>
              </a:ext>
            </a:extLst>
          </p:cNvPr>
          <p:cNvSpPr/>
          <p:nvPr/>
        </p:nvSpPr>
        <p:spPr>
          <a:xfrm>
            <a:off x="1785310" y="1437313"/>
            <a:ext cx="2400034" cy="404320"/>
          </a:xfrm>
          <a:custGeom>
            <a:avLst/>
            <a:gdLst>
              <a:gd name="connsiteX0" fmla="*/ 0 w 8071103"/>
              <a:gd name="connsiteY0" fmla="*/ 1074230 h 1359693"/>
              <a:gd name="connsiteX1" fmla="*/ 0 w 8071103"/>
              <a:gd name="connsiteY1" fmla="*/ 283559 h 1359693"/>
              <a:gd name="connsiteX2" fmla="*/ 308038 w 8071103"/>
              <a:gd name="connsiteY2" fmla="*/ 0 h 1359693"/>
              <a:gd name="connsiteX3" fmla="*/ 616077 w 8071103"/>
              <a:gd name="connsiteY3" fmla="*/ 283559 h 1359693"/>
              <a:gd name="connsiteX4" fmla="*/ 616077 w 8071103"/>
              <a:gd name="connsiteY4" fmla="*/ 557784 h 1359693"/>
              <a:gd name="connsiteX5" fmla="*/ 379476 w 8071103"/>
              <a:gd name="connsiteY5" fmla="*/ 557784 h 1359693"/>
              <a:gd name="connsiteX6" fmla="*/ 379476 w 8071103"/>
              <a:gd name="connsiteY6" fmla="*/ 285464 h 1359693"/>
              <a:gd name="connsiteX7" fmla="*/ 308134 w 8071103"/>
              <a:gd name="connsiteY7" fmla="*/ 215932 h 1359693"/>
              <a:gd name="connsiteX8" fmla="*/ 236791 w 8071103"/>
              <a:gd name="connsiteY8" fmla="*/ 285464 h 1359693"/>
              <a:gd name="connsiteX9" fmla="*/ 236791 w 8071103"/>
              <a:gd name="connsiteY9" fmla="*/ 1074230 h 1359693"/>
              <a:gd name="connsiteX10" fmla="*/ 308134 w 8071103"/>
              <a:gd name="connsiteY10" fmla="*/ 1143667 h 1359693"/>
              <a:gd name="connsiteX11" fmla="*/ 379476 w 8071103"/>
              <a:gd name="connsiteY11" fmla="*/ 1074230 h 1359693"/>
              <a:gd name="connsiteX12" fmla="*/ 379476 w 8071103"/>
              <a:gd name="connsiteY12" fmla="*/ 783146 h 1359693"/>
              <a:gd name="connsiteX13" fmla="*/ 616077 w 8071103"/>
              <a:gd name="connsiteY13" fmla="*/ 783146 h 1359693"/>
              <a:gd name="connsiteX14" fmla="*/ 616077 w 8071103"/>
              <a:gd name="connsiteY14" fmla="*/ 1074230 h 1359693"/>
              <a:gd name="connsiteX15" fmla="*/ 308038 w 8071103"/>
              <a:gd name="connsiteY15" fmla="*/ 1359694 h 1359693"/>
              <a:gd name="connsiteX16" fmla="*/ 0 w 8071103"/>
              <a:gd name="connsiteY16" fmla="*/ 1074230 h 1359693"/>
              <a:gd name="connsiteX17" fmla="*/ 762476 w 8071103"/>
              <a:gd name="connsiteY17" fmla="*/ 22574 h 1359693"/>
              <a:gd name="connsiteX18" fmla="*/ 999077 w 8071103"/>
              <a:gd name="connsiteY18" fmla="*/ 22574 h 1359693"/>
              <a:gd name="connsiteX19" fmla="*/ 999077 w 8071103"/>
              <a:gd name="connsiteY19" fmla="*/ 1121283 h 1359693"/>
              <a:gd name="connsiteX20" fmla="*/ 1198150 w 8071103"/>
              <a:gd name="connsiteY20" fmla="*/ 1121283 h 1359693"/>
              <a:gd name="connsiteX21" fmla="*/ 1198150 w 8071103"/>
              <a:gd name="connsiteY21" fmla="*/ 1337215 h 1359693"/>
              <a:gd name="connsiteX22" fmla="*/ 762476 w 8071103"/>
              <a:gd name="connsiteY22" fmla="*/ 1337215 h 1359693"/>
              <a:gd name="connsiteX23" fmla="*/ 762476 w 8071103"/>
              <a:gd name="connsiteY23" fmla="*/ 22574 h 1359693"/>
              <a:gd name="connsiteX24" fmla="*/ 1293971 w 8071103"/>
              <a:gd name="connsiteY24" fmla="*/ 1074230 h 1359693"/>
              <a:gd name="connsiteX25" fmla="*/ 1293971 w 8071103"/>
              <a:gd name="connsiteY25" fmla="*/ 22479 h 1359693"/>
              <a:gd name="connsiteX26" fmla="*/ 1530572 w 8071103"/>
              <a:gd name="connsiteY26" fmla="*/ 22479 h 1359693"/>
              <a:gd name="connsiteX27" fmla="*/ 1530572 w 8071103"/>
              <a:gd name="connsiteY27" fmla="*/ 1074230 h 1359693"/>
              <a:gd name="connsiteX28" fmla="*/ 1600105 w 8071103"/>
              <a:gd name="connsiteY28" fmla="*/ 1143667 h 1359693"/>
              <a:gd name="connsiteX29" fmla="*/ 1671447 w 8071103"/>
              <a:gd name="connsiteY29" fmla="*/ 1074230 h 1359693"/>
              <a:gd name="connsiteX30" fmla="*/ 1671447 w 8071103"/>
              <a:gd name="connsiteY30" fmla="*/ 22479 h 1359693"/>
              <a:gd name="connsiteX31" fmla="*/ 1908048 w 8071103"/>
              <a:gd name="connsiteY31" fmla="*/ 22479 h 1359693"/>
              <a:gd name="connsiteX32" fmla="*/ 1908048 w 8071103"/>
              <a:gd name="connsiteY32" fmla="*/ 1074230 h 1359693"/>
              <a:gd name="connsiteX33" fmla="*/ 1600009 w 8071103"/>
              <a:gd name="connsiteY33" fmla="*/ 1359694 h 1359693"/>
              <a:gd name="connsiteX34" fmla="*/ 1293876 w 8071103"/>
              <a:gd name="connsiteY34" fmla="*/ 1074230 h 1359693"/>
              <a:gd name="connsiteX35" fmla="*/ 2060162 w 8071103"/>
              <a:gd name="connsiteY35" fmla="*/ 22574 h 1359693"/>
              <a:gd name="connsiteX36" fmla="*/ 2394490 w 8071103"/>
              <a:gd name="connsiteY36" fmla="*/ 22574 h 1359693"/>
              <a:gd name="connsiteX37" fmla="*/ 2674335 w 8071103"/>
              <a:gd name="connsiteY37" fmla="*/ 279844 h 1359693"/>
              <a:gd name="connsiteX38" fmla="*/ 2674335 w 8071103"/>
              <a:gd name="connsiteY38" fmla="*/ 458248 h 1359693"/>
              <a:gd name="connsiteX39" fmla="*/ 2565369 w 8071103"/>
              <a:gd name="connsiteY39" fmla="*/ 651701 h 1359693"/>
              <a:gd name="connsiteX40" fmla="*/ 2565369 w 8071103"/>
              <a:gd name="connsiteY40" fmla="*/ 662940 h 1359693"/>
              <a:gd name="connsiteX41" fmla="*/ 2685574 w 8071103"/>
              <a:gd name="connsiteY41" fmla="*/ 865727 h 1359693"/>
              <a:gd name="connsiteX42" fmla="*/ 2685574 w 8071103"/>
              <a:gd name="connsiteY42" fmla="*/ 1079849 h 1359693"/>
              <a:gd name="connsiteX43" fmla="*/ 2405729 w 8071103"/>
              <a:gd name="connsiteY43" fmla="*/ 1337120 h 1359693"/>
              <a:gd name="connsiteX44" fmla="*/ 2060162 w 8071103"/>
              <a:gd name="connsiteY44" fmla="*/ 1337120 h 1359693"/>
              <a:gd name="connsiteX45" fmla="*/ 2060162 w 8071103"/>
              <a:gd name="connsiteY45" fmla="*/ 22574 h 1359693"/>
              <a:gd name="connsiteX46" fmla="*/ 2296763 w 8071103"/>
              <a:gd name="connsiteY46" fmla="*/ 238506 h 1359693"/>
              <a:gd name="connsiteX47" fmla="*/ 2296763 w 8071103"/>
              <a:gd name="connsiteY47" fmla="*/ 569024 h 1359693"/>
              <a:gd name="connsiteX48" fmla="*/ 2366296 w 8071103"/>
              <a:gd name="connsiteY48" fmla="*/ 569024 h 1359693"/>
              <a:gd name="connsiteX49" fmla="*/ 2437638 w 8071103"/>
              <a:gd name="connsiteY49" fmla="*/ 497681 h 1359693"/>
              <a:gd name="connsiteX50" fmla="*/ 2437638 w 8071103"/>
              <a:gd name="connsiteY50" fmla="*/ 307943 h 1359693"/>
              <a:gd name="connsiteX51" fmla="*/ 2366296 w 8071103"/>
              <a:gd name="connsiteY51" fmla="*/ 238506 h 1359693"/>
              <a:gd name="connsiteX52" fmla="*/ 2296763 w 8071103"/>
              <a:gd name="connsiteY52" fmla="*/ 238506 h 1359693"/>
              <a:gd name="connsiteX53" fmla="*/ 2296763 w 8071103"/>
              <a:gd name="connsiteY53" fmla="*/ 770001 h 1359693"/>
              <a:gd name="connsiteX54" fmla="*/ 2296763 w 8071103"/>
              <a:gd name="connsiteY54" fmla="*/ 1121188 h 1359693"/>
              <a:gd name="connsiteX55" fmla="*/ 2379440 w 8071103"/>
              <a:gd name="connsiteY55" fmla="*/ 1121188 h 1359693"/>
              <a:gd name="connsiteX56" fmla="*/ 2448973 w 8071103"/>
              <a:gd name="connsiteY56" fmla="*/ 1051655 h 1359693"/>
              <a:gd name="connsiteX57" fmla="*/ 2448973 w 8071103"/>
              <a:gd name="connsiteY57" fmla="*/ 841343 h 1359693"/>
              <a:gd name="connsiteX58" fmla="*/ 2379440 w 8071103"/>
              <a:gd name="connsiteY58" fmla="*/ 770001 h 1359693"/>
              <a:gd name="connsiteX59" fmla="*/ 2296763 w 8071103"/>
              <a:gd name="connsiteY59" fmla="*/ 770001 h 1359693"/>
              <a:gd name="connsiteX60" fmla="*/ 3094482 w 8071103"/>
              <a:gd name="connsiteY60" fmla="*/ 1074230 h 1359693"/>
              <a:gd name="connsiteX61" fmla="*/ 3094482 w 8071103"/>
              <a:gd name="connsiteY61" fmla="*/ 283559 h 1359693"/>
              <a:gd name="connsiteX62" fmla="*/ 3402520 w 8071103"/>
              <a:gd name="connsiteY62" fmla="*/ 0 h 1359693"/>
              <a:gd name="connsiteX63" fmla="*/ 3710559 w 8071103"/>
              <a:gd name="connsiteY63" fmla="*/ 283559 h 1359693"/>
              <a:gd name="connsiteX64" fmla="*/ 3710559 w 8071103"/>
              <a:gd name="connsiteY64" fmla="*/ 557784 h 1359693"/>
              <a:gd name="connsiteX65" fmla="*/ 3473958 w 8071103"/>
              <a:gd name="connsiteY65" fmla="*/ 557784 h 1359693"/>
              <a:gd name="connsiteX66" fmla="*/ 3473958 w 8071103"/>
              <a:gd name="connsiteY66" fmla="*/ 285464 h 1359693"/>
              <a:gd name="connsiteX67" fmla="*/ 3402616 w 8071103"/>
              <a:gd name="connsiteY67" fmla="*/ 215932 h 1359693"/>
              <a:gd name="connsiteX68" fmla="*/ 3331274 w 8071103"/>
              <a:gd name="connsiteY68" fmla="*/ 285464 h 1359693"/>
              <a:gd name="connsiteX69" fmla="*/ 3331274 w 8071103"/>
              <a:gd name="connsiteY69" fmla="*/ 1074230 h 1359693"/>
              <a:gd name="connsiteX70" fmla="*/ 3402616 w 8071103"/>
              <a:gd name="connsiteY70" fmla="*/ 1143667 h 1359693"/>
              <a:gd name="connsiteX71" fmla="*/ 3473958 w 8071103"/>
              <a:gd name="connsiteY71" fmla="*/ 1074230 h 1359693"/>
              <a:gd name="connsiteX72" fmla="*/ 3473958 w 8071103"/>
              <a:gd name="connsiteY72" fmla="*/ 783146 h 1359693"/>
              <a:gd name="connsiteX73" fmla="*/ 3710559 w 8071103"/>
              <a:gd name="connsiteY73" fmla="*/ 783146 h 1359693"/>
              <a:gd name="connsiteX74" fmla="*/ 3710559 w 8071103"/>
              <a:gd name="connsiteY74" fmla="*/ 1074230 h 1359693"/>
              <a:gd name="connsiteX75" fmla="*/ 3402520 w 8071103"/>
              <a:gd name="connsiteY75" fmla="*/ 1359694 h 1359693"/>
              <a:gd name="connsiteX76" fmla="*/ 3094482 w 8071103"/>
              <a:gd name="connsiteY76" fmla="*/ 1074230 h 1359693"/>
              <a:gd name="connsiteX77" fmla="*/ 3849434 w 8071103"/>
              <a:gd name="connsiteY77" fmla="*/ 1074230 h 1359693"/>
              <a:gd name="connsiteX78" fmla="*/ 3849434 w 8071103"/>
              <a:gd name="connsiteY78" fmla="*/ 283559 h 1359693"/>
              <a:gd name="connsiteX79" fmla="*/ 4157472 w 8071103"/>
              <a:gd name="connsiteY79" fmla="*/ 0 h 1359693"/>
              <a:gd name="connsiteX80" fmla="*/ 4465511 w 8071103"/>
              <a:gd name="connsiteY80" fmla="*/ 283559 h 1359693"/>
              <a:gd name="connsiteX81" fmla="*/ 4465511 w 8071103"/>
              <a:gd name="connsiteY81" fmla="*/ 1074230 h 1359693"/>
              <a:gd name="connsiteX82" fmla="*/ 4157472 w 8071103"/>
              <a:gd name="connsiteY82" fmla="*/ 1359694 h 1359693"/>
              <a:gd name="connsiteX83" fmla="*/ 3849434 w 8071103"/>
              <a:gd name="connsiteY83" fmla="*/ 1074230 h 1359693"/>
              <a:gd name="connsiteX84" fmla="*/ 4228814 w 8071103"/>
              <a:gd name="connsiteY84" fmla="*/ 1074230 h 1359693"/>
              <a:gd name="connsiteX85" fmla="*/ 4228814 w 8071103"/>
              <a:gd name="connsiteY85" fmla="*/ 285464 h 1359693"/>
              <a:gd name="connsiteX86" fmla="*/ 4157472 w 8071103"/>
              <a:gd name="connsiteY86" fmla="*/ 215932 h 1359693"/>
              <a:gd name="connsiteX87" fmla="*/ 4086130 w 8071103"/>
              <a:gd name="connsiteY87" fmla="*/ 285464 h 1359693"/>
              <a:gd name="connsiteX88" fmla="*/ 4086130 w 8071103"/>
              <a:gd name="connsiteY88" fmla="*/ 1074230 h 1359693"/>
              <a:gd name="connsiteX89" fmla="*/ 4157472 w 8071103"/>
              <a:gd name="connsiteY89" fmla="*/ 1143667 h 1359693"/>
              <a:gd name="connsiteX90" fmla="*/ 4228814 w 8071103"/>
              <a:gd name="connsiteY90" fmla="*/ 1074230 h 1359693"/>
              <a:gd name="connsiteX91" fmla="*/ 4613720 w 8071103"/>
              <a:gd name="connsiteY91" fmla="*/ 22574 h 1359693"/>
              <a:gd name="connsiteX92" fmla="*/ 4886039 w 8071103"/>
              <a:gd name="connsiteY92" fmla="*/ 22574 h 1359693"/>
              <a:gd name="connsiteX93" fmla="*/ 5021294 w 8071103"/>
              <a:gd name="connsiteY93" fmla="*/ 646081 h 1359693"/>
              <a:gd name="connsiteX94" fmla="*/ 5040059 w 8071103"/>
              <a:gd name="connsiteY94" fmla="*/ 811340 h 1359693"/>
              <a:gd name="connsiteX95" fmla="*/ 5071967 w 8071103"/>
              <a:gd name="connsiteY95" fmla="*/ 811340 h 1359693"/>
              <a:gd name="connsiteX96" fmla="*/ 5051298 w 8071103"/>
              <a:gd name="connsiteY96" fmla="*/ 646081 h 1359693"/>
              <a:gd name="connsiteX97" fmla="*/ 5051298 w 8071103"/>
              <a:gd name="connsiteY97" fmla="*/ 22574 h 1359693"/>
              <a:gd name="connsiteX98" fmla="*/ 5287899 w 8071103"/>
              <a:gd name="connsiteY98" fmla="*/ 22574 h 1359693"/>
              <a:gd name="connsiteX99" fmla="*/ 5287899 w 8071103"/>
              <a:gd name="connsiteY99" fmla="*/ 1337215 h 1359693"/>
              <a:gd name="connsiteX100" fmla="*/ 5017485 w 8071103"/>
              <a:gd name="connsiteY100" fmla="*/ 1337215 h 1359693"/>
              <a:gd name="connsiteX101" fmla="*/ 4882230 w 8071103"/>
              <a:gd name="connsiteY101" fmla="*/ 713708 h 1359693"/>
              <a:gd name="connsiteX102" fmla="*/ 4861560 w 8071103"/>
              <a:gd name="connsiteY102" fmla="*/ 548450 h 1359693"/>
              <a:gd name="connsiteX103" fmla="*/ 4829651 w 8071103"/>
              <a:gd name="connsiteY103" fmla="*/ 548450 h 1359693"/>
              <a:gd name="connsiteX104" fmla="*/ 4850320 w 8071103"/>
              <a:gd name="connsiteY104" fmla="*/ 713708 h 1359693"/>
              <a:gd name="connsiteX105" fmla="*/ 4850320 w 8071103"/>
              <a:gd name="connsiteY105" fmla="*/ 1337215 h 1359693"/>
              <a:gd name="connsiteX106" fmla="*/ 4613720 w 8071103"/>
              <a:gd name="connsiteY106" fmla="*/ 1337215 h 1359693"/>
              <a:gd name="connsiteX107" fmla="*/ 4613720 w 8071103"/>
              <a:gd name="connsiteY107" fmla="*/ 22574 h 1359693"/>
              <a:gd name="connsiteX108" fmla="*/ 5443823 w 8071103"/>
              <a:gd name="connsiteY108" fmla="*/ 22574 h 1359693"/>
              <a:gd name="connsiteX109" fmla="*/ 5716143 w 8071103"/>
              <a:gd name="connsiteY109" fmla="*/ 22574 h 1359693"/>
              <a:gd name="connsiteX110" fmla="*/ 5851398 w 8071103"/>
              <a:gd name="connsiteY110" fmla="*/ 646081 h 1359693"/>
              <a:gd name="connsiteX111" fmla="*/ 5870162 w 8071103"/>
              <a:gd name="connsiteY111" fmla="*/ 811340 h 1359693"/>
              <a:gd name="connsiteX112" fmla="*/ 5902071 w 8071103"/>
              <a:gd name="connsiteY112" fmla="*/ 811340 h 1359693"/>
              <a:gd name="connsiteX113" fmla="*/ 5881402 w 8071103"/>
              <a:gd name="connsiteY113" fmla="*/ 646081 h 1359693"/>
              <a:gd name="connsiteX114" fmla="*/ 5881402 w 8071103"/>
              <a:gd name="connsiteY114" fmla="*/ 22574 h 1359693"/>
              <a:gd name="connsiteX115" fmla="*/ 6118003 w 8071103"/>
              <a:gd name="connsiteY115" fmla="*/ 22574 h 1359693"/>
              <a:gd name="connsiteX116" fmla="*/ 6118003 w 8071103"/>
              <a:gd name="connsiteY116" fmla="*/ 1337215 h 1359693"/>
              <a:gd name="connsiteX117" fmla="*/ 5847588 w 8071103"/>
              <a:gd name="connsiteY117" fmla="*/ 1337215 h 1359693"/>
              <a:gd name="connsiteX118" fmla="*/ 5712333 w 8071103"/>
              <a:gd name="connsiteY118" fmla="*/ 713708 h 1359693"/>
              <a:gd name="connsiteX119" fmla="*/ 5691664 w 8071103"/>
              <a:gd name="connsiteY119" fmla="*/ 548450 h 1359693"/>
              <a:gd name="connsiteX120" fmla="*/ 5659755 w 8071103"/>
              <a:gd name="connsiteY120" fmla="*/ 548450 h 1359693"/>
              <a:gd name="connsiteX121" fmla="*/ 5680424 w 8071103"/>
              <a:gd name="connsiteY121" fmla="*/ 713708 h 1359693"/>
              <a:gd name="connsiteX122" fmla="*/ 5680424 w 8071103"/>
              <a:gd name="connsiteY122" fmla="*/ 1337215 h 1359693"/>
              <a:gd name="connsiteX123" fmla="*/ 5443823 w 8071103"/>
              <a:gd name="connsiteY123" fmla="*/ 1337215 h 1359693"/>
              <a:gd name="connsiteX124" fmla="*/ 5443823 w 8071103"/>
              <a:gd name="connsiteY124" fmla="*/ 22574 h 1359693"/>
              <a:gd name="connsiteX125" fmla="*/ 6273832 w 8071103"/>
              <a:gd name="connsiteY125" fmla="*/ 22574 h 1359693"/>
              <a:gd name="connsiteX126" fmla="*/ 6720840 w 8071103"/>
              <a:gd name="connsiteY126" fmla="*/ 22574 h 1359693"/>
              <a:gd name="connsiteX127" fmla="*/ 6720840 w 8071103"/>
              <a:gd name="connsiteY127" fmla="*/ 238601 h 1359693"/>
              <a:gd name="connsiteX128" fmla="*/ 6510528 w 8071103"/>
              <a:gd name="connsiteY128" fmla="*/ 238601 h 1359693"/>
              <a:gd name="connsiteX129" fmla="*/ 6510528 w 8071103"/>
              <a:gd name="connsiteY129" fmla="*/ 565404 h 1359693"/>
              <a:gd name="connsiteX130" fmla="*/ 6700172 w 8071103"/>
              <a:gd name="connsiteY130" fmla="*/ 565404 h 1359693"/>
              <a:gd name="connsiteX131" fmla="*/ 6700172 w 8071103"/>
              <a:gd name="connsiteY131" fmla="*/ 775716 h 1359693"/>
              <a:gd name="connsiteX132" fmla="*/ 6510528 w 8071103"/>
              <a:gd name="connsiteY132" fmla="*/ 775716 h 1359693"/>
              <a:gd name="connsiteX133" fmla="*/ 6510528 w 8071103"/>
              <a:gd name="connsiteY133" fmla="*/ 1121283 h 1359693"/>
              <a:gd name="connsiteX134" fmla="*/ 6720840 w 8071103"/>
              <a:gd name="connsiteY134" fmla="*/ 1121283 h 1359693"/>
              <a:gd name="connsiteX135" fmla="*/ 6720840 w 8071103"/>
              <a:gd name="connsiteY135" fmla="*/ 1337215 h 1359693"/>
              <a:gd name="connsiteX136" fmla="*/ 6273832 w 8071103"/>
              <a:gd name="connsiteY136" fmla="*/ 1337215 h 1359693"/>
              <a:gd name="connsiteX137" fmla="*/ 6273832 w 8071103"/>
              <a:gd name="connsiteY137" fmla="*/ 22574 h 1359693"/>
              <a:gd name="connsiteX138" fmla="*/ 6846665 w 8071103"/>
              <a:gd name="connsiteY138" fmla="*/ 1074230 h 1359693"/>
              <a:gd name="connsiteX139" fmla="*/ 6846665 w 8071103"/>
              <a:gd name="connsiteY139" fmla="*/ 283559 h 1359693"/>
              <a:gd name="connsiteX140" fmla="*/ 7154704 w 8071103"/>
              <a:gd name="connsiteY140" fmla="*/ 0 h 1359693"/>
              <a:gd name="connsiteX141" fmla="*/ 7462742 w 8071103"/>
              <a:gd name="connsiteY141" fmla="*/ 283559 h 1359693"/>
              <a:gd name="connsiteX142" fmla="*/ 7462742 w 8071103"/>
              <a:gd name="connsiteY142" fmla="*/ 557784 h 1359693"/>
              <a:gd name="connsiteX143" fmla="*/ 7226142 w 8071103"/>
              <a:gd name="connsiteY143" fmla="*/ 557784 h 1359693"/>
              <a:gd name="connsiteX144" fmla="*/ 7226142 w 8071103"/>
              <a:gd name="connsiteY144" fmla="*/ 285464 h 1359693"/>
              <a:gd name="connsiteX145" fmla="*/ 7154800 w 8071103"/>
              <a:gd name="connsiteY145" fmla="*/ 215932 h 1359693"/>
              <a:gd name="connsiteX146" fmla="*/ 7083457 w 8071103"/>
              <a:gd name="connsiteY146" fmla="*/ 285464 h 1359693"/>
              <a:gd name="connsiteX147" fmla="*/ 7083457 w 8071103"/>
              <a:gd name="connsiteY147" fmla="*/ 1074230 h 1359693"/>
              <a:gd name="connsiteX148" fmla="*/ 7154800 w 8071103"/>
              <a:gd name="connsiteY148" fmla="*/ 1143667 h 1359693"/>
              <a:gd name="connsiteX149" fmla="*/ 7226142 w 8071103"/>
              <a:gd name="connsiteY149" fmla="*/ 1074230 h 1359693"/>
              <a:gd name="connsiteX150" fmla="*/ 7226142 w 8071103"/>
              <a:gd name="connsiteY150" fmla="*/ 783146 h 1359693"/>
              <a:gd name="connsiteX151" fmla="*/ 7462742 w 8071103"/>
              <a:gd name="connsiteY151" fmla="*/ 783146 h 1359693"/>
              <a:gd name="connsiteX152" fmla="*/ 7462742 w 8071103"/>
              <a:gd name="connsiteY152" fmla="*/ 1074230 h 1359693"/>
              <a:gd name="connsiteX153" fmla="*/ 7154704 w 8071103"/>
              <a:gd name="connsiteY153" fmla="*/ 1359694 h 1359693"/>
              <a:gd name="connsiteX154" fmla="*/ 6846665 w 8071103"/>
              <a:gd name="connsiteY154" fmla="*/ 1074230 h 1359693"/>
              <a:gd name="connsiteX155" fmla="*/ 7699248 w 8071103"/>
              <a:gd name="connsiteY155" fmla="*/ 238506 h 1359693"/>
              <a:gd name="connsiteX156" fmla="*/ 7563993 w 8071103"/>
              <a:gd name="connsiteY156" fmla="*/ 238506 h 1359693"/>
              <a:gd name="connsiteX157" fmla="*/ 7563993 w 8071103"/>
              <a:gd name="connsiteY157" fmla="*/ 22479 h 1359693"/>
              <a:gd name="connsiteX158" fmla="*/ 8071104 w 8071103"/>
              <a:gd name="connsiteY158" fmla="*/ 22479 h 1359693"/>
              <a:gd name="connsiteX159" fmla="*/ 8071104 w 8071103"/>
              <a:gd name="connsiteY159" fmla="*/ 238506 h 1359693"/>
              <a:gd name="connsiteX160" fmla="*/ 7935850 w 8071103"/>
              <a:gd name="connsiteY160" fmla="*/ 238506 h 1359693"/>
              <a:gd name="connsiteX161" fmla="*/ 7935850 w 8071103"/>
              <a:gd name="connsiteY161" fmla="*/ 1337120 h 1359693"/>
              <a:gd name="connsiteX162" fmla="*/ 7699248 w 8071103"/>
              <a:gd name="connsiteY162" fmla="*/ 1337120 h 1359693"/>
              <a:gd name="connsiteX163" fmla="*/ 7699248 w 8071103"/>
              <a:gd name="connsiteY163" fmla="*/ 238506 h 1359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</a:cxnLst>
            <a:rect l="l" t="t" r="r" b="b"/>
            <a:pathLst>
              <a:path w="8071103" h="1359693">
                <a:moveTo>
                  <a:pt x="0" y="1074230"/>
                </a:moveTo>
                <a:lnTo>
                  <a:pt x="0" y="283559"/>
                </a:lnTo>
                <a:cubicBezTo>
                  <a:pt x="0" y="114490"/>
                  <a:pt x="123920" y="0"/>
                  <a:pt x="308038" y="0"/>
                </a:cubicBezTo>
                <a:cubicBezTo>
                  <a:pt x="492157" y="0"/>
                  <a:pt x="616077" y="114586"/>
                  <a:pt x="616077" y="283559"/>
                </a:cubicBezTo>
                <a:lnTo>
                  <a:pt x="616077" y="557784"/>
                </a:lnTo>
                <a:lnTo>
                  <a:pt x="379476" y="557784"/>
                </a:lnTo>
                <a:lnTo>
                  <a:pt x="379476" y="285464"/>
                </a:lnTo>
                <a:cubicBezTo>
                  <a:pt x="379476" y="242316"/>
                  <a:pt x="351282" y="215932"/>
                  <a:pt x="308134" y="215932"/>
                </a:cubicBezTo>
                <a:cubicBezTo>
                  <a:pt x="264986" y="215932"/>
                  <a:pt x="236791" y="242221"/>
                  <a:pt x="236791" y="285464"/>
                </a:cubicBezTo>
                <a:lnTo>
                  <a:pt x="236791" y="1074230"/>
                </a:lnTo>
                <a:cubicBezTo>
                  <a:pt x="236791" y="1117378"/>
                  <a:pt x="264986" y="1143667"/>
                  <a:pt x="308134" y="1143667"/>
                </a:cubicBezTo>
                <a:cubicBezTo>
                  <a:pt x="351282" y="1143667"/>
                  <a:pt x="379476" y="1117378"/>
                  <a:pt x="379476" y="1074230"/>
                </a:cubicBezTo>
                <a:lnTo>
                  <a:pt x="379476" y="783146"/>
                </a:lnTo>
                <a:lnTo>
                  <a:pt x="616077" y="783146"/>
                </a:lnTo>
                <a:lnTo>
                  <a:pt x="616077" y="1074230"/>
                </a:lnTo>
                <a:cubicBezTo>
                  <a:pt x="616077" y="1245108"/>
                  <a:pt x="492157" y="1359694"/>
                  <a:pt x="308038" y="1359694"/>
                </a:cubicBezTo>
                <a:cubicBezTo>
                  <a:pt x="123920" y="1359694"/>
                  <a:pt x="0" y="1245108"/>
                  <a:pt x="0" y="1074230"/>
                </a:cubicBezTo>
                <a:close/>
                <a:moveTo>
                  <a:pt x="762476" y="22574"/>
                </a:moveTo>
                <a:lnTo>
                  <a:pt x="999077" y="22574"/>
                </a:lnTo>
                <a:lnTo>
                  <a:pt x="999077" y="1121283"/>
                </a:lnTo>
                <a:lnTo>
                  <a:pt x="1198150" y="1121283"/>
                </a:lnTo>
                <a:lnTo>
                  <a:pt x="1198150" y="1337215"/>
                </a:lnTo>
                <a:lnTo>
                  <a:pt x="762476" y="1337215"/>
                </a:lnTo>
                <a:lnTo>
                  <a:pt x="762476" y="22574"/>
                </a:lnTo>
                <a:close/>
                <a:moveTo>
                  <a:pt x="1293971" y="1074230"/>
                </a:moveTo>
                <a:lnTo>
                  <a:pt x="1293971" y="22479"/>
                </a:lnTo>
                <a:lnTo>
                  <a:pt x="1530572" y="22479"/>
                </a:lnTo>
                <a:lnTo>
                  <a:pt x="1530572" y="1074230"/>
                </a:lnTo>
                <a:cubicBezTo>
                  <a:pt x="1530572" y="1117378"/>
                  <a:pt x="1558766" y="1143667"/>
                  <a:pt x="1600105" y="1143667"/>
                </a:cubicBezTo>
                <a:cubicBezTo>
                  <a:pt x="1641443" y="1143667"/>
                  <a:pt x="1671447" y="1117378"/>
                  <a:pt x="1671447" y="1074230"/>
                </a:cubicBezTo>
                <a:lnTo>
                  <a:pt x="1671447" y="22479"/>
                </a:lnTo>
                <a:lnTo>
                  <a:pt x="1908048" y="22479"/>
                </a:lnTo>
                <a:lnTo>
                  <a:pt x="1908048" y="1074230"/>
                </a:lnTo>
                <a:cubicBezTo>
                  <a:pt x="1908048" y="1245108"/>
                  <a:pt x="1784128" y="1359694"/>
                  <a:pt x="1600009" y="1359694"/>
                </a:cubicBezTo>
                <a:cubicBezTo>
                  <a:pt x="1415891" y="1359694"/>
                  <a:pt x="1293876" y="1245108"/>
                  <a:pt x="1293876" y="1074230"/>
                </a:cubicBezTo>
                <a:close/>
                <a:moveTo>
                  <a:pt x="2060162" y="22574"/>
                </a:moveTo>
                <a:lnTo>
                  <a:pt x="2394490" y="22574"/>
                </a:lnTo>
                <a:cubicBezTo>
                  <a:pt x="2561654" y="22574"/>
                  <a:pt x="2674335" y="125921"/>
                  <a:pt x="2674335" y="279844"/>
                </a:cubicBezTo>
                <a:lnTo>
                  <a:pt x="2674335" y="458248"/>
                </a:lnTo>
                <a:cubicBezTo>
                  <a:pt x="2674335" y="537115"/>
                  <a:pt x="2638616" y="617887"/>
                  <a:pt x="2565369" y="651701"/>
                </a:cubicBezTo>
                <a:lnTo>
                  <a:pt x="2565369" y="662940"/>
                </a:lnTo>
                <a:cubicBezTo>
                  <a:pt x="2644235" y="696754"/>
                  <a:pt x="2685574" y="781240"/>
                  <a:pt x="2685574" y="865727"/>
                </a:cubicBezTo>
                <a:lnTo>
                  <a:pt x="2685574" y="1079849"/>
                </a:lnTo>
                <a:cubicBezTo>
                  <a:pt x="2685574" y="1233869"/>
                  <a:pt x="2574798" y="1337120"/>
                  <a:pt x="2405729" y="1337120"/>
                </a:cubicBezTo>
                <a:lnTo>
                  <a:pt x="2060162" y="1337120"/>
                </a:lnTo>
                <a:lnTo>
                  <a:pt x="2060162" y="22574"/>
                </a:lnTo>
                <a:close/>
                <a:moveTo>
                  <a:pt x="2296763" y="238506"/>
                </a:moveTo>
                <a:lnTo>
                  <a:pt x="2296763" y="569024"/>
                </a:lnTo>
                <a:lnTo>
                  <a:pt x="2366296" y="569024"/>
                </a:lnTo>
                <a:cubicBezTo>
                  <a:pt x="2409444" y="569024"/>
                  <a:pt x="2437638" y="540830"/>
                  <a:pt x="2437638" y="497681"/>
                </a:cubicBezTo>
                <a:lnTo>
                  <a:pt x="2437638" y="307943"/>
                </a:lnTo>
                <a:cubicBezTo>
                  <a:pt x="2437638" y="264795"/>
                  <a:pt x="2409444" y="238506"/>
                  <a:pt x="2366296" y="238506"/>
                </a:cubicBezTo>
                <a:lnTo>
                  <a:pt x="2296763" y="238506"/>
                </a:lnTo>
                <a:close/>
                <a:moveTo>
                  <a:pt x="2296763" y="770001"/>
                </a:moveTo>
                <a:lnTo>
                  <a:pt x="2296763" y="1121188"/>
                </a:lnTo>
                <a:lnTo>
                  <a:pt x="2379440" y="1121188"/>
                </a:lnTo>
                <a:cubicBezTo>
                  <a:pt x="2420779" y="1121188"/>
                  <a:pt x="2448973" y="1094899"/>
                  <a:pt x="2448973" y="1051655"/>
                </a:cubicBezTo>
                <a:lnTo>
                  <a:pt x="2448973" y="841343"/>
                </a:lnTo>
                <a:cubicBezTo>
                  <a:pt x="2448973" y="798195"/>
                  <a:pt x="2420779" y="770001"/>
                  <a:pt x="2379440" y="770001"/>
                </a:cubicBezTo>
                <a:lnTo>
                  <a:pt x="2296763" y="770001"/>
                </a:lnTo>
                <a:close/>
                <a:moveTo>
                  <a:pt x="3094482" y="1074230"/>
                </a:moveTo>
                <a:lnTo>
                  <a:pt x="3094482" y="283559"/>
                </a:lnTo>
                <a:cubicBezTo>
                  <a:pt x="3094482" y="114490"/>
                  <a:pt x="3218403" y="0"/>
                  <a:pt x="3402520" y="0"/>
                </a:cubicBezTo>
                <a:cubicBezTo>
                  <a:pt x="3586639" y="0"/>
                  <a:pt x="3710559" y="114586"/>
                  <a:pt x="3710559" y="283559"/>
                </a:cubicBezTo>
                <a:lnTo>
                  <a:pt x="3710559" y="557784"/>
                </a:lnTo>
                <a:lnTo>
                  <a:pt x="3473958" y="557784"/>
                </a:lnTo>
                <a:lnTo>
                  <a:pt x="3473958" y="285464"/>
                </a:lnTo>
                <a:cubicBezTo>
                  <a:pt x="3473958" y="242316"/>
                  <a:pt x="3445764" y="215932"/>
                  <a:pt x="3402616" y="215932"/>
                </a:cubicBezTo>
                <a:cubicBezTo>
                  <a:pt x="3359468" y="215932"/>
                  <a:pt x="3331274" y="242221"/>
                  <a:pt x="3331274" y="285464"/>
                </a:cubicBezTo>
                <a:lnTo>
                  <a:pt x="3331274" y="1074230"/>
                </a:lnTo>
                <a:cubicBezTo>
                  <a:pt x="3331274" y="1117378"/>
                  <a:pt x="3359468" y="1143667"/>
                  <a:pt x="3402616" y="1143667"/>
                </a:cubicBezTo>
                <a:cubicBezTo>
                  <a:pt x="3445764" y="1143667"/>
                  <a:pt x="3473958" y="1117378"/>
                  <a:pt x="3473958" y="1074230"/>
                </a:cubicBezTo>
                <a:lnTo>
                  <a:pt x="3473958" y="783146"/>
                </a:lnTo>
                <a:lnTo>
                  <a:pt x="3710559" y="783146"/>
                </a:lnTo>
                <a:lnTo>
                  <a:pt x="3710559" y="1074230"/>
                </a:lnTo>
                <a:cubicBezTo>
                  <a:pt x="3710559" y="1245108"/>
                  <a:pt x="3586639" y="1359694"/>
                  <a:pt x="3402520" y="1359694"/>
                </a:cubicBezTo>
                <a:cubicBezTo>
                  <a:pt x="3218403" y="1359694"/>
                  <a:pt x="3094482" y="1245108"/>
                  <a:pt x="3094482" y="1074230"/>
                </a:cubicBezTo>
                <a:close/>
                <a:moveTo>
                  <a:pt x="3849434" y="1074230"/>
                </a:moveTo>
                <a:lnTo>
                  <a:pt x="3849434" y="283559"/>
                </a:lnTo>
                <a:cubicBezTo>
                  <a:pt x="3849434" y="114490"/>
                  <a:pt x="3973354" y="0"/>
                  <a:pt x="4157472" y="0"/>
                </a:cubicBezTo>
                <a:cubicBezTo>
                  <a:pt x="4341590" y="0"/>
                  <a:pt x="4465511" y="114586"/>
                  <a:pt x="4465511" y="283559"/>
                </a:cubicBezTo>
                <a:lnTo>
                  <a:pt x="4465511" y="1074230"/>
                </a:lnTo>
                <a:cubicBezTo>
                  <a:pt x="4465511" y="1245108"/>
                  <a:pt x="4341590" y="1359694"/>
                  <a:pt x="4157472" y="1359694"/>
                </a:cubicBezTo>
                <a:cubicBezTo>
                  <a:pt x="3973354" y="1359694"/>
                  <a:pt x="3849434" y="1245108"/>
                  <a:pt x="3849434" y="1074230"/>
                </a:cubicBezTo>
                <a:close/>
                <a:moveTo>
                  <a:pt x="4228814" y="1074230"/>
                </a:moveTo>
                <a:lnTo>
                  <a:pt x="4228814" y="285464"/>
                </a:lnTo>
                <a:cubicBezTo>
                  <a:pt x="4228814" y="242316"/>
                  <a:pt x="4200621" y="215932"/>
                  <a:pt x="4157472" y="215932"/>
                </a:cubicBezTo>
                <a:cubicBezTo>
                  <a:pt x="4114324" y="215932"/>
                  <a:pt x="4086130" y="242221"/>
                  <a:pt x="4086130" y="285464"/>
                </a:cubicBezTo>
                <a:lnTo>
                  <a:pt x="4086130" y="1074230"/>
                </a:lnTo>
                <a:cubicBezTo>
                  <a:pt x="4086130" y="1117378"/>
                  <a:pt x="4114324" y="1143667"/>
                  <a:pt x="4157472" y="1143667"/>
                </a:cubicBezTo>
                <a:cubicBezTo>
                  <a:pt x="4200621" y="1143667"/>
                  <a:pt x="4228814" y="1117378"/>
                  <a:pt x="4228814" y="1074230"/>
                </a:cubicBezTo>
                <a:close/>
                <a:moveTo>
                  <a:pt x="4613720" y="22574"/>
                </a:moveTo>
                <a:lnTo>
                  <a:pt x="4886039" y="22574"/>
                </a:lnTo>
                <a:lnTo>
                  <a:pt x="5021294" y="646081"/>
                </a:lnTo>
                <a:lnTo>
                  <a:pt x="5040059" y="811340"/>
                </a:lnTo>
                <a:lnTo>
                  <a:pt x="5071967" y="811340"/>
                </a:lnTo>
                <a:lnTo>
                  <a:pt x="5051298" y="646081"/>
                </a:lnTo>
                <a:lnTo>
                  <a:pt x="5051298" y="22574"/>
                </a:lnTo>
                <a:lnTo>
                  <a:pt x="5287899" y="22574"/>
                </a:lnTo>
                <a:lnTo>
                  <a:pt x="5287899" y="1337215"/>
                </a:lnTo>
                <a:lnTo>
                  <a:pt x="5017485" y="1337215"/>
                </a:lnTo>
                <a:lnTo>
                  <a:pt x="4882230" y="713708"/>
                </a:lnTo>
                <a:lnTo>
                  <a:pt x="4861560" y="548450"/>
                </a:lnTo>
                <a:lnTo>
                  <a:pt x="4829651" y="548450"/>
                </a:lnTo>
                <a:lnTo>
                  <a:pt x="4850320" y="713708"/>
                </a:lnTo>
                <a:lnTo>
                  <a:pt x="4850320" y="1337215"/>
                </a:lnTo>
                <a:lnTo>
                  <a:pt x="4613720" y="1337215"/>
                </a:lnTo>
                <a:lnTo>
                  <a:pt x="4613720" y="22574"/>
                </a:lnTo>
                <a:close/>
                <a:moveTo>
                  <a:pt x="5443823" y="22574"/>
                </a:moveTo>
                <a:lnTo>
                  <a:pt x="5716143" y="22574"/>
                </a:lnTo>
                <a:lnTo>
                  <a:pt x="5851398" y="646081"/>
                </a:lnTo>
                <a:lnTo>
                  <a:pt x="5870162" y="811340"/>
                </a:lnTo>
                <a:lnTo>
                  <a:pt x="5902071" y="811340"/>
                </a:lnTo>
                <a:lnTo>
                  <a:pt x="5881402" y="646081"/>
                </a:lnTo>
                <a:lnTo>
                  <a:pt x="5881402" y="22574"/>
                </a:lnTo>
                <a:lnTo>
                  <a:pt x="6118003" y="22574"/>
                </a:lnTo>
                <a:lnTo>
                  <a:pt x="6118003" y="1337215"/>
                </a:lnTo>
                <a:lnTo>
                  <a:pt x="5847588" y="1337215"/>
                </a:lnTo>
                <a:lnTo>
                  <a:pt x="5712333" y="713708"/>
                </a:lnTo>
                <a:lnTo>
                  <a:pt x="5691664" y="548450"/>
                </a:lnTo>
                <a:lnTo>
                  <a:pt x="5659755" y="548450"/>
                </a:lnTo>
                <a:lnTo>
                  <a:pt x="5680424" y="713708"/>
                </a:lnTo>
                <a:lnTo>
                  <a:pt x="5680424" y="1337215"/>
                </a:lnTo>
                <a:lnTo>
                  <a:pt x="5443823" y="1337215"/>
                </a:lnTo>
                <a:lnTo>
                  <a:pt x="5443823" y="22574"/>
                </a:lnTo>
                <a:close/>
                <a:moveTo>
                  <a:pt x="6273832" y="22574"/>
                </a:moveTo>
                <a:lnTo>
                  <a:pt x="6720840" y="22574"/>
                </a:lnTo>
                <a:lnTo>
                  <a:pt x="6720840" y="238601"/>
                </a:lnTo>
                <a:lnTo>
                  <a:pt x="6510528" y="238601"/>
                </a:lnTo>
                <a:lnTo>
                  <a:pt x="6510528" y="565404"/>
                </a:lnTo>
                <a:lnTo>
                  <a:pt x="6700172" y="565404"/>
                </a:lnTo>
                <a:lnTo>
                  <a:pt x="6700172" y="775716"/>
                </a:lnTo>
                <a:lnTo>
                  <a:pt x="6510528" y="775716"/>
                </a:lnTo>
                <a:lnTo>
                  <a:pt x="6510528" y="1121283"/>
                </a:lnTo>
                <a:lnTo>
                  <a:pt x="6720840" y="1121283"/>
                </a:lnTo>
                <a:lnTo>
                  <a:pt x="6720840" y="1337215"/>
                </a:lnTo>
                <a:lnTo>
                  <a:pt x="6273832" y="1337215"/>
                </a:lnTo>
                <a:lnTo>
                  <a:pt x="6273832" y="22574"/>
                </a:lnTo>
                <a:close/>
                <a:moveTo>
                  <a:pt x="6846665" y="1074230"/>
                </a:moveTo>
                <a:lnTo>
                  <a:pt x="6846665" y="283559"/>
                </a:lnTo>
                <a:cubicBezTo>
                  <a:pt x="6846665" y="114490"/>
                  <a:pt x="6970585" y="0"/>
                  <a:pt x="7154704" y="0"/>
                </a:cubicBezTo>
                <a:cubicBezTo>
                  <a:pt x="7338822" y="0"/>
                  <a:pt x="7462742" y="114586"/>
                  <a:pt x="7462742" y="283559"/>
                </a:cubicBezTo>
                <a:lnTo>
                  <a:pt x="7462742" y="557784"/>
                </a:lnTo>
                <a:lnTo>
                  <a:pt x="7226142" y="557784"/>
                </a:lnTo>
                <a:lnTo>
                  <a:pt x="7226142" y="285464"/>
                </a:lnTo>
                <a:cubicBezTo>
                  <a:pt x="7226142" y="242316"/>
                  <a:pt x="7197947" y="215932"/>
                  <a:pt x="7154800" y="215932"/>
                </a:cubicBezTo>
                <a:cubicBezTo>
                  <a:pt x="7111651" y="215932"/>
                  <a:pt x="7083457" y="242221"/>
                  <a:pt x="7083457" y="285464"/>
                </a:cubicBezTo>
                <a:lnTo>
                  <a:pt x="7083457" y="1074230"/>
                </a:lnTo>
                <a:cubicBezTo>
                  <a:pt x="7083457" y="1117378"/>
                  <a:pt x="7111651" y="1143667"/>
                  <a:pt x="7154800" y="1143667"/>
                </a:cubicBezTo>
                <a:cubicBezTo>
                  <a:pt x="7197947" y="1143667"/>
                  <a:pt x="7226142" y="1117378"/>
                  <a:pt x="7226142" y="1074230"/>
                </a:cubicBezTo>
                <a:lnTo>
                  <a:pt x="7226142" y="783146"/>
                </a:lnTo>
                <a:lnTo>
                  <a:pt x="7462742" y="783146"/>
                </a:lnTo>
                <a:lnTo>
                  <a:pt x="7462742" y="1074230"/>
                </a:lnTo>
                <a:cubicBezTo>
                  <a:pt x="7462742" y="1245108"/>
                  <a:pt x="7338822" y="1359694"/>
                  <a:pt x="7154704" y="1359694"/>
                </a:cubicBezTo>
                <a:cubicBezTo>
                  <a:pt x="6970585" y="1359694"/>
                  <a:pt x="6846665" y="1245108"/>
                  <a:pt x="6846665" y="1074230"/>
                </a:cubicBezTo>
                <a:close/>
                <a:moveTo>
                  <a:pt x="7699248" y="238506"/>
                </a:moveTo>
                <a:lnTo>
                  <a:pt x="7563993" y="238506"/>
                </a:lnTo>
                <a:lnTo>
                  <a:pt x="7563993" y="22479"/>
                </a:lnTo>
                <a:lnTo>
                  <a:pt x="8071104" y="22479"/>
                </a:lnTo>
                <a:lnTo>
                  <a:pt x="8071104" y="238506"/>
                </a:lnTo>
                <a:lnTo>
                  <a:pt x="7935850" y="238506"/>
                </a:lnTo>
                <a:lnTo>
                  <a:pt x="7935850" y="1337120"/>
                </a:lnTo>
                <a:lnTo>
                  <a:pt x="7699248" y="1337120"/>
                </a:lnTo>
                <a:lnTo>
                  <a:pt x="7699248" y="238506"/>
                </a:lnTo>
                <a:close/>
              </a:path>
            </a:pathLst>
          </a:custGeom>
          <a:solidFill>
            <a:schemeClr val="bg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tx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C2B404-9FBA-1E87-C027-2BB6C644C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3110772"/>
            <a:ext cx="6826250" cy="1673731"/>
          </a:xfrm>
        </p:spPr>
        <p:txBody>
          <a:bodyPr anchor="b"/>
          <a:lstStyle>
            <a:lvl1pPr>
              <a:defRPr sz="5000">
                <a:solidFill>
                  <a:schemeClr val="accent2"/>
                </a:solidFill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8598D-4FA6-4246-6447-7B759D632FD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811492"/>
            <a:ext cx="6826250" cy="34727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optional 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B53587-0701-2BC6-CC8A-7319C380CA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849" y="6327552"/>
            <a:ext cx="6868450" cy="347270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optional date</a:t>
            </a:r>
            <a:endParaRPr lang="en-GB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CD160AE-AFF9-FE33-3317-679D13971972}"/>
              </a:ext>
            </a:extLst>
          </p:cNvPr>
          <p:cNvGrpSpPr/>
          <p:nvPr userDrawn="1"/>
        </p:nvGrpSpPr>
        <p:grpSpPr>
          <a:xfrm>
            <a:off x="831849" y="1088016"/>
            <a:ext cx="3353494" cy="825804"/>
            <a:chOff x="13749337" y="746575"/>
            <a:chExt cx="11277504" cy="2777109"/>
          </a:xfrm>
          <a:solidFill>
            <a:schemeClr val="accent1"/>
          </a:solidFill>
        </p:grpSpPr>
        <p:sp>
          <p:nvSpPr>
            <p:cNvPr id="6" name="Freeform: Shape 44">
              <a:extLst>
                <a:ext uri="{FF2B5EF4-FFF2-40B4-BE49-F238E27FC236}">
                  <a16:creationId xmlns:a16="http://schemas.microsoft.com/office/drawing/2014/main" id="{880AF447-FDD8-DCF8-FF18-7DDD4E102AA3}"/>
                </a:ext>
              </a:extLst>
            </p:cNvPr>
            <p:cNvSpPr/>
            <p:nvPr/>
          </p:nvSpPr>
          <p:spPr>
            <a:xfrm>
              <a:off x="13749337" y="746575"/>
              <a:ext cx="5114450" cy="2777109"/>
            </a:xfrm>
            <a:custGeom>
              <a:avLst/>
              <a:gdLst>
                <a:gd name="connsiteX0" fmla="*/ 5080826 w 5114450"/>
                <a:gd name="connsiteY0" fmla="*/ 664559 h 2777109"/>
                <a:gd name="connsiteX1" fmla="*/ 5114450 w 5114450"/>
                <a:gd name="connsiteY1" fmla="*/ 952786 h 2777109"/>
                <a:gd name="connsiteX2" fmla="*/ 4924234 w 5114450"/>
                <a:gd name="connsiteY2" fmla="*/ 952786 h 2777109"/>
                <a:gd name="connsiteX3" fmla="*/ 4911662 w 5114450"/>
                <a:gd name="connsiteY3" fmla="*/ 812292 h 2777109"/>
                <a:gd name="connsiteX4" fmla="*/ 4562570 w 5114450"/>
                <a:gd name="connsiteY4" fmla="*/ 812292 h 2777109"/>
                <a:gd name="connsiteX5" fmla="*/ 4196906 w 5114450"/>
                <a:gd name="connsiteY5" fmla="*/ 972026 h 2777109"/>
                <a:gd name="connsiteX6" fmla="*/ 4047362 w 5114450"/>
                <a:gd name="connsiteY6" fmla="*/ 952786 h 2777109"/>
                <a:gd name="connsiteX7" fmla="*/ 5080826 w 5114450"/>
                <a:gd name="connsiteY7" fmla="*/ 664559 h 2777109"/>
                <a:gd name="connsiteX8" fmla="*/ 4833462 w 5114450"/>
                <a:gd name="connsiteY8" fmla="*/ 250221 h 2777109"/>
                <a:gd name="connsiteX9" fmla="*/ 5031866 w 5114450"/>
                <a:gd name="connsiteY9" fmla="*/ 250221 h 2777109"/>
                <a:gd name="connsiteX10" fmla="*/ 5076634 w 5114450"/>
                <a:gd name="connsiteY10" fmla="*/ 629697 h 2777109"/>
                <a:gd name="connsiteX11" fmla="*/ 4896516 w 5114450"/>
                <a:gd name="connsiteY11" fmla="*/ 650176 h 2777109"/>
                <a:gd name="connsiteX12" fmla="*/ 4876418 w 5114450"/>
                <a:gd name="connsiteY12" fmla="*/ 423767 h 2777109"/>
                <a:gd name="connsiteX13" fmla="*/ 4658010 w 5114450"/>
                <a:gd name="connsiteY13" fmla="*/ 693610 h 2777109"/>
                <a:gd name="connsiteX14" fmla="*/ 4657914 w 5114450"/>
                <a:gd name="connsiteY14" fmla="*/ 693610 h 2777109"/>
                <a:gd name="connsiteX15" fmla="*/ 4412456 w 5114450"/>
                <a:gd name="connsiteY15" fmla="*/ 758856 h 2777109"/>
                <a:gd name="connsiteX16" fmla="*/ 4833462 w 5114450"/>
                <a:gd name="connsiteY16" fmla="*/ 250221 h 2777109"/>
                <a:gd name="connsiteX17" fmla="*/ 4326922 w 5114450"/>
                <a:gd name="connsiteY17" fmla="*/ 232600 h 2777109"/>
                <a:gd name="connsiteX18" fmla="*/ 4614670 w 5114450"/>
                <a:gd name="connsiteY18" fmla="*/ 329279 h 2777109"/>
                <a:gd name="connsiteX19" fmla="*/ 4508658 w 5114450"/>
                <a:gd name="connsiteY19" fmla="*/ 460438 h 2777109"/>
                <a:gd name="connsiteX20" fmla="*/ 4508658 w 5114450"/>
                <a:gd name="connsiteY20" fmla="*/ 460533 h 2777109"/>
                <a:gd name="connsiteX21" fmla="*/ 4299298 w 5114450"/>
                <a:gd name="connsiteY21" fmla="*/ 376999 h 2777109"/>
                <a:gd name="connsiteX22" fmla="*/ 4010024 w 5114450"/>
                <a:gd name="connsiteY22" fmla="*/ 619887 h 2777109"/>
                <a:gd name="connsiteX23" fmla="*/ 4113466 w 5114450"/>
                <a:gd name="connsiteY23" fmla="*/ 811911 h 2777109"/>
                <a:gd name="connsiteX24" fmla="*/ 4215670 w 5114450"/>
                <a:gd name="connsiteY24" fmla="*/ 826484 h 2777109"/>
                <a:gd name="connsiteX25" fmla="*/ 3928300 w 5114450"/>
                <a:gd name="connsiteY25" fmla="*/ 952881 h 2777109"/>
                <a:gd name="connsiteX26" fmla="*/ 3206400 w 5114450"/>
                <a:gd name="connsiteY26" fmla="*/ 952881 h 2777109"/>
                <a:gd name="connsiteX27" fmla="*/ 3454336 w 5114450"/>
                <a:gd name="connsiteY27" fmla="*/ 250317 h 2777109"/>
                <a:gd name="connsiteX28" fmla="*/ 3987164 w 5114450"/>
                <a:gd name="connsiteY28" fmla="*/ 250317 h 2777109"/>
                <a:gd name="connsiteX29" fmla="*/ 3871626 w 5114450"/>
                <a:gd name="connsiteY29" fmla="*/ 390810 h 2777109"/>
                <a:gd name="connsiteX30" fmla="*/ 3587590 w 5114450"/>
                <a:gd name="connsiteY30" fmla="*/ 390810 h 2777109"/>
                <a:gd name="connsiteX31" fmla="*/ 3544156 w 5114450"/>
                <a:gd name="connsiteY31" fmla="*/ 513683 h 2777109"/>
                <a:gd name="connsiteX32" fmla="*/ 3770470 w 5114450"/>
                <a:gd name="connsiteY32" fmla="*/ 513683 h 2777109"/>
                <a:gd name="connsiteX33" fmla="*/ 3655122 w 5114450"/>
                <a:gd name="connsiteY33" fmla="*/ 653796 h 2777109"/>
                <a:gd name="connsiteX34" fmla="*/ 3494722 w 5114450"/>
                <a:gd name="connsiteY34" fmla="*/ 653796 h 2777109"/>
                <a:gd name="connsiteX35" fmla="*/ 3438810 w 5114450"/>
                <a:gd name="connsiteY35" fmla="*/ 812101 h 2777109"/>
                <a:gd name="connsiteX36" fmla="*/ 3873530 w 5114450"/>
                <a:gd name="connsiteY36" fmla="*/ 812101 h 2777109"/>
                <a:gd name="connsiteX37" fmla="*/ 3829430 w 5114450"/>
                <a:gd name="connsiteY37" fmla="*/ 629793 h 2777109"/>
                <a:gd name="connsiteX38" fmla="*/ 4326922 w 5114450"/>
                <a:gd name="connsiteY38" fmla="*/ 232600 h 2777109"/>
                <a:gd name="connsiteX39" fmla="*/ 1567529 w 5114450"/>
                <a:gd name="connsiteY39" fmla="*/ 0 h 2777109"/>
                <a:gd name="connsiteX40" fmla="*/ 2797397 w 5114450"/>
                <a:gd name="connsiteY40" fmla="*/ 1388555 h 2777109"/>
                <a:gd name="connsiteX41" fmla="*/ 1567529 w 5114450"/>
                <a:gd name="connsiteY41" fmla="*/ 2777109 h 2777109"/>
                <a:gd name="connsiteX42" fmla="*/ 1567529 w 5114450"/>
                <a:gd name="connsiteY42" fmla="*/ 2003965 h 2777109"/>
                <a:gd name="connsiteX43" fmla="*/ 2036921 w 5114450"/>
                <a:gd name="connsiteY43" fmla="*/ 1388555 h 2777109"/>
                <a:gd name="connsiteX44" fmla="*/ 1567529 w 5114450"/>
                <a:gd name="connsiteY44" fmla="*/ 773144 h 2777109"/>
                <a:gd name="connsiteX45" fmla="*/ 1229868 w 5114450"/>
                <a:gd name="connsiteY45" fmla="*/ 0 h 2777109"/>
                <a:gd name="connsiteX46" fmla="*/ 1229868 w 5114450"/>
                <a:gd name="connsiteY46" fmla="*/ 773144 h 2777109"/>
                <a:gd name="connsiteX47" fmla="*/ 760476 w 5114450"/>
                <a:gd name="connsiteY47" fmla="*/ 1388555 h 2777109"/>
                <a:gd name="connsiteX48" fmla="*/ 1229868 w 5114450"/>
                <a:gd name="connsiteY48" fmla="*/ 2003965 h 2777109"/>
                <a:gd name="connsiteX49" fmla="*/ 1229868 w 5114450"/>
                <a:gd name="connsiteY49" fmla="*/ 2777109 h 2777109"/>
                <a:gd name="connsiteX50" fmla="*/ 0 w 5114450"/>
                <a:gd name="connsiteY50" fmla="*/ 1388555 h 2777109"/>
                <a:gd name="connsiteX51" fmla="*/ 1229868 w 5114450"/>
                <a:gd name="connsiteY51" fmla="*/ 0 h 2777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114450" h="2777109">
                  <a:moveTo>
                    <a:pt x="5080826" y="664559"/>
                  </a:moveTo>
                  <a:lnTo>
                    <a:pt x="5114450" y="952786"/>
                  </a:lnTo>
                  <a:lnTo>
                    <a:pt x="4924234" y="952786"/>
                  </a:lnTo>
                  <a:cubicBezTo>
                    <a:pt x="4924234" y="952786"/>
                    <a:pt x="4911662" y="812292"/>
                    <a:pt x="4911662" y="812292"/>
                  </a:cubicBezTo>
                  <a:lnTo>
                    <a:pt x="4562570" y="812292"/>
                  </a:lnTo>
                  <a:cubicBezTo>
                    <a:pt x="4448746" y="938022"/>
                    <a:pt x="4354162" y="972026"/>
                    <a:pt x="4196906" y="972026"/>
                  </a:cubicBezTo>
                  <a:cubicBezTo>
                    <a:pt x="4140136" y="972026"/>
                    <a:pt x="4086892" y="965549"/>
                    <a:pt x="4047362" y="952786"/>
                  </a:cubicBezTo>
                  <a:cubicBezTo>
                    <a:pt x="4047362" y="952786"/>
                    <a:pt x="4500562" y="719233"/>
                    <a:pt x="5080826" y="664559"/>
                  </a:cubicBezTo>
                  <a:close/>
                  <a:moveTo>
                    <a:pt x="4833462" y="250221"/>
                  </a:moveTo>
                  <a:lnTo>
                    <a:pt x="5031866" y="250221"/>
                  </a:lnTo>
                  <a:lnTo>
                    <a:pt x="5076634" y="629697"/>
                  </a:lnTo>
                  <a:cubicBezTo>
                    <a:pt x="5016626" y="636079"/>
                    <a:pt x="4955094" y="641127"/>
                    <a:pt x="4896516" y="650176"/>
                  </a:cubicBezTo>
                  <a:lnTo>
                    <a:pt x="4876418" y="423767"/>
                  </a:lnTo>
                  <a:lnTo>
                    <a:pt x="4658010" y="693610"/>
                  </a:lnTo>
                  <a:lnTo>
                    <a:pt x="4657914" y="693610"/>
                  </a:lnTo>
                  <a:cubicBezTo>
                    <a:pt x="4574094" y="712470"/>
                    <a:pt x="4492274" y="734282"/>
                    <a:pt x="4412456" y="758856"/>
                  </a:cubicBezTo>
                  <a:cubicBezTo>
                    <a:pt x="4412456" y="758856"/>
                    <a:pt x="4833462" y="250221"/>
                    <a:pt x="4833462" y="250221"/>
                  </a:cubicBezTo>
                  <a:close/>
                  <a:moveTo>
                    <a:pt x="4326922" y="232600"/>
                  </a:moveTo>
                  <a:cubicBezTo>
                    <a:pt x="4449222" y="232600"/>
                    <a:pt x="4548090" y="269271"/>
                    <a:pt x="4614670" y="329279"/>
                  </a:cubicBezTo>
                  <a:lnTo>
                    <a:pt x="4508658" y="460438"/>
                  </a:lnTo>
                  <a:lnTo>
                    <a:pt x="4508658" y="460533"/>
                  </a:lnTo>
                  <a:cubicBezTo>
                    <a:pt x="4467130" y="414051"/>
                    <a:pt x="4383498" y="376999"/>
                    <a:pt x="4299298" y="376999"/>
                  </a:cubicBezTo>
                  <a:cubicBezTo>
                    <a:pt x="4128706" y="376999"/>
                    <a:pt x="4021930" y="498538"/>
                    <a:pt x="4010024" y="619887"/>
                  </a:cubicBezTo>
                  <a:cubicBezTo>
                    <a:pt x="3999928" y="723042"/>
                    <a:pt x="4035838" y="785241"/>
                    <a:pt x="4113466" y="811911"/>
                  </a:cubicBezTo>
                  <a:cubicBezTo>
                    <a:pt x="4156518" y="822769"/>
                    <a:pt x="4180902" y="825246"/>
                    <a:pt x="4215670" y="826484"/>
                  </a:cubicBezTo>
                  <a:cubicBezTo>
                    <a:pt x="4030408" y="898017"/>
                    <a:pt x="3928300" y="952881"/>
                    <a:pt x="3928300" y="952881"/>
                  </a:cubicBezTo>
                  <a:lnTo>
                    <a:pt x="3206400" y="952881"/>
                  </a:lnTo>
                  <a:cubicBezTo>
                    <a:pt x="3206400" y="952881"/>
                    <a:pt x="3454336" y="250317"/>
                    <a:pt x="3454336" y="250317"/>
                  </a:cubicBezTo>
                  <a:lnTo>
                    <a:pt x="3987164" y="250317"/>
                  </a:lnTo>
                  <a:cubicBezTo>
                    <a:pt x="3987164" y="250317"/>
                    <a:pt x="3871626" y="390810"/>
                    <a:pt x="3871626" y="390810"/>
                  </a:cubicBezTo>
                  <a:lnTo>
                    <a:pt x="3587590" y="390810"/>
                  </a:lnTo>
                  <a:cubicBezTo>
                    <a:pt x="3587590" y="390810"/>
                    <a:pt x="3544156" y="513683"/>
                    <a:pt x="3544156" y="513683"/>
                  </a:cubicBezTo>
                  <a:lnTo>
                    <a:pt x="3770470" y="513683"/>
                  </a:lnTo>
                  <a:cubicBezTo>
                    <a:pt x="3770470" y="513683"/>
                    <a:pt x="3655122" y="653796"/>
                    <a:pt x="3655122" y="653796"/>
                  </a:cubicBezTo>
                  <a:lnTo>
                    <a:pt x="3494722" y="653796"/>
                  </a:lnTo>
                  <a:cubicBezTo>
                    <a:pt x="3494722" y="653796"/>
                    <a:pt x="3438810" y="812101"/>
                    <a:pt x="3438810" y="812101"/>
                  </a:cubicBezTo>
                  <a:lnTo>
                    <a:pt x="3873530" y="812101"/>
                  </a:lnTo>
                  <a:cubicBezTo>
                    <a:pt x="3837336" y="752284"/>
                    <a:pt x="3826192" y="691610"/>
                    <a:pt x="3829430" y="629793"/>
                  </a:cubicBezTo>
                  <a:cubicBezTo>
                    <a:pt x="3840290" y="425481"/>
                    <a:pt x="4007454" y="232600"/>
                    <a:pt x="4326922" y="232600"/>
                  </a:cubicBezTo>
                  <a:close/>
                  <a:moveTo>
                    <a:pt x="1567529" y="0"/>
                  </a:moveTo>
                  <a:cubicBezTo>
                    <a:pt x="2260473" y="83344"/>
                    <a:pt x="2797397" y="673227"/>
                    <a:pt x="2797397" y="1388555"/>
                  </a:cubicBezTo>
                  <a:cubicBezTo>
                    <a:pt x="2797397" y="2103882"/>
                    <a:pt x="2260378" y="2693765"/>
                    <a:pt x="1567529" y="2777109"/>
                  </a:cubicBezTo>
                  <a:lnTo>
                    <a:pt x="1567529" y="2003965"/>
                  </a:lnTo>
                  <a:cubicBezTo>
                    <a:pt x="1837754" y="1929765"/>
                    <a:pt x="2036921" y="1682020"/>
                    <a:pt x="2036921" y="1388555"/>
                  </a:cubicBezTo>
                  <a:cubicBezTo>
                    <a:pt x="2036921" y="1095089"/>
                    <a:pt x="1837754" y="847344"/>
                    <a:pt x="1567529" y="773144"/>
                  </a:cubicBezTo>
                  <a:close/>
                  <a:moveTo>
                    <a:pt x="1229868" y="0"/>
                  </a:moveTo>
                  <a:lnTo>
                    <a:pt x="1229868" y="773144"/>
                  </a:lnTo>
                  <a:cubicBezTo>
                    <a:pt x="959644" y="847344"/>
                    <a:pt x="760476" y="1095089"/>
                    <a:pt x="760476" y="1388555"/>
                  </a:cubicBezTo>
                  <a:cubicBezTo>
                    <a:pt x="760476" y="1682020"/>
                    <a:pt x="959644" y="1929765"/>
                    <a:pt x="1229868" y="2003965"/>
                  </a:cubicBezTo>
                  <a:lnTo>
                    <a:pt x="1229868" y="2777109"/>
                  </a:lnTo>
                  <a:cubicBezTo>
                    <a:pt x="537020" y="2693765"/>
                    <a:pt x="0" y="2103882"/>
                    <a:pt x="0" y="1388555"/>
                  </a:cubicBezTo>
                  <a:cubicBezTo>
                    <a:pt x="0" y="673227"/>
                    <a:pt x="537020" y="83344"/>
                    <a:pt x="1229868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  <p:sp>
          <p:nvSpPr>
            <p:cNvPr id="8" name="Freeform: Shape 24">
              <a:extLst>
                <a:ext uri="{FF2B5EF4-FFF2-40B4-BE49-F238E27FC236}">
                  <a16:creationId xmlns:a16="http://schemas.microsoft.com/office/drawing/2014/main" id="{8FFADDDF-C15D-F3CA-08CC-229EE50995E3}"/>
                </a:ext>
              </a:extLst>
            </p:cNvPr>
            <p:cNvSpPr/>
            <p:nvPr/>
          </p:nvSpPr>
          <p:spPr>
            <a:xfrm>
              <a:off x="16955738" y="1931294"/>
              <a:ext cx="8071103" cy="1359693"/>
            </a:xfrm>
            <a:custGeom>
              <a:avLst/>
              <a:gdLst>
                <a:gd name="connsiteX0" fmla="*/ 0 w 8071103"/>
                <a:gd name="connsiteY0" fmla="*/ 1074230 h 1359693"/>
                <a:gd name="connsiteX1" fmla="*/ 0 w 8071103"/>
                <a:gd name="connsiteY1" fmla="*/ 283559 h 1359693"/>
                <a:gd name="connsiteX2" fmla="*/ 308038 w 8071103"/>
                <a:gd name="connsiteY2" fmla="*/ 0 h 1359693"/>
                <a:gd name="connsiteX3" fmla="*/ 616077 w 8071103"/>
                <a:gd name="connsiteY3" fmla="*/ 283559 h 1359693"/>
                <a:gd name="connsiteX4" fmla="*/ 616077 w 8071103"/>
                <a:gd name="connsiteY4" fmla="*/ 557784 h 1359693"/>
                <a:gd name="connsiteX5" fmla="*/ 379476 w 8071103"/>
                <a:gd name="connsiteY5" fmla="*/ 557784 h 1359693"/>
                <a:gd name="connsiteX6" fmla="*/ 379476 w 8071103"/>
                <a:gd name="connsiteY6" fmla="*/ 285464 h 1359693"/>
                <a:gd name="connsiteX7" fmla="*/ 308134 w 8071103"/>
                <a:gd name="connsiteY7" fmla="*/ 215932 h 1359693"/>
                <a:gd name="connsiteX8" fmla="*/ 236791 w 8071103"/>
                <a:gd name="connsiteY8" fmla="*/ 285464 h 1359693"/>
                <a:gd name="connsiteX9" fmla="*/ 236791 w 8071103"/>
                <a:gd name="connsiteY9" fmla="*/ 1074230 h 1359693"/>
                <a:gd name="connsiteX10" fmla="*/ 308134 w 8071103"/>
                <a:gd name="connsiteY10" fmla="*/ 1143667 h 1359693"/>
                <a:gd name="connsiteX11" fmla="*/ 379476 w 8071103"/>
                <a:gd name="connsiteY11" fmla="*/ 1074230 h 1359693"/>
                <a:gd name="connsiteX12" fmla="*/ 379476 w 8071103"/>
                <a:gd name="connsiteY12" fmla="*/ 783146 h 1359693"/>
                <a:gd name="connsiteX13" fmla="*/ 616077 w 8071103"/>
                <a:gd name="connsiteY13" fmla="*/ 783146 h 1359693"/>
                <a:gd name="connsiteX14" fmla="*/ 616077 w 8071103"/>
                <a:gd name="connsiteY14" fmla="*/ 1074230 h 1359693"/>
                <a:gd name="connsiteX15" fmla="*/ 308038 w 8071103"/>
                <a:gd name="connsiteY15" fmla="*/ 1359694 h 1359693"/>
                <a:gd name="connsiteX16" fmla="*/ 0 w 8071103"/>
                <a:gd name="connsiteY16" fmla="*/ 1074230 h 1359693"/>
                <a:gd name="connsiteX17" fmla="*/ 762476 w 8071103"/>
                <a:gd name="connsiteY17" fmla="*/ 22574 h 1359693"/>
                <a:gd name="connsiteX18" fmla="*/ 999077 w 8071103"/>
                <a:gd name="connsiteY18" fmla="*/ 22574 h 1359693"/>
                <a:gd name="connsiteX19" fmla="*/ 999077 w 8071103"/>
                <a:gd name="connsiteY19" fmla="*/ 1121283 h 1359693"/>
                <a:gd name="connsiteX20" fmla="*/ 1198150 w 8071103"/>
                <a:gd name="connsiteY20" fmla="*/ 1121283 h 1359693"/>
                <a:gd name="connsiteX21" fmla="*/ 1198150 w 8071103"/>
                <a:gd name="connsiteY21" fmla="*/ 1337215 h 1359693"/>
                <a:gd name="connsiteX22" fmla="*/ 762476 w 8071103"/>
                <a:gd name="connsiteY22" fmla="*/ 1337215 h 1359693"/>
                <a:gd name="connsiteX23" fmla="*/ 762476 w 8071103"/>
                <a:gd name="connsiteY23" fmla="*/ 22574 h 1359693"/>
                <a:gd name="connsiteX24" fmla="*/ 1293971 w 8071103"/>
                <a:gd name="connsiteY24" fmla="*/ 1074230 h 1359693"/>
                <a:gd name="connsiteX25" fmla="*/ 1293971 w 8071103"/>
                <a:gd name="connsiteY25" fmla="*/ 22479 h 1359693"/>
                <a:gd name="connsiteX26" fmla="*/ 1530572 w 8071103"/>
                <a:gd name="connsiteY26" fmla="*/ 22479 h 1359693"/>
                <a:gd name="connsiteX27" fmla="*/ 1530572 w 8071103"/>
                <a:gd name="connsiteY27" fmla="*/ 1074230 h 1359693"/>
                <a:gd name="connsiteX28" fmla="*/ 1600105 w 8071103"/>
                <a:gd name="connsiteY28" fmla="*/ 1143667 h 1359693"/>
                <a:gd name="connsiteX29" fmla="*/ 1671447 w 8071103"/>
                <a:gd name="connsiteY29" fmla="*/ 1074230 h 1359693"/>
                <a:gd name="connsiteX30" fmla="*/ 1671447 w 8071103"/>
                <a:gd name="connsiteY30" fmla="*/ 22479 h 1359693"/>
                <a:gd name="connsiteX31" fmla="*/ 1908048 w 8071103"/>
                <a:gd name="connsiteY31" fmla="*/ 22479 h 1359693"/>
                <a:gd name="connsiteX32" fmla="*/ 1908048 w 8071103"/>
                <a:gd name="connsiteY32" fmla="*/ 1074230 h 1359693"/>
                <a:gd name="connsiteX33" fmla="*/ 1600009 w 8071103"/>
                <a:gd name="connsiteY33" fmla="*/ 1359694 h 1359693"/>
                <a:gd name="connsiteX34" fmla="*/ 1293876 w 8071103"/>
                <a:gd name="connsiteY34" fmla="*/ 1074230 h 1359693"/>
                <a:gd name="connsiteX35" fmla="*/ 2060162 w 8071103"/>
                <a:gd name="connsiteY35" fmla="*/ 22574 h 1359693"/>
                <a:gd name="connsiteX36" fmla="*/ 2394490 w 8071103"/>
                <a:gd name="connsiteY36" fmla="*/ 22574 h 1359693"/>
                <a:gd name="connsiteX37" fmla="*/ 2674335 w 8071103"/>
                <a:gd name="connsiteY37" fmla="*/ 279844 h 1359693"/>
                <a:gd name="connsiteX38" fmla="*/ 2674335 w 8071103"/>
                <a:gd name="connsiteY38" fmla="*/ 458248 h 1359693"/>
                <a:gd name="connsiteX39" fmla="*/ 2565369 w 8071103"/>
                <a:gd name="connsiteY39" fmla="*/ 651701 h 1359693"/>
                <a:gd name="connsiteX40" fmla="*/ 2565369 w 8071103"/>
                <a:gd name="connsiteY40" fmla="*/ 662940 h 1359693"/>
                <a:gd name="connsiteX41" fmla="*/ 2685574 w 8071103"/>
                <a:gd name="connsiteY41" fmla="*/ 865727 h 1359693"/>
                <a:gd name="connsiteX42" fmla="*/ 2685574 w 8071103"/>
                <a:gd name="connsiteY42" fmla="*/ 1079849 h 1359693"/>
                <a:gd name="connsiteX43" fmla="*/ 2405729 w 8071103"/>
                <a:gd name="connsiteY43" fmla="*/ 1337120 h 1359693"/>
                <a:gd name="connsiteX44" fmla="*/ 2060162 w 8071103"/>
                <a:gd name="connsiteY44" fmla="*/ 1337120 h 1359693"/>
                <a:gd name="connsiteX45" fmla="*/ 2060162 w 8071103"/>
                <a:gd name="connsiteY45" fmla="*/ 22574 h 1359693"/>
                <a:gd name="connsiteX46" fmla="*/ 2296763 w 8071103"/>
                <a:gd name="connsiteY46" fmla="*/ 238506 h 1359693"/>
                <a:gd name="connsiteX47" fmla="*/ 2296763 w 8071103"/>
                <a:gd name="connsiteY47" fmla="*/ 569024 h 1359693"/>
                <a:gd name="connsiteX48" fmla="*/ 2366296 w 8071103"/>
                <a:gd name="connsiteY48" fmla="*/ 569024 h 1359693"/>
                <a:gd name="connsiteX49" fmla="*/ 2437638 w 8071103"/>
                <a:gd name="connsiteY49" fmla="*/ 497681 h 1359693"/>
                <a:gd name="connsiteX50" fmla="*/ 2437638 w 8071103"/>
                <a:gd name="connsiteY50" fmla="*/ 307943 h 1359693"/>
                <a:gd name="connsiteX51" fmla="*/ 2366296 w 8071103"/>
                <a:gd name="connsiteY51" fmla="*/ 238506 h 1359693"/>
                <a:gd name="connsiteX52" fmla="*/ 2296763 w 8071103"/>
                <a:gd name="connsiteY52" fmla="*/ 238506 h 1359693"/>
                <a:gd name="connsiteX53" fmla="*/ 2296763 w 8071103"/>
                <a:gd name="connsiteY53" fmla="*/ 770001 h 1359693"/>
                <a:gd name="connsiteX54" fmla="*/ 2296763 w 8071103"/>
                <a:gd name="connsiteY54" fmla="*/ 1121188 h 1359693"/>
                <a:gd name="connsiteX55" fmla="*/ 2379440 w 8071103"/>
                <a:gd name="connsiteY55" fmla="*/ 1121188 h 1359693"/>
                <a:gd name="connsiteX56" fmla="*/ 2448973 w 8071103"/>
                <a:gd name="connsiteY56" fmla="*/ 1051655 h 1359693"/>
                <a:gd name="connsiteX57" fmla="*/ 2448973 w 8071103"/>
                <a:gd name="connsiteY57" fmla="*/ 841343 h 1359693"/>
                <a:gd name="connsiteX58" fmla="*/ 2379440 w 8071103"/>
                <a:gd name="connsiteY58" fmla="*/ 770001 h 1359693"/>
                <a:gd name="connsiteX59" fmla="*/ 2296763 w 8071103"/>
                <a:gd name="connsiteY59" fmla="*/ 770001 h 1359693"/>
                <a:gd name="connsiteX60" fmla="*/ 3094482 w 8071103"/>
                <a:gd name="connsiteY60" fmla="*/ 1074230 h 1359693"/>
                <a:gd name="connsiteX61" fmla="*/ 3094482 w 8071103"/>
                <a:gd name="connsiteY61" fmla="*/ 283559 h 1359693"/>
                <a:gd name="connsiteX62" fmla="*/ 3402520 w 8071103"/>
                <a:gd name="connsiteY62" fmla="*/ 0 h 1359693"/>
                <a:gd name="connsiteX63" fmla="*/ 3710559 w 8071103"/>
                <a:gd name="connsiteY63" fmla="*/ 283559 h 1359693"/>
                <a:gd name="connsiteX64" fmla="*/ 3710559 w 8071103"/>
                <a:gd name="connsiteY64" fmla="*/ 557784 h 1359693"/>
                <a:gd name="connsiteX65" fmla="*/ 3473958 w 8071103"/>
                <a:gd name="connsiteY65" fmla="*/ 557784 h 1359693"/>
                <a:gd name="connsiteX66" fmla="*/ 3473958 w 8071103"/>
                <a:gd name="connsiteY66" fmla="*/ 285464 h 1359693"/>
                <a:gd name="connsiteX67" fmla="*/ 3402616 w 8071103"/>
                <a:gd name="connsiteY67" fmla="*/ 215932 h 1359693"/>
                <a:gd name="connsiteX68" fmla="*/ 3331274 w 8071103"/>
                <a:gd name="connsiteY68" fmla="*/ 285464 h 1359693"/>
                <a:gd name="connsiteX69" fmla="*/ 3331274 w 8071103"/>
                <a:gd name="connsiteY69" fmla="*/ 1074230 h 1359693"/>
                <a:gd name="connsiteX70" fmla="*/ 3402616 w 8071103"/>
                <a:gd name="connsiteY70" fmla="*/ 1143667 h 1359693"/>
                <a:gd name="connsiteX71" fmla="*/ 3473958 w 8071103"/>
                <a:gd name="connsiteY71" fmla="*/ 1074230 h 1359693"/>
                <a:gd name="connsiteX72" fmla="*/ 3473958 w 8071103"/>
                <a:gd name="connsiteY72" fmla="*/ 783146 h 1359693"/>
                <a:gd name="connsiteX73" fmla="*/ 3710559 w 8071103"/>
                <a:gd name="connsiteY73" fmla="*/ 783146 h 1359693"/>
                <a:gd name="connsiteX74" fmla="*/ 3710559 w 8071103"/>
                <a:gd name="connsiteY74" fmla="*/ 1074230 h 1359693"/>
                <a:gd name="connsiteX75" fmla="*/ 3402520 w 8071103"/>
                <a:gd name="connsiteY75" fmla="*/ 1359694 h 1359693"/>
                <a:gd name="connsiteX76" fmla="*/ 3094482 w 8071103"/>
                <a:gd name="connsiteY76" fmla="*/ 1074230 h 1359693"/>
                <a:gd name="connsiteX77" fmla="*/ 3849434 w 8071103"/>
                <a:gd name="connsiteY77" fmla="*/ 1074230 h 1359693"/>
                <a:gd name="connsiteX78" fmla="*/ 3849434 w 8071103"/>
                <a:gd name="connsiteY78" fmla="*/ 283559 h 1359693"/>
                <a:gd name="connsiteX79" fmla="*/ 4157472 w 8071103"/>
                <a:gd name="connsiteY79" fmla="*/ 0 h 1359693"/>
                <a:gd name="connsiteX80" fmla="*/ 4465511 w 8071103"/>
                <a:gd name="connsiteY80" fmla="*/ 283559 h 1359693"/>
                <a:gd name="connsiteX81" fmla="*/ 4465511 w 8071103"/>
                <a:gd name="connsiteY81" fmla="*/ 1074230 h 1359693"/>
                <a:gd name="connsiteX82" fmla="*/ 4157472 w 8071103"/>
                <a:gd name="connsiteY82" fmla="*/ 1359694 h 1359693"/>
                <a:gd name="connsiteX83" fmla="*/ 3849434 w 8071103"/>
                <a:gd name="connsiteY83" fmla="*/ 1074230 h 1359693"/>
                <a:gd name="connsiteX84" fmla="*/ 4228814 w 8071103"/>
                <a:gd name="connsiteY84" fmla="*/ 1074230 h 1359693"/>
                <a:gd name="connsiteX85" fmla="*/ 4228814 w 8071103"/>
                <a:gd name="connsiteY85" fmla="*/ 285464 h 1359693"/>
                <a:gd name="connsiteX86" fmla="*/ 4157472 w 8071103"/>
                <a:gd name="connsiteY86" fmla="*/ 215932 h 1359693"/>
                <a:gd name="connsiteX87" fmla="*/ 4086130 w 8071103"/>
                <a:gd name="connsiteY87" fmla="*/ 285464 h 1359693"/>
                <a:gd name="connsiteX88" fmla="*/ 4086130 w 8071103"/>
                <a:gd name="connsiteY88" fmla="*/ 1074230 h 1359693"/>
                <a:gd name="connsiteX89" fmla="*/ 4157472 w 8071103"/>
                <a:gd name="connsiteY89" fmla="*/ 1143667 h 1359693"/>
                <a:gd name="connsiteX90" fmla="*/ 4228814 w 8071103"/>
                <a:gd name="connsiteY90" fmla="*/ 1074230 h 1359693"/>
                <a:gd name="connsiteX91" fmla="*/ 4613720 w 8071103"/>
                <a:gd name="connsiteY91" fmla="*/ 22574 h 1359693"/>
                <a:gd name="connsiteX92" fmla="*/ 4886039 w 8071103"/>
                <a:gd name="connsiteY92" fmla="*/ 22574 h 1359693"/>
                <a:gd name="connsiteX93" fmla="*/ 5021294 w 8071103"/>
                <a:gd name="connsiteY93" fmla="*/ 646081 h 1359693"/>
                <a:gd name="connsiteX94" fmla="*/ 5040059 w 8071103"/>
                <a:gd name="connsiteY94" fmla="*/ 811340 h 1359693"/>
                <a:gd name="connsiteX95" fmla="*/ 5071967 w 8071103"/>
                <a:gd name="connsiteY95" fmla="*/ 811340 h 1359693"/>
                <a:gd name="connsiteX96" fmla="*/ 5051298 w 8071103"/>
                <a:gd name="connsiteY96" fmla="*/ 646081 h 1359693"/>
                <a:gd name="connsiteX97" fmla="*/ 5051298 w 8071103"/>
                <a:gd name="connsiteY97" fmla="*/ 22574 h 1359693"/>
                <a:gd name="connsiteX98" fmla="*/ 5287899 w 8071103"/>
                <a:gd name="connsiteY98" fmla="*/ 22574 h 1359693"/>
                <a:gd name="connsiteX99" fmla="*/ 5287899 w 8071103"/>
                <a:gd name="connsiteY99" fmla="*/ 1337215 h 1359693"/>
                <a:gd name="connsiteX100" fmla="*/ 5017485 w 8071103"/>
                <a:gd name="connsiteY100" fmla="*/ 1337215 h 1359693"/>
                <a:gd name="connsiteX101" fmla="*/ 4882230 w 8071103"/>
                <a:gd name="connsiteY101" fmla="*/ 713708 h 1359693"/>
                <a:gd name="connsiteX102" fmla="*/ 4861560 w 8071103"/>
                <a:gd name="connsiteY102" fmla="*/ 548450 h 1359693"/>
                <a:gd name="connsiteX103" fmla="*/ 4829651 w 8071103"/>
                <a:gd name="connsiteY103" fmla="*/ 548450 h 1359693"/>
                <a:gd name="connsiteX104" fmla="*/ 4850320 w 8071103"/>
                <a:gd name="connsiteY104" fmla="*/ 713708 h 1359693"/>
                <a:gd name="connsiteX105" fmla="*/ 4850320 w 8071103"/>
                <a:gd name="connsiteY105" fmla="*/ 1337215 h 1359693"/>
                <a:gd name="connsiteX106" fmla="*/ 4613720 w 8071103"/>
                <a:gd name="connsiteY106" fmla="*/ 1337215 h 1359693"/>
                <a:gd name="connsiteX107" fmla="*/ 4613720 w 8071103"/>
                <a:gd name="connsiteY107" fmla="*/ 22574 h 1359693"/>
                <a:gd name="connsiteX108" fmla="*/ 5443823 w 8071103"/>
                <a:gd name="connsiteY108" fmla="*/ 22574 h 1359693"/>
                <a:gd name="connsiteX109" fmla="*/ 5716143 w 8071103"/>
                <a:gd name="connsiteY109" fmla="*/ 22574 h 1359693"/>
                <a:gd name="connsiteX110" fmla="*/ 5851398 w 8071103"/>
                <a:gd name="connsiteY110" fmla="*/ 646081 h 1359693"/>
                <a:gd name="connsiteX111" fmla="*/ 5870162 w 8071103"/>
                <a:gd name="connsiteY111" fmla="*/ 811340 h 1359693"/>
                <a:gd name="connsiteX112" fmla="*/ 5902071 w 8071103"/>
                <a:gd name="connsiteY112" fmla="*/ 811340 h 1359693"/>
                <a:gd name="connsiteX113" fmla="*/ 5881402 w 8071103"/>
                <a:gd name="connsiteY113" fmla="*/ 646081 h 1359693"/>
                <a:gd name="connsiteX114" fmla="*/ 5881402 w 8071103"/>
                <a:gd name="connsiteY114" fmla="*/ 22574 h 1359693"/>
                <a:gd name="connsiteX115" fmla="*/ 6118003 w 8071103"/>
                <a:gd name="connsiteY115" fmla="*/ 22574 h 1359693"/>
                <a:gd name="connsiteX116" fmla="*/ 6118003 w 8071103"/>
                <a:gd name="connsiteY116" fmla="*/ 1337215 h 1359693"/>
                <a:gd name="connsiteX117" fmla="*/ 5847588 w 8071103"/>
                <a:gd name="connsiteY117" fmla="*/ 1337215 h 1359693"/>
                <a:gd name="connsiteX118" fmla="*/ 5712333 w 8071103"/>
                <a:gd name="connsiteY118" fmla="*/ 713708 h 1359693"/>
                <a:gd name="connsiteX119" fmla="*/ 5691664 w 8071103"/>
                <a:gd name="connsiteY119" fmla="*/ 548450 h 1359693"/>
                <a:gd name="connsiteX120" fmla="*/ 5659755 w 8071103"/>
                <a:gd name="connsiteY120" fmla="*/ 548450 h 1359693"/>
                <a:gd name="connsiteX121" fmla="*/ 5680424 w 8071103"/>
                <a:gd name="connsiteY121" fmla="*/ 713708 h 1359693"/>
                <a:gd name="connsiteX122" fmla="*/ 5680424 w 8071103"/>
                <a:gd name="connsiteY122" fmla="*/ 1337215 h 1359693"/>
                <a:gd name="connsiteX123" fmla="*/ 5443823 w 8071103"/>
                <a:gd name="connsiteY123" fmla="*/ 1337215 h 1359693"/>
                <a:gd name="connsiteX124" fmla="*/ 5443823 w 8071103"/>
                <a:gd name="connsiteY124" fmla="*/ 22574 h 1359693"/>
                <a:gd name="connsiteX125" fmla="*/ 6273832 w 8071103"/>
                <a:gd name="connsiteY125" fmla="*/ 22574 h 1359693"/>
                <a:gd name="connsiteX126" fmla="*/ 6720840 w 8071103"/>
                <a:gd name="connsiteY126" fmla="*/ 22574 h 1359693"/>
                <a:gd name="connsiteX127" fmla="*/ 6720840 w 8071103"/>
                <a:gd name="connsiteY127" fmla="*/ 238601 h 1359693"/>
                <a:gd name="connsiteX128" fmla="*/ 6510528 w 8071103"/>
                <a:gd name="connsiteY128" fmla="*/ 238601 h 1359693"/>
                <a:gd name="connsiteX129" fmla="*/ 6510528 w 8071103"/>
                <a:gd name="connsiteY129" fmla="*/ 565404 h 1359693"/>
                <a:gd name="connsiteX130" fmla="*/ 6700172 w 8071103"/>
                <a:gd name="connsiteY130" fmla="*/ 565404 h 1359693"/>
                <a:gd name="connsiteX131" fmla="*/ 6700172 w 8071103"/>
                <a:gd name="connsiteY131" fmla="*/ 775716 h 1359693"/>
                <a:gd name="connsiteX132" fmla="*/ 6510528 w 8071103"/>
                <a:gd name="connsiteY132" fmla="*/ 775716 h 1359693"/>
                <a:gd name="connsiteX133" fmla="*/ 6510528 w 8071103"/>
                <a:gd name="connsiteY133" fmla="*/ 1121283 h 1359693"/>
                <a:gd name="connsiteX134" fmla="*/ 6720840 w 8071103"/>
                <a:gd name="connsiteY134" fmla="*/ 1121283 h 1359693"/>
                <a:gd name="connsiteX135" fmla="*/ 6720840 w 8071103"/>
                <a:gd name="connsiteY135" fmla="*/ 1337215 h 1359693"/>
                <a:gd name="connsiteX136" fmla="*/ 6273832 w 8071103"/>
                <a:gd name="connsiteY136" fmla="*/ 1337215 h 1359693"/>
                <a:gd name="connsiteX137" fmla="*/ 6273832 w 8071103"/>
                <a:gd name="connsiteY137" fmla="*/ 22574 h 1359693"/>
                <a:gd name="connsiteX138" fmla="*/ 6846665 w 8071103"/>
                <a:gd name="connsiteY138" fmla="*/ 1074230 h 1359693"/>
                <a:gd name="connsiteX139" fmla="*/ 6846665 w 8071103"/>
                <a:gd name="connsiteY139" fmla="*/ 283559 h 1359693"/>
                <a:gd name="connsiteX140" fmla="*/ 7154704 w 8071103"/>
                <a:gd name="connsiteY140" fmla="*/ 0 h 1359693"/>
                <a:gd name="connsiteX141" fmla="*/ 7462742 w 8071103"/>
                <a:gd name="connsiteY141" fmla="*/ 283559 h 1359693"/>
                <a:gd name="connsiteX142" fmla="*/ 7462742 w 8071103"/>
                <a:gd name="connsiteY142" fmla="*/ 557784 h 1359693"/>
                <a:gd name="connsiteX143" fmla="*/ 7226142 w 8071103"/>
                <a:gd name="connsiteY143" fmla="*/ 557784 h 1359693"/>
                <a:gd name="connsiteX144" fmla="*/ 7226142 w 8071103"/>
                <a:gd name="connsiteY144" fmla="*/ 285464 h 1359693"/>
                <a:gd name="connsiteX145" fmla="*/ 7154800 w 8071103"/>
                <a:gd name="connsiteY145" fmla="*/ 215932 h 1359693"/>
                <a:gd name="connsiteX146" fmla="*/ 7083457 w 8071103"/>
                <a:gd name="connsiteY146" fmla="*/ 285464 h 1359693"/>
                <a:gd name="connsiteX147" fmla="*/ 7083457 w 8071103"/>
                <a:gd name="connsiteY147" fmla="*/ 1074230 h 1359693"/>
                <a:gd name="connsiteX148" fmla="*/ 7154800 w 8071103"/>
                <a:gd name="connsiteY148" fmla="*/ 1143667 h 1359693"/>
                <a:gd name="connsiteX149" fmla="*/ 7226142 w 8071103"/>
                <a:gd name="connsiteY149" fmla="*/ 1074230 h 1359693"/>
                <a:gd name="connsiteX150" fmla="*/ 7226142 w 8071103"/>
                <a:gd name="connsiteY150" fmla="*/ 783146 h 1359693"/>
                <a:gd name="connsiteX151" fmla="*/ 7462742 w 8071103"/>
                <a:gd name="connsiteY151" fmla="*/ 783146 h 1359693"/>
                <a:gd name="connsiteX152" fmla="*/ 7462742 w 8071103"/>
                <a:gd name="connsiteY152" fmla="*/ 1074230 h 1359693"/>
                <a:gd name="connsiteX153" fmla="*/ 7154704 w 8071103"/>
                <a:gd name="connsiteY153" fmla="*/ 1359694 h 1359693"/>
                <a:gd name="connsiteX154" fmla="*/ 6846665 w 8071103"/>
                <a:gd name="connsiteY154" fmla="*/ 1074230 h 1359693"/>
                <a:gd name="connsiteX155" fmla="*/ 7699248 w 8071103"/>
                <a:gd name="connsiteY155" fmla="*/ 238506 h 1359693"/>
                <a:gd name="connsiteX156" fmla="*/ 7563993 w 8071103"/>
                <a:gd name="connsiteY156" fmla="*/ 238506 h 1359693"/>
                <a:gd name="connsiteX157" fmla="*/ 7563993 w 8071103"/>
                <a:gd name="connsiteY157" fmla="*/ 22479 h 1359693"/>
                <a:gd name="connsiteX158" fmla="*/ 8071104 w 8071103"/>
                <a:gd name="connsiteY158" fmla="*/ 22479 h 1359693"/>
                <a:gd name="connsiteX159" fmla="*/ 8071104 w 8071103"/>
                <a:gd name="connsiteY159" fmla="*/ 238506 h 1359693"/>
                <a:gd name="connsiteX160" fmla="*/ 7935850 w 8071103"/>
                <a:gd name="connsiteY160" fmla="*/ 238506 h 1359693"/>
                <a:gd name="connsiteX161" fmla="*/ 7935850 w 8071103"/>
                <a:gd name="connsiteY161" fmla="*/ 1337120 h 1359693"/>
                <a:gd name="connsiteX162" fmla="*/ 7699248 w 8071103"/>
                <a:gd name="connsiteY162" fmla="*/ 1337120 h 1359693"/>
                <a:gd name="connsiteX163" fmla="*/ 7699248 w 8071103"/>
                <a:gd name="connsiteY163" fmla="*/ 238506 h 1359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8071103" h="1359693">
                  <a:moveTo>
                    <a:pt x="0" y="1074230"/>
                  </a:moveTo>
                  <a:lnTo>
                    <a:pt x="0" y="283559"/>
                  </a:lnTo>
                  <a:cubicBezTo>
                    <a:pt x="0" y="114490"/>
                    <a:pt x="123920" y="0"/>
                    <a:pt x="308038" y="0"/>
                  </a:cubicBezTo>
                  <a:cubicBezTo>
                    <a:pt x="492157" y="0"/>
                    <a:pt x="616077" y="114586"/>
                    <a:pt x="616077" y="283559"/>
                  </a:cubicBezTo>
                  <a:lnTo>
                    <a:pt x="616077" y="557784"/>
                  </a:lnTo>
                  <a:lnTo>
                    <a:pt x="379476" y="557784"/>
                  </a:lnTo>
                  <a:lnTo>
                    <a:pt x="379476" y="285464"/>
                  </a:lnTo>
                  <a:cubicBezTo>
                    <a:pt x="379476" y="242316"/>
                    <a:pt x="351282" y="215932"/>
                    <a:pt x="308134" y="215932"/>
                  </a:cubicBezTo>
                  <a:cubicBezTo>
                    <a:pt x="264986" y="215932"/>
                    <a:pt x="236791" y="242221"/>
                    <a:pt x="236791" y="285464"/>
                  </a:cubicBezTo>
                  <a:lnTo>
                    <a:pt x="236791" y="1074230"/>
                  </a:lnTo>
                  <a:cubicBezTo>
                    <a:pt x="236791" y="1117378"/>
                    <a:pt x="264986" y="1143667"/>
                    <a:pt x="308134" y="1143667"/>
                  </a:cubicBezTo>
                  <a:cubicBezTo>
                    <a:pt x="351282" y="1143667"/>
                    <a:pt x="379476" y="1117378"/>
                    <a:pt x="379476" y="1074230"/>
                  </a:cubicBezTo>
                  <a:lnTo>
                    <a:pt x="379476" y="783146"/>
                  </a:lnTo>
                  <a:lnTo>
                    <a:pt x="616077" y="783146"/>
                  </a:lnTo>
                  <a:lnTo>
                    <a:pt x="616077" y="1074230"/>
                  </a:lnTo>
                  <a:cubicBezTo>
                    <a:pt x="616077" y="1245108"/>
                    <a:pt x="492157" y="1359694"/>
                    <a:pt x="308038" y="1359694"/>
                  </a:cubicBezTo>
                  <a:cubicBezTo>
                    <a:pt x="123920" y="1359694"/>
                    <a:pt x="0" y="1245108"/>
                    <a:pt x="0" y="1074230"/>
                  </a:cubicBezTo>
                  <a:close/>
                  <a:moveTo>
                    <a:pt x="762476" y="22574"/>
                  </a:moveTo>
                  <a:lnTo>
                    <a:pt x="999077" y="22574"/>
                  </a:lnTo>
                  <a:lnTo>
                    <a:pt x="999077" y="1121283"/>
                  </a:lnTo>
                  <a:lnTo>
                    <a:pt x="1198150" y="1121283"/>
                  </a:lnTo>
                  <a:lnTo>
                    <a:pt x="1198150" y="1337215"/>
                  </a:lnTo>
                  <a:lnTo>
                    <a:pt x="762476" y="1337215"/>
                  </a:lnTo>
                  <a:lnTo>
                    <a:pt x="762476" y="22574"/>
                  </a:lnTo>
                  <a:close/>
                  <a:moveTo>
                    <a:pt x="1293971" y="1074230"/>
                  </a:moveTo>
                  <a:lnTo>
                    <a:pt x="1293971" y="22479"/>
                  </a:lnTo>
                  <a:lnTo>
                    <a:pt x="1530572" y="22479"/>
                  </a:lnTo>
                  <a:lnTo>
                    <a:pt x="1530572" y="1074230"/>
                  </a:lnTo>
                  <a:cubicBezTo>
                    <a:pt x="1530572" y="1117378"/>
                    <a:pt x="1558766" y="1143667"/>
                    <a:pt x="1600105" y="1143667"/>
                  </a:cubicBezTo>
                  <a:cubicBezTo>
                    <a:pt x="1641443" y="1143667"/>
                    <a:pt x="1671447" y="1117378"/>
                    <a:pt x="1671447" y="1074230"/>
                  </a:cubicBezTo>
                  <a:lnTo>
                    <a:pt x="1671447" y="22479"/>
                  </a:lnTo>
                  <a:lnTo>
                    <a:pt x="1908048" y="22479"/>
                  </a:lnTo>
                  <a:lnTo>
                    <a:pt x="1908048" y="1074230"/>
                  </a:lnTo>
                  <a:cubicBezTo>
                    <a:pt x="1908048" y="1245108"/>
                    <a:pt x="1784128" y="1359694"/>
                    <a:pt x="1600009" y="1359694"/>
                  </a:cubicBezTo>
                  <a:cubicBezTo>
                    <a:pt x="1415891" y="1359694"/>
                    <a:pt x="1293876" y="1245108"/>
                    <a:pt x="1293876" y="1074230"/>
                  </a:cubicBezTo>
                  <a:close/>
                  <a:moveTo>
                    <a:pt x="2060162" y="22574"/>
                  </a:moveTo>
                  <a:lnTo>
                    <a:pt x="2394490" y="22574"/>
                  </a:lnTo>
                  <a:cubicBezTo>
                    <a:pt x="2561654" y="22574"/>
                    <a:pt x="2674335" y="125921"/>
                    <a:pt x="2674335" y="279844"/>
                  </a:cubicBezTo>
                  <a:lnTo>
                    <a:pt x="2674335" y="458248"/>
                  </a:lnTo>
                  <a:cubicBezTo>
                    <a:pt x="2674335" y="537115"/>
                    <a:pt x="2638616" y="617887"/>
                    <a:pt x="2565369" y="651701"/>
                  </a:cubicBezTo>
                  <a:lnTo>
                    <a:pt x="2565369" y="662940"/>
                  </a:lnTo>
                  <a:cubicBezTo>
                    <a:pt x="2644235" y="696754"/>
                    <a:pt x="2685574" y="781240"/>
                    <a:pt x="2685574" y="865727"/>
                  </a:cubicBezTo>
                  <a:lnTo>
                    <a:pt x="2685574" y="1079849"/>
                  </a:lnTo>
                  <a:cubicBezTo>
                    <a:pt x="2685574" y="1233869"/>
                    <a:pt x="2574798" y="1337120"/>
                    <a:pt x="2405729" y="1337120"/>
                  </a:cubicBezTo>
                  <a:lnTo>
                    <a:pt x="2060162" y="1337120"/>
                  </a:lnTo>
                  <a:lnTo>
                    <a:pt x="2060162" y="22574"/>
                  </a:lnTo>
                  <a:close/>
                  <a:moveTo>
                    <a:pt x="2296763" y="238506"/>
                  </a:moveTo>
                  <a:lnTo>
                    <a:pt x="2296763" y="569024"/>
                  </a:lnTo>
                  <a:lnTo>
                    <a:pt x="2366296" y="569024"/>
                  </a:lnTo>
                  <a:cubicBezTo>
                    <a:pt x="2409444" y="569024"/>
                    <a:pt x="2437638" y="540830"/>
                    <a:pt x="2437638" y="497681"/>
                  </a:cubicBezTo>
                  <a:lnTo>
                    <a:pt x="2437638" y="307943"/>
                  </a:lnTo>
                  <a:cubicBezTo>
                    <a:pt x="2437638" y="264795"/>
                    <a:pt x="2409444" y="238506"/>
                    <a:pt x="2366296" y="238506"/>
                  </a:cubicBezTo>
                  <a:lnTo>
                    <a:pt x="2296763" y="238506"/>
                  </a:lnTo>
                  <a:close/>
                  <a:moveTo>
                    <a:pt x="2296763" y="770001"/>
                  </a:moveTo>
                  <a:lnTo>
                    <a:pt x="2296763" y="1121188"/>
                  </a:lnTo>
                  <a:lnTo>
                    <a:pt x="2379440" y="1121188"/>
                  </a:lnTo>
                  <a:cubicBezTo>
                    <a:pt x="2420779" y="1121188"/>
                    <a:pt x="2448973" y="1094899"/>
                    <a:pt x="2448973" y="1051655"/>
                  </a:cubicBezTo>
                  <a:lnTo>
                    <a:pt x="2448973" y="841343"/>
                  </a:lnTo>
                  <a:cubicBezTo>
                    <a:pt x="2448973" y="798195"/>
                    <a:pt x="2420779" y="770001"/>
                    <a:pt x="2379440" y="770001"/>
                  </a:cubicBezTo>
                  <a:lnTo>
                    <a:pt x="2296763" y="770001"/>
                  </a:lnTo>
                  <a:close/>
                  <a:moveTo>
                    <a:pt x="3094482" y="1074230"/>
                  </a:moveTo>
                  <a:lnTo>
                    <a:pt x="3094482" y="283559"/>
                  </a:lnTo>
                  <a:cubicBezTo>
                    <a:pt x="3094482" y="114490"/>
                    <a:pt x="3218403" y="0"/>
                    <a:pt x="3402520" y="0"/>
                  </a:cubicBezTo>
                  <a:cubicBezTo>
                    <a:pt x="3586639" y="0"/>
                    <a:pt x="3710559" y="114586"/>
                    <a:pt x="3710559" y="283559"/>
                  </a:cubicBezTo>
                  <a:lnTo>
                    <a:pt x="3710559" y="557784"/>
                  </a:lnTo>
                  <a:lnTo>
                    <a:pt x="3473958" y="557784"/>
                  </a:lnTo>
                  <a:lnTo>
                    <a:pt x="3473958" y="285464"/>
                  </a:lnTo>
                  <a:cubicBezTo>
                    <a:pt x="3473958" y="242316"/>
                    <a:pt x="3445764" y="215932"/>
                    <a:pt x="3402616" y="215932"/>
                  </a:cubicBezTo>
                  <a:cubicBezTo>
                    <a:pt x="3359468" y="215932"/>
                    <a:pt x="3331274" y="242221"/>
                    <a:pt x="3331274" y="285464"/>
                  </a:cubicBezTo>
                  <a:lnTo>
                    <a:pt x="3331274" y="1074230"/>
                  </a:lnTo>
                  <a:cubicBezTo>
                    <a:pt x="3331274" y="1117378"/>
                    <a:pt x="3359468" y="1143667"/>
                    <a:pt x="3402616" y="1143667"/>
                  </a:cubicBezTo>
                  <a:cubicBezTo>
                    <a:pt x="3445764" y="1143667"/>
                    <a:pt x="3473958" y="1117378"/>
                    <a:pt x="3473958" y="1074230"/>
                  </a:cubicBezTo>
                  <a:lnTo>
                    <a:pt x="3473958" y="783146"/>
                  </a:lnTo>
                  <a:lnTo>
                    <a:pt x="3710559" y="783146"/>
                  </a:lnTo>
                  <a:lnTo>
                    <a:pt x="3710559" y="1074230"/>
                  </a:lnTo>
                  <a:cubicBezTo>
                    <a:pt x="3710559" y="1245108"/>
                    <a:pt x="3586639" y="1359694"/>
                    <a:pt x="3402520" y="1359694"/>
                  </a:cubicBezTo>
                  <a:cubicBezTo>
                    <a:pt x="3218403" y="1359694"/>
                    <a:pt x="3094482" y="1245108"/>
                    <a:pt x="3094482" y="1074230"/>
                  </a:cubicBezTo>
                  <a:close/>
                  <a:moveTo>
                    <a:pt x="3849434" y="1074230"/>
                  </a:moveTo>
                  <a:lnTo>
                    <a:pt x="3849434" y="283559"/>
                  </a:lnTo>
                  <a:cubicBezTo>
                    <a:pt x="3849434" y="114490"/>
                    <a:pt x="3973354" y="0"/>
                    <a:pt x="4157472" y="0"/>
                  </a:cubicBezTo>
                  <a:cubicBezTo>
                    <a:pt x="4341590" y="0"/>
                    <a:pt x="4465511" y="114586"/>
                    <a:pt x="4465511" y="283559"/>
                  </a:cubicBezTo>
                  <a:lnTo>
                    <a:pt x="4465511" y="1074230"/>
                  </a:lnTo>
                  <a:cubicBezTo>
                    <a:pt x="4465511" y="1245108"/>
                    <a:pt x="4341590" y="1359694"/>
                    <a:pt x="4157472" y="1359694"/>
                  </a:cubicBezTo>
                  <a:cubicBezTo>
                    <a:pt x="3973354" y="1359694"/>
                    <a:pt x="3849434" y="1245108"/>
                    <a:pt x="3849434" y="1074230"/>
                  </a:cubicBezTo>
                  <a:close/>
                  <a:moveTo>
                    <a:pt x="4228814" y="1074230"/>
                  </a:moveTo>
                  <a:lnTo>
                    <a:pt x="4228814" y="285464"/>
                  </a:lnTo>
                  <a:cubicBezTo>
                    <a:pt x="4228814" y="242316"/>
                    <a:pt x="4200621" y="215932"/>
                    <a:pt x="4157472" y="215932"/>
                  </a:cubicBezTo>
                  <a:cubicBezTo>
                    <a:pt x="4114324" y="215932"/>
                    <a:pt x="4086130" y="242221"/>
                    <a:pt x="4086130" y="285464"/>
                  </a:cubicBezTo>
                  <a:lnTo>
                    <a:pt x="4086130" y="1074230"/>
                  </a:lnTo>
                  <a:cubicBezTo>
                    <a:pt x="4086130" y="1117378"/>
                    <a:pt x="4114324" y="1143667"/>
                    <a:pt x="4157472" y="1143667"/>
                  </a:cubicBezTo>
                  <a:cubicBezTo>
                    <a:pt x="4200621" y="1143667"/>
                    <a:pt x="4228814" y="1117378"/>
                    <a:pt x="4228814" y="1074230"/>
                  </a:cubicBezTo>
                  <a:close/>
                  <a:moveTo>
                    <a:pt x="4613720" y="22574"/>
                  </a:moveTo>
                  <a:lnTo>
                    <a:pt x="4886039" y="22574"/>
                  </a:lnTo>
                  <a:lnTo>
                    <a:pt x="5021294" y="646081"/>
                  </a:lnTo>
                  <a:lnTo>
                    <a:pt x="5040059" y="811340"/>
                  </a:lnTo>
                  <a:lnTo>
                    <a:pt x="5071967" y="811340"/>
                  </a:lnTo>
                  <a:lnTo>
                    <a:pt x="5051298" y="646081"/>
                  </a:lnTo>
                  <a:lnTo>
                    <a:pt x="5051298" y="22574"/>
                  </a:lnTo>
                  <a:lnTo>
                    <a:pt x="5287899" y="22574"/>
                  </a:lnTo>
                  <a:lnTo>
                    <a:pt x="5287899" y="1337215"/>
                  </a:lnTo>
                  <a:lnTo>
                    <a:pt x="5017485" y="1337215"/>
                  </a:lnTo>
                  <a:lnTo>
                    <a:pt x="4882230" y="713708"/>
                  </a:lnTo>
                  <a:lnTo>
                    <a:pt x="4861560" y="548450"/>
                  </a:lnTo>
                  <a:lnTo>
                    <a:pt x="4829651" y="548450"/>
                  </a:lnTo>
                  <a:lnTo>
                    <a:pt x="4850320" y="713708"/>
                  </a:lnTo>
                  <a:lnTo>
                    <a:pt x="4850320" y="1337215"/>
                  </a:lnTo>
                  <a:lnTo>
                    <a:pt x="4613720" y="1337215"/>
                  </a:lnTo>
                  <a:lnTo>
                    <a:pt x="4613720" y="22574"/>
                  </a:lnTo>
                  <a:close/>
                  <a:moveTo>
                    <a:pt x="5443823" y="22574"/>
                  </a:moveTo>
                  <a:lnTo>
                    <a:pt x="5716143" y="22574"/>
                  </a:lnTo>
                  <a:lnTo>
                    <a:pt x="5851398" y="646081"/>
                  </a:lnTo>
                  <a:lnTo>
                    <a:pt x="5870162" y="811340"/>
                  </a:lnTo>
                  <a:lnTo>
                    <a:pt x="5902071" y="811340"/>
                  </a:lnTo>
                  <a:lnTo>
                    <a:pt x="5881402" y="646081"/>
                  </a:lnTo>
                  <a:lnTo>
                    <a:pt x="5881402" y="22574"/>
                  </a:lnTo>
                  <a:lnTo>
                    <a:pt x="6118003" y="22574"/>
                  </a:lnTo>
                  <a:lnTo>
                    <a:pt x="6118003" y="1337215"/>
                  </a:lnTo>
                  <a:lnTo>
                    <a:pt x="5847588" y="1337215"/>
                  </a:lnTo>
                  <a:lnTo>
                    <a:pt x="5712333" y="713708"/>
                  </a:lnTo>
                  <a:lnTo>
                    <a:pt x="5691664" y="548450"/>
                  </a:lnTo>
                  <a:lnTo>
                    <a:pt x="5659755" y="548450"/>
                  </a:lnTo>
                  <a:lnTo>
                    <a:pt x="5680424" y="713708"/>
                  </a:lnTo>
                  <a:lnTo>
                    <a:pt x="5680424" y="1337215"/>
                  </a:lnTo>
                  <a:lnTo>
                    <a:pt x="5443823" y="1337215"/>
                  </a:lnTo>
                  <a:lnTo>
                    <a:pt x="5443823" y="22574"/>
                  </a:lnTo>
                  <a:close/>
                  <a:moveTo>
                    <a:pt x="6273832" y="22574"/>
                  </a:moveTo>
                  <a:lnTo>
                    <a:pt x="6720840" y="22574"/>
                  </a:lnTo>
                  <a:lnTo>
                    <a:pt x="6720840" y="238601"/>
                  </a:lnTo>
                  <a:lnTo>
                    <a:pt x="6510528" y="238601"/>
                  </a:lnTo>
                  <a:lnTo>
                    <a:pt x="6510528" y="565404"/>
                  </a:lnTo>
                  <a:lnTo>
                    <a:pt x="6700172" y="565404"/>
                  </a:lnTo>
                  <a:lnTo>
                    <a:pt x="6700172" y="775716"/>
                  </a:lnTo>
                  <a:lnTo>
                    <a:pt x="6510528" y="775716"/>
                  </a:lnTo>
                  <a:lnTo>
                    <a:pt x="6510528" y="1121283"/>
                  </a:lnTo>
                  <a:lnTo>
                    <a:pt x="6720840" y="1121283"/>
                  </a:lnTo>
                  <a:lnTo>
                    <a:pt x="6720840" y="1337215"/>
                  </a:lnTo>
                  <a:lnTo>
                    <a:pt x="6273832" y="1337215"/>
                  </a:lnTo>
                  <a:lnTo>
                    <a:pt x="6273832" y="22574"/>
                  </a:lnTo>
                  <a:close/>
                  <a:moveTo>
                    <a:pt x="6846665" y="1074230"/>
                  </a:moveTo>
                  <a:lnTo>
                    <a:pt x="6846665" y="283559"/>
                  </a:lnTo>
                  <a:cubicBezTo>
                    <a:pt x="6846665" y="114490"/>
                    <a:pt x="6970585" y="0"/>
                    <a:pt x="7154704" y="0"/>
                  </a:cubicBezTo>
                  <a:cubicBezTo>
                    <a:pt x="7338822" y="0"/>
                    <a:pt x="7462742" y="114586"/>
                    <a:pt x="7462742" y="283559"/>
                  </a:cubicBezTo>
                  <a:lnTo>
                    <a:pt x="7462742" y="557784"/>
                  </a:lnTo>
                  <a:lnTo>
                    <a:pt x="7226142" y="557784"/>
                  </a:lnTo>
                  <a:lnTo>
                    <a:pt x="7226142" y="285464"/>
                  </a:lnTo>
                  <a:cubicBezTo>
                    <a:pt x="7226142" y="242316"/>
                    <a:pt x="7197947" y="215932"/>
                    <a:pt x="7154800" y="215932"/>
                  </a:cubicBezTo>
                  <a:cubicBezTo>
                    <a:pt x="7111651" y="215932"/>
                    <a:pt x="7083457" y="242221"/>
                    <a:pt x="7083457" y="285464"/>
                  </a:cubicBezTo>
                  <a:lnTo>
                    <a:pt x="7083457" y="1074230"/>
                  </a:lnTo>
                  <a:cubicBezTo>
                    <a:pt x="7083457" y="1117378"/>
                    <a:pt x="7111651" y="1143667"/>
                    <a:pt x="7154800" y="1143667"/>
                  </a:cubicBezTo>
                  <a:cubicBezTo>
                    <a:pt x="7197947" y="1143667"/>
                    <a:pt x="7226142" y="1117378"/>
                    <a:pt x="7226142" y="1074230"/>
                  </a:cubicBezTo>
                  <a:lnTo>
                    <a:pt x="7226142" y="783146"/>
                  </a:lnTo>
                  <a:lnTo>
                    <a:pt x="7462742" y="783146"/>
                  </a:lnTo>
                  <a:lnTo>
                    <a:pt x="7462742" y="1074230"/>
                  </a:lnTo>
                  <a:cubicBezTo>
                    <a:pt x="7462742" y="1245108"/>
                    <a:pt x="7338822" y="1359694"/>
                    <a:pt x="7154704" y="1359694"/>
                  </a:cubicBezTo>
                  <a:cubicBezTo>
                    <a:pt x="6970585" y="1359694"/>
                    <a:pt x="6846665" y="1245108"/>
                    <a:pt x="6846665" y="1074230"/>
                  </a:cubicBezTo>
                  <a:close/>
                  <a:moveTo>
                    <a:pt x="7699248" y="238506"/>
                  </a:moveTo>
                  <a:lnTo>
                    <a:pt x="7563993" y="238506"/>
                  </a:lnTo>
                  <a:lnTo>
                    <a:pt x="7563993" y="22479"/>
                  </a:lnTo>
                  <a:lnTo>
                    <a:pt x="8071104" y="22479"/>
                  </a:lnTo>
                  <a:lnTo>
                    <a:pt x="8071104" y="238506"/>
                  </a:lnTo>
                  <a:lnTo>
                    <a:pt x="7935850" y="238506"/>
                  </a:lnTo>
                  <a:lnTo>
                    <a:pt x="7935850" y="1337120"/>
                  </a:lnTo>
                  <a:lnTo>
                    <a:pt x="7699248" y="1337120"/>
                  </a:lnTo>
                  <a:lnTo>
                    <a:pt x="7699248" y="238506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840096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 descr="A green and yellow background&#10;&#10;Description automatically generated">
            <a:extLst>
              <a:ext uri="{FF2B5EF4-FFF2-40B4-BE49-F238E27FC236}">
                <a16:creationId xmlns:a16="http://schemas.microsoft.com/office/drawing/2014/main" id="{A2AC1D29-968B-0D07-7E96-C1FED206C4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2896"/>
          <a:stretch>
            <a:fillRect/>
          </a:stretch>
        </p:blipFill>
        <p:spPr>
          <a:xfrm>
            <a:off x="6449029" y="0"/>
            <a:ext cx="5742972" cy="6858000"/>
          </a:xfrm>
          <a:custGeom>
            <a:avLst/>
            <a:gdLst>
              <a:gd name="connsiteX0" fmla="*/ 1109688 w 5742972"/>
              <a:gd name="connsiteY0" fmla="*/ 0 h 6858000"/>
              <a:gd name="connsiteX1" fmla="*/ 5742972 w 5742972"/>
              <a:gd name="connsiteY1" fmla="*/ 0 h 6858000"/>
              <a:gd name="connsiteX2" fmla="*/ 5742972 w 5742972"/>
              <a:gd name="connsiteY2" fmla="*/ 6858000 h 6858000"/>
              <a:gd name="connsiteX3" fmla="*/ 1247183 w 5742972"/>
              <a:gd name="connsiteY3" fmla="*/ 6858000 h 6858000"/>
              <a:gd name="connsiteX4" fmla="*/ 1221004 w 5742972"/>
              <a:gd name="connsiteY4" fmla="*/ 6830197 h 6858000"/>
              <a:gd name="connsiteX5" fmla="*/ 530044 w 5742972"/>
              <a:gd name="connsiteY5" fmla="*/ 5870200 h 6858000"/>
              <a:gd name="connsiteX6" fmla="*/ 500293 w 5742972"/>
              <a:gd name="connsiteY6" fmla="*/ 5814701 h 6858000"/>
              <a:gd name="connsiteX7" fmla="*/ 466608 w 5742972"/>
              <a:gd name="connsiteY7" fmla="*/ 5740191 h 6858000"/>
              <a:gd name="connsiteX8" fmla="*/ 0 w 5742972"/>
              <a:gd name="connsiteY8" fmla="*/ 3429000 h 6858000"/>
              <a:gd name="connsiteX9" fmla="*/ 859610 w 5742972"/>
              <a:gd name="connsiteY9" fmla="*/ 350126 h 6858000"/>
              <a:gd name="connsiteX10" fmla="*/ 979482 w 5742972"/>
              <a:gd name="connsiteY10" fmla="*/ 163144 h 6858000"/>
              <a:gd name="connsiteX11" fmla="*/ 1044439 w 5742972"/>
              <a:gd name="connsiteY11" fmla="*/ 7638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742972" h="6858000">
                <a:moveTo>
                  <a:pt x="1109688" y="0"/>
                </a:moveTo>
                <a:lnTo>
                  <a:pt x="5742972" y="0"/>
                </a:lnTo>
                <a:lnTo>
                  <a:pt x="5742972" y="6858000"/>
                </a:lnTo>
                <a:lnTo>
                  <a:pt x="1247183" y="6858000"/>
                </a:lnTo>
                <a:lnTo>
                  <a:pt x="1221004" y="6830197"/>
                </a:lnTo>
                <a:cubicBezTo>
                  <a:pt x="955862" y="6534647"/>
                  <a:pt x="723803" y="6213048"/>
                  <a:pt x="530044" y="5870200"/>
                </a:cubicBezTo>
                <a:lnTo>
                  <a:pt x="500293" y="5814701"/>
                </a:lnTo>
                <a:lnTo>
                  <a:pt x="466608" y="5740191"/>
                </a:lnTo>
                <a:cubicBezTo>
                  <a:pt x="166148" y="5029824"/>
                  <a:pt x="0" y="4248815"/>
                  <a:pt x="0" y="3429000"/>
                </a:cubicBezTo>
                <a:cubicBezTo>
                  <a:pt x="0" y="2301755"/>
                  <a:pt x="314124" y="1247877"/>
                  <a:pt x="859610" y="350126"/>
                </a:cubicBezTo>
                <a:lnTo>
                  <a:pt x="979482" y="163144"/>
                </a:lnTo>
                <a:lnTo>
                  <a:pt x="1044439" y="76382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C2B404-9FBA-1E87-C027-2BB6C644C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1" y="1485906"/>
            <a:ext cx="4756150" cy="732898"/>
          </a:xfrm>
        </p:spPr>
        <p:txBody>
          <a:bodyPr anchor="b"/>
          <a:lstStyle>
            <a:lvl1pPr>
              <a:defRPr sz="5000"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8598D-4FA6-4246-6447-7B759D632FD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2488989"/>
            <a:ext cx="347405" cy="347270"/>
          </a:xfrm>
        </p:spPr>
        <p:txBody>
          <a:bodyPr anchor="t"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A39559B-3C09-1831-2ED1-FCE1997F3CAE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1396742" y="2488989"/>
            <a:ext cx="4191258" cy="347270"/>
          </a:xfrm>
        </p:spPr>
        <p:txBody>
          <a:bodyPr anchor="t"/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agenda item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50934C3-0D65-A064-36B3-AECF69083DC1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1850" y="3002675"/>
            <a:ext cx="347405" cy="347270"/>
          </a:xfrm>
        </p:spPr>
        <p:txBody>
          <a:bodyPr anchor="t"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1ADD40D-AC8B-01B9-6C11-72D885FEDEA3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1396742" y="3002675"/>
            <a:ext cx="4191258" cy="347270"/>
          </a:xfrm>
        </p:spPr>
        <p:txBody>
          <a:bodyPr anchor="t"/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agenda item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60F6868-AEC4-3BF9-56DC-8C393B6132A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31850" y="3516361"/>
            <a:ext cx="347405" cy="347270"/>
          </a:xfrm>
        </p:spPr>
        <p:txBody>
          <a:bodyPr anchor="t"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619103A-0272-FBD6-D2C2-F222A17AFC7F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396742" y="3516361"/>
            <a:ext cx="4191258" cy="347270"/>
          </a:xfrm>
        </p:spPr>
        <p:txBody>
          <a:bodyPr anchor="t"/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agenda item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BEE4157-4384-488A-5337-0100600222D0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831850" y="4030047"/>
            <a:ext cx="347405" cy="347270"/>
          </a:xfrm>
        </p:spPr>
        <p:txBody>
          <a:bodyPr anchor="t"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944B8E0-3AE7-B541-A2A3-ADEC5B40C9C4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1396742" y="4030047"/>
            <a:ext cx="4191258" cy="347270"/>
          </a:xfrm>
        </p:spPr>
        <p:txBody>
          <a:bodyPr anchor="t"/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agenda item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01BDBEC-75E4-CD54-54EF-210A9490E313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831850" y="4543733"/>
            <a:ext cx="347405" cy="347270"/>
          </a:xfrm>
        </p:spPr>
        <p:txBody>
          <a:bodyPr anchor="t"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85C221D-1084-AA41-9641-A4E7592B5042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1396742" y="4543733"/>
            <a:ext cx="4191258" cy="347270"/>
          </a:xfrm>
        </p:spPr>
        <p:txBody>
          <a:bodyPr anchor="t"/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agenda item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08F7594-AA4A-CC91-0A74-82C35217D9BE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831850" y="5057419"/>
            <a:ext cx="347405" cy="347270"/>
          </a:xfrm>
        </p:spPr>
        <p:txBody>
          <a:bodyPr anchor="t"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96D3B06-98D2-FBD9-DC5B-616218481DA7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1396742" y="5057419"/>
            <a:ext cx="4191258" cy="347270"/>
          </a:xfrm>
        </p:spPr>
        <p:txBody>
          <a:bodyPr anchor="t"/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agenda item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54201ED-2322-C4FA-2ABF-CF28D3F4F49A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831850" y="5571105"/>
            <a:ext cx="347405" cy="347270"/>
          </a:xfrm>
        </p:spPr>
        <p:txBody>
          <a:bodyPr anchor="t"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C5178C0-69AB-8B30-D0D0-8727B6B67E80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1396742" y="5571105"/>
            <a:ext cx="4191258" cy="347270"/>
          </a:xfrm>
        </p:spPr>
        <p:txBody>
          <a:bodyPr anchor="t"/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agenda item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E19688C-1A36-B367-4917-BB0E92C746C4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831850" y="6084790"/>
            <a:ext cx="347405" cy="347270"/>
          </a:xfrm>
        </p:spPr>
        <p:txBody>
          <a:bodyPr anchor="t"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2EE6CD7-E348-1530-B101-A9EF3391579F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1396742" y="6084790"/>
            <a:ext cx="4191258" cy="347270"/>
          </a:xfrm>
        </p:spPr>
        <p:txBody>
          <a:bodyPr anchor="t"/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agenda item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858121E-DB7B-7B75-D0DA-E5262795A570}"/>
              </a:ext>
            </a:extLst>
          </p:cNvPr>
          <p:cNvGrpSpPr/>
          <p:nvPr userDrawn="1"/>
        </p:nvGrpSpPr>
        <p:grpSpPr>
          <a:xfrm>
            <a:off x="360363" y="357188"/>
            <a:ext cx="2108053" cy="519112"/>
            <a:chOff x="13749337" y="746575"/>
            <a:chExt cx="11277504" cy="2777109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5933B96C-6EC9-1DCF-70F6-EB52B4525DA7}"/>
                </a:ext>
              </a:extLst>
            </p:cNvPr>
            <p:cNvSpPr/>
            <p:nvPr/>
          </p:nvSpPr>
          <p:spPr>
            <a:xfrm>
              <a:off x="13749337" y="746575"/>
              <a:ext cx="5114450" cy="2777109"/>
            </a:xfrm>
            <a:custGeom>
              <a:avLst/>
              <a:gdLst>
                <a:gd name="connsiteX0" fmla="*/ 5080826 w 5114450"/>
                <a:gd name="connsiteY0" fmla="*/ 664559 h 2777109"/>
                <a:gd name="connsiteX1" fmla="*/ 5114450 w 5114450"/>
                <a:gd name="connsiteY1" fmla="*/ 952786 h 2777109"/>
                <a:gd name="connsiteX2" fmla="*/ 4924234 w 5114450"/>
                <a:gd name="connsiteY2" fmla="*/ 952786 h 2777109"/>
                <a:gd name="connsiteX3" fmla="*/ 4911662 w 5114450"/>
                <a:gd name="connsiteY3" fmla="*/ 812292 h 2777109"/>
                <a:gd name="connsiteX4" fmla="*/ 4562570 w 5114450"/>
                <a:gd name="connsiteY4" fmla="*/ 812292 h 2777109"/>
                <a:gd name="connsiteX5" fmla="*/ 4196906 w 5114450"/>
                <a:gd name="connsiteY5" fmla="*/ 972026 h 2777109"/>
                <a:gd name="connsiteX6" fmla="*/ 4047362 w 5114450"/>
                <a:gd name="connsiteY6" fmla="*/ 952786 h 2777109"/>
                <a:gd name="connsiteX7" fmla="*/ 5080826 w 5114450"/>
                <a:gd name="connsiteY7" fmla="*/ 664559 h 2777109"/>
                <a:gd name="connsiteX8" fmla="*/ 4833462 w 5114450"/>
                <a:gd name="connsiteY8" fmla="*/ 250221 h 2777109"/>
                <a:gd name="connsiteX9" fmla="*/ 5031866 w 5114450"/>
                <a:gd name="connsiteY9" fmla="*/ 250221 h 2777109"/>
                <a:gd name="connsiteX10" fmla="*/ 5076634 w 5114450"/>
                <a:gd name="connsiteY10" fmla="*/ 629697 h 2777109"/>
                <a:gd name="connsiteX11" fmla="*/ 4896516 w 5114450"/>
                <a:gd name="connsiteY11" fmla="*/ 650176 h 2777109"/>
                <a:gd name="connsiteX12" fmla="*/ 4876418 w 5114450"/>
                <a:gd name="connsiteY12" fmla="*/ 423767 h 2777109"/>
                <a:gd name="connsiteX13" fmla="*/ 4658010 w 5114450"/>
                <a:gd name="connsiteY13" fmla="*/ 693610 h 2777109"/>
                <a:gd name="connsiteX14" fmla="*/ 4657914 w 5114450"/>
                <a:gd name="connsiteY14" fmla="*/ 693610 h 2777109"/>
                <a:gd name="connsiteX15" fmla="*/ 4412456 w 5114450"/>
                <a:gd name="connsiteY15" fmla="*/ 758856 h 2777109"/>
                <a:gd name="connsiteX16" fmla="*/ 4833462 w 5114450"/>
                <a:gd name="connsiteY16" fmla="*/ 250221 h 2777109"/>
                <a:gd name="connsiteX17" fmla="*/ 4326922 w 5114450"/>
                <a:gd name="connsiteY17" fmla="*/ 232600 h 2777109"/>
                <a:gd name="connsiteX18" fmla="*/ 4614670 w 5114450"/>
                <a:gd name="connsiteY18" fmla="*/ 329279 h 2777109"/>
                <a:gd name="connsiteX19" fmla="*/ 4508658 w 5114450"/>
                <a:gd name="connsiteY19" fmla="*/ 460438 h 2777109"/>
                <a:gd name="connsiteX20" fmla="*/ 4508658 w 5114450"/>
                <a:gd name="connsiteY20" fmla="*/ 460533 h 2777109"/>
                <a:gd name="connsiteX21" fmla="*/ 4299298 w 5114450"/>
                <a:gd name="connsiteY21" fmla="*/ 376999 h 2777109"/>
                <a:gd name="connsiteX22" fmla="*/ 4010024 w 5114450"/>
                <a:gd name="connsiteY22" fmla="*/ 619887 h 2777109"/>
                <a:gd name="connsiteX23" fmla="*/ 4113466 w 5114450"/>
                <a:gd name="connsiteY23" fmla="*/ 811911 h 2777109"/>
                <a:gd name="connsiteX24" fmla="*/ 4215670 w 5114450"/>
                <a:gd name="connsiteY24" fmla="*/ 826484 h 2777109"/>
                <a:gd name="connsiteX25" fmla="*/ 3928300 w 5114450"/>
                <a:gd name="connsiteY25" fmla="*/ 952881 h 2777109"/>
                <a:gd name="connsiteX26" fmla="*/ 3206400 w 5114450"/>
                <a:gd name="connsiteY26" fmla="*/ 952881 h 2777109"/>
                <a:gd name="connsiteX27" fmla="*/ 3454336 w 5114450"/>
                <a:gd name="connsiteY27" fmla="*/ 250317 h 2777109"/>
                <a:gd name="connsiteX28" fmla="*/ 3987164 w 5114450"/>
                <a:gd name="connsiteY28" fmla="*/ 250317 h 2777109"/>
                <a:gd name="connsiteX29" fmla="*/ 3871626 w 5114450"/>
                <a:gd name="connsiteY29" fmla="*/ 390810 h 2777109"/>
                <a:gd name="connsiteX30" fmla="*/ 3587590 w 5114450"/>
                <a:gd name="connsiteY30" fmla="*/ 390810 h 2777109"/>
                <a:gd name="connsiteX31" fmla="*/ 3544156 w 5114450"/>
                <a:gd name="connsiteY31" fmla="*/ 513683 h 2777109"/>
                <a:gd name="connsiteX32" fmla="*/ 3770470 w 5114450"/>
                <a:gd name="connsiteY32" fmla="*/ 513683 h 2777109"/>
                <a:gd name="connsiteX33" fmla="*/ 3655122 w 5114450"/>
                <a:gd name="connsiteY33" fmla="*/ 653796 h 2777109"/>
                <a:gd name="connsiteX34" fmla="*/ 3494722 w 5114450"/>
                <a:gd name="connsiteY34" fmla="*/ 653796 h 2777109"/>
                <a:gd name="connsiteX35" fmla="*/ 3438810 w 5114450"/>
                <a:gd name="connsiteY35" fmla="*/ 812101 h 2777109"/>
                <a:gd name="connsiteX36" fmla="*/ 3873530 w 5114450"/>
                <a:gd name="connsiteY36" fmla="*/ 812101 h 2777109"/>
                <a:gd name="connsiteX37" fmla="*/ 3829430 w 5114450"/>
                <a:gd name="connsiteY37" fmla="*/ 629793 h 2777109"/>
                <a:gd name="connsiteX38" fmla="*/ 4326922 w 5114450"/>
                <a:gd name="connsiteY38" fmla="*/ 232600 h 2777109"/>
                <a:gd name="connsiteX39" fmla="*/ 1567529 w 5114450"/>
                <a:gd name="connsiteY39" fmla="*/ 0 h 2777109"/>
                <a:gd name="connsiteX40" fmla="*/ 2797397 w 5114450"/>
                <a:gd name="connsiteY40" fmla="*/ 1388555 h 2777109"/>
                <a:gd name="connsiteX41" fmla="*/ 1567529 w 5114450"/>
                <a:gd name="connsiteY41" fmla="*/ 2777109 h 2777109"/>
                <a:gd name="connsiteX42" fmla="*/ 1567529 w 5114450"/>
                <a:gd name="connsiteY42" fmla="*/ 2003965 h 2777109"/>
                <a:gd name="connsiteX43" fmla="*/ 2036921 w 5114450"/>
                <a:gd name="connsiteY43" fmla="*/ 1388555 h 2777109"/>
                <a:gd name="connsiteX44" fmla="*/ 1567529 w 5114450"/>
                <a:gd name="connsiteY44" fmla="*/ 773144 h 2777109"/>
                <a:gd name="connsiteX45" fmla="*/ 1229868 w 5114450"/>
                <a:gd name="connsiteY45" fmla="*/ 0 h 2777109"/>
                <a:gd name="connsiteX46" fmla="*/ 1229868 w 5114450"/>
                <a:gd name="connsiteY46" fmla="*/ 773144 h 2777109"/>
                <a:gd name="connsiteX47" fmla="*/ 760476 w 5114450"/>
                <a:gd name="connsiteY47" fmla="*/ 1388555 h 2777109"/>
                <a:gd name="connsiteX48" fmla="*/ 1229868 w 5114450"/>
                <a:gd name="connsiteY48" fmla="*/ 2003965 h 2777109"/>
                <a:gd name="connsiteX49" fmla="*/ 1229868 w 5114450"/>
                <a:gd name="connsiteY49" fmla="*/ 2777109 h 2777109"/>
                <a:gd name="connsiteX50" fmla="*/ 0 w 5114450"/>
                <a:gd name="connsiteY50" fmla="*/ 1388555 h 2777109"/>
                <a:gd name="connsiteX51" fmla="*/ 1229868 w 5114450"/>
                <a:gd name="connsiteY51" fmla="*/ 0 h 2777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114450" h="2777109">
                  <a:moveTo>
                    <a:pt x="5080826" y="664559"/>
                  </a:moveTo>
                  <a:lnTo>
                    <a:pt x="5114450" y="952786"/>
                  </a:lnTo>
                  <a:lnTo>
                    <a:pt x="4924234" y="952786"/>
                  </a:lnTo>
                  <a:cubicBezTo>
                    <a:pt x="4924234" y="952786"/>
                    <a:pt x="4911662" y="812292"/>
                    <a:pt x="4911662" y="812292"/>
                  </a:cubicBezTo>
                  <a:lnTo>
                    <a:pt x="4562570" y="812292"/>
                  </a:lnTo>
                  <a:cubicBezTo>
                    <a:pt x="4448746" y="938022"/>
                    <a:pt x="4354162" y="972026"/>
                    <a:pt x="4196906" y="972026"/>
                  </a:cubicBezTo>
                  <a:cubicBezTo>
                    <a:pt x="4140136" y="972026"/>
                    <a:pt x="4086892" y="965549"/>
                    <a:pt x="4047362" y="952786"/>
                  </a:cubicBezTo>
                  <a:cubicBezTo>
                    <a:pt x="4047362" y="952786"/>
                    <a:pt x="4500562" y="719233"/>
                    <a:pt x="5080826" y="664559"/>
                  </a:cubicBezTo>
                  <a:close/>
                  <a:moveTo>
                    <a:pt x="4833462" y="250221"/>
                  </a:moveTo>
                  <a:lnTo>
                    <a:pt x="5031866" y="250221"/>
                  </a:lnTo>
                  <a:lnTo>
                    <a:pt x="5076634" y="629697"/>
                  </a:lnTo>
                  <a:cubicBezTo>
                    <a:pt x="5016626" y="636079"/>
                    <a:pt x="4955094" y="641127"/>
                    <a:pt x="4896516" y="650176"/>
                  </a:cubicBezTo>
                  <a:lnTo>
                    <a:pt x="4876418" y="423767"/>
                  </a:lnTo>
                  <a:lnTo>
                    <a:pt x="4658010" y="693610"/>
                  </a:lnTo>
                  <a:lnTo>
                    <a:pt x="4657914" y="693610"/>
                  </a:lnTo>
                  <a:cubicBezTo>
                    <a:pt x="4574094" y="712470"/>
                    <a:pt x="4492274" y="734282"/>
                    <a:pt x="4412456" y="758856"/>
                  </a:cubicBezTo>
                  <a:cubicBezTo>
                    <a:pt x="4412456" y="758856"/>
                    <a:pt x="4833462" y="250221"/>
                    <a:pt x="4833462" y="250221"/>
                  </a:cubicBezTo>
                  <a:close/>
                  <a:moveTo>
                    <a:pt x="4326922" y="232600"/>
                  </a:moveTo>
                  <a:cubicBezTo>
                    <a:pt x="4449222" y="232600"/>
                    <a:pt x="4548090" y="269271"/>
                    <a:pt x="4614670" y="329279"/>
                  </a:cubicBezTo>
                  <a:lnTo>
                    <a:pt x="4508658" y="460438"/>
                  </a:lnTo>
                  <a:lnTo>
                    <a:pt x="4508658" y="460533"/>
                  </a:lnTo>
                  <a:cubicBezTo>
                    <a:pt x="4467130" y="414051"/>
                    <a:pt x="4383498" y="376999"/>
                    <a:pt x="4299298" y="376999"/>
                  </a:cubicBezTo>
                  <a:cubicBezTo>
                    <a:pt x="4128706" y="376999"/>
                    <a:pt x="4021930" y="498538"/>
                    <a:pt x="4010024" y="619887"/>
                  </a:cubicBezTo>
                  <a:cubicBezTo>
                    <a:pt x="3999928" y="723042"/>
                    <a:pt x="4035838" y="785241"/>
                    <a:pt x="4113466" y="811911"/>
                  </a:cubicBezTo>
                  <a:cubicBezTo>
                    <a:pt x="4156518" y="822769"/>
                    <a:pt x="4180902" y="825246"/>
                    <a:pt x="4215670" y="826484"/>
                  </a:cubicBezTo>
                  <a:cubicBezTo>
                    <a:pt x="4030408" y="898017"/>
                    <a:pt x="3928300" y="952881"/>
                    <a:pt x="3928300" y="952881"/>
                  </a:cubicBezTo>
                  <a:lnTo>
                    <a:pt x="3206400" y="952881"/>
                  </a:lnTo>
                  <a:cubicBezTo>
                    <a:pt x="3206400" y="952881"/>
                    <a:pt x="3454336" y="250317"/>
                    <a:pt x="3454336" y="250317"/>
                  </a:cubicBezTo>
                  <a:lnTo>
                    <a:pt x="3987164" y="250317"/>
                  </a:lnTo>
                  <a:cubicBezTo>
                    <a:pt x="3987164" y="250317"/>
                    <a:pt x="3871626" y="390810"/>
                    <a:pt x="3871626" y="390810"/>
                  </a:cubicBezTo>
                  <a:lnTo>
                    <a:pt x="3587590" y="390810"/>
                  </a:lnTo>
                  <a:cubicBezTo>
                    <a:pt x="3587590" y="390810"/>
                    <a:pt x="3544156" y="513683"/>
                    <a:pt x="3544156" y="513683"/>
                  </a:cubicBezTo>
                  <a:lnTo>
                    <a:pt x="3770470" y="513683"/>
                  </a:lnTo>
                  <a:cubicBezTo>
                    <a:pt x="3770470" y="513683"/>
                    <a:pt x="3655122" y="653796"/>
                    <a:pt x="3655122" y="653796"/>
                  </a:cubicBezTo>
                  <a:lnTo>
                    <a:pt x="3494722" y="653796"/>
                  </a:lnTo>
                  <a:cubicBezTo>
                    <a:pt x="3494722" y="653796"/>
                    <a:pt x="3438810" y="812101"/>
                    <a:pt x="3438810" y="812101"/>
                  </a:cubicBezTo>
                  <a:lnTo>
                    <a:pt x="3873530" y="812101"/>
                  </a:lnTo>
                  <a:cubicBezTo>
                    <a:pt x="3837336" y="752284"/>
                    <a:pt x="3826192" y="691610"/>
                    <a:pt x="3829430" y="629793"/>
                  </a:cubicBezTo>
                  <a:cubicBezTo>
                    <a:pt x="3840290" y="425481"/>
                    <a:pt x="4007454" y="232600"/>
                    <a:pt x="4326922" y="232600"/>
                  </a:cubicBezTo>
                  <a:close/>
                  <a:moveTo>
                    <a:pt x="1567529" y="0"/>
                  </a:moveTo>
                  <a:cubicBezTo>
                    <a:pt x="2260473" y="83344"/>
                    <a:pt x="2797397" y="673227"/>
                    <a:pt x="2797397" y="1388555"/>
                  </a:cubicBezTo>
                  <a:cubicBezTo>
                    <a:pt x="2797397" y="2103882"/>
                    <a:pt x="2260378" y="2693765"/>
                    <a:pt x="1567529" y="2777109"/>
                  </a:cubicBezTo>
                  <a:lnTo>
                    <a:pt x="1567529" y="2003965"/>
                  </a:lnTo>
                  <a:cubicBezTo>
                    <a:pt x="1837754" y="1929765"/>
                    <a:pt x="2036921" y="1682020"/>
                    <a:pt x="2036921" y="1388555"/>
                  </a:cubicBezTo>
                  <a:cubicBezTo>
                    <a:pt x="2036921" y="1095089"/>
                    <a:pt x="1837754" y="847344"/>
                    <a:pt x="1567529" y="773144"/>
                  </a:cubicBezTo>
                  <a:close/>
                  <a:moveTo>
                    <a:pt x="1229868" y="0"/>
                  </a:moveTo>
                  <a:lnTo>
                    <a:pt x="1229868" y="773144"/>
                  </a:lnTo>
                  <a:cubicBezTo>
                    <a:pt x="959644" y="847344"/>
                    <a:pt x="760476" y="1095089"/>
                    <a:pt x="760476" y="1388555"/>
                  </a:cubicBezTo>
                  <a:cubicBezTo>
                    <a:pt x="760476" y="1682020"/>
                    <a:pt x="959644" y="1929765"/>
                    <a:pt x="1229868" y="2003965"/>
                  </a:cubicBezTo>
                  <a:lnTo>
                    <a:pt x="1229868" y="2777109"/>
                  </a:lnTo>
                  <a:cubicBezTo>
                    <a:pt x="537020" y="2693765"/>
                    <a:pt x="0" y="2103882"/>
                    <a:pt x="0" y="1388555"/>
                  </a:cubicBezTo>
                  <a:cubicBezTo>
                    <a:pt x="0" y="673227"/>
                    <a:pt x="537020" y="83344"/>
                    <a:pt x="1229868" y="0"/>
                  </a:cubicBezTo>
                  <a:close/>
                </a:path>
              </a:pathLst>
            </a:custGeom>
            <a:solidFill>
              <a:srgbClr val="96F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BAE6F67-4D36-D611-6583-319096C7CD01}"/>
                </a:ext>
              </a:extLst>
            </p:cNvPr>
            <p:cNvSpPr/>
            <p:nvPr/>
          </p:nvSpPr>
          <p:spPr>
            <a:xfrm>
              <a:off x="16955738" y="1931294"/>
              <a:ext cx="8071103" cy="1359693"/>
            </a:xfrm>
            <a:custGeom>
              <a:avLst/>
              <a:gdLst>
                <a:gd name="connsiteX0" fmla="*/ 0 w 8071103"/>
                <a:gd name="connsiteY0" fmla="*/ 1074230 h 1359693"/>
                <a:gd name="connsiteX1" fmla="*/ 0 w 8071103"/>
                <a:gd name="connsiteY1" fmla="*/ 283559 h 1359693"/>
                <a:gd name="connsiteX2" fmla="*/ 308038 w 8071103"/>
                <a:gd name="connsiteY2" fmla="*/ 0 h 1359693"/>
                <a:gd name="connsiteX3" fmla="*/ 616077 w 8071103"/>
                <a:gd name="connsiteY3" fmla="*/ 283559 h 1359693"/>
                <a:gd name="connsiteX4" fmla="*/ 616077 w 8071103"/>
                <a:gd name="connsiteY4" fmla="*/ 557784 h 1359693"/>
                <a:gd name="connsiteX5" fmla="*/ 379476 w 8071103"/>
                <a:gd name="connsiteY5" fmla="*/ 557784 h 1359693"/>
                <a:gd name="connsiteX6" fmla="*/ 379476 w 8071103"/>
                <a:gd name="connsiteY6" fmla="*/ 285464 h 1359693"/>
                <a:gd name="connsiteX7" fmla="*/ 308134 w 8071103"/>
                <a:gd name="connsiteY7" fmla="*/ 215932 h 1359693"/>
                <a:gd name="connsiteX8" fmla="*/ 236791 w 8071103"/>
                <a:gd name="connsiteY8" fmla="*/ 285464 h 1359693"/>
                <a:gd name="connsiteX9" fmla="*/ 236791 w 8071103"/>
                <a:gd name="connsiteY9" fmla="*/ 1074230 h 1359693"/>
                <a:gd name="connsiteX10" fmla="*/ 308134 w 8071103"/>
                <a:gd name="connsiteY10" fmla="*/ 1143667 h 1359693"/>
                <a:gd name="connsiteX11" fmla="*/ 379476 w 8071103"/>
                <a:gd name="connsiteY11" fmla="*/ 1074230 h 1359693"/>
                <a:gd name="connsiteX12" fmla="*/ 379476 w 8071103"/>
                <a:gd name="connsiteY12" fmla="*/ 783146 h 1359693"/>
                <a:gd name="connsiteX13" fmla="*/ 616077 w 8071103"/>
                <a:gd name="connsiteY13" fmla="*/ 783146 h 1359693"/>
                <a:gd name="connsiteX14" fmla="*/ 616077 w 8071103"/>
                <a:gd name="connsiteY14" fmla="*/ 1074230 h 1359693"/>
                <a:gd name="connsiteX15" fmla="*/ 308038 w 8071103"/>
                <a:gd name="connsiteY15" fmla="*/ 1359694 h 1359693"/>
                <a:gd name="connsiteX16" fmla="*/ 0 w 8071103"/>
                <a:gd name="connsiteY16" fmla="*/ 1074230 h 1359693"/>
                <a:gd name="connsiteX17" fmla="*/ 762476 w 8071103"/>
                <a:gd name="connsiteY17" fmla="*/ 22574 h 1359693"/>
                <a:gd name="connsiteX18" fmla="*/ 999077 w 8071103"/>
                <a:gd name="connsiteY18" fmla="*/ 22574 h 1359693"/>
                <a:gd name="connsiteX19" fmla="*/ 999077 w 8071103"/>
                <a:gd name="connsiteY19" fmla="*/ 1121283 h 1359693"/>
                <a:gd name="connsiteX20" fmla="*/ 1198150 w 8071103"/>
                <a:gd name="connsiteY20" fmla="*/ 1121283 h 1359693"/>
                <a:gd name="connsiteX21" fmla="*/ 1198150 w 8071103"/>
                <a:gd name="connsiteY21" fmla="*/ 1337215 h 1359693"/>
                <a:gd name="connsiteX22" fmla="*/ 762476 w 8071103"/>
                <a:gd name="connsiteY22" fmla="*/ 1337215 h 1359693"/>
                <a:gd name="connsiteX23" fmla="*/ 762476 w 8071103"/>
                <a:gd name="connsiteY23" fmla="*/ 22574 h 1359693"/>
                <a:gd name="connsiteX24" fmla="*/ 1293971 w 8071103"/>
                <a:gd name="connsiteY24" fmla="*/ 1074230 h 1359693"/>
                <a:gd name="connsiteX25" fmla="*/ 1293971 w 8071103"/>
                <a:gd name="connsiteY25" fmla="*/ 22479 h 1359693"/>
                <a:gd name="connsiteX26" fmla="*/ 1530572 w 8071103"/>
                <a:gd name="connsiteY26" fmla="*/ 22479 h 1359693"/>
                <a:gd name="connsiteX27" fmla="*/ 1530572 w 8071103"/>
                <a:gd name="connsiteY27" fmla="*/ 1074230 h 1359693"/>
                <a:gd name="connsiteX28" fmla="*/ 1600105 w 8071103"/>
                <a:gd name="connsiteY28" fmla="*/ 1143667 h 1359693"/>
                <a:gd name="connsiteX29" fmla="*/ 1671447 w 8071103"/>
                <a:gd name="connsiteY29" fmla="*/ 1074230 h 1359693"/>
                <a:gd name="connsiteX30" fmla="*/ 1671447 w 8071103"/>
                <a:gd name="connsiteY30" fmla="*/ 22479 h 1359693"/>
                <a:gd name="connsiteX31" fmla="*/ 1908048 w 8071103"/>
                <a:gd name="connsiteY31" fmla="*/ 22479 h 1359693"/>
                <a:gd name="connsiteX32" fmla="*/ 1908048 w 8071103"/>
                <a:gd name="connsiteY32" fmla="*/ 1074230 h 1359693"/>
                <a:gd name="connsiteX33" fmla="*/ 1600009 w 8071103"/>
                <a:gd name="connsiteY33" fmla="*/ 1359694 h 1359693"/>
                <a:gd name="connsiteX34" fmla="*/ 1293876 w 8071103"/>
                <a:gd name="connsiteY34" fmla="*/ 1074230 h 1359693"/>
                <a:gd name="connsiteX35" fmla="*/ 2060162 w 8071103"/>
                <a:gd name="connsiteY35" fmla="*/ 22574 h 1359693"/>
                <a:gd name="connsiteX36" fmla="*/ 2394490 w 8071103"/>
                <a:gd name="connsiteY36" fmla="*/ 22574 h 1359693"/>
                <a:gd name="connsiteX37" fmla="*/ 2674335 w 8071103"/>
                <a:gd name="connsiteY37" fmla="*/ 279844 h 1359693"/>
                <a:gd name="connsiteX38" fmla="*/ 2674335 w 8071103"/>
                <a:gd name="connsiteY38" fmla="*/ 458248 h 1359693"/>
                <a:gd name="connsiteX39" fmla="*/ 2565369 w 8071103"/>
                <a:gd name="connsiteY39" fmla="*/ 651701 h 1359693"/>
                <a:gd name="connsiteX40" fmla="*/ 2565369 w 8071103"/>
                <a:gd name="connsiteY40" fmla="*/ 662940 h 1359693"/>
                <a:gd name="connsiteX41" fmla="*/ 2685574 w 8071103"/>
                <a:gd name="connsiteY41" fmla="*/ 865727 h 1359693"/>
                <a:gd name="connsiteX42" fmla="*/ 2685574 w 8071103"/>
                <a:gd name="connsiteY42" fmla="*/ 1079849 h 1359693"/>
                <a:gd name="connsiteX43" fmla="*/ 2405729 w 8071103"/>
                <a:gd name="connsiteY43" fmla="*/ 1337120 h 1359693"/>
                <a:gd name="connsiteX44" fmla="*/ 2060162 w 8071103"/>
                <a:gd name="connsiteY44" fmla="*/ 1337120 h 1359693"/>
                <a:gd name="connsiteX45" fmla="*/ 2060162 w 8071103"/>
                <a:gd name="connsiteY45" fmla="*/ 22574 h 1359693"/>
                <a:gd name="connsiteX46" fmla="*/ 2296763 w 8071103"/>
                <a:gd name="connsiteY46" fmla="*/ 238506 h 1359693"/>
                <a:gd name="connsiteX47" fmla="*/ 2296763 w 8071103"/>
                <a:gd name="connsiteY47" fmla="*/ 569024 h 1359693"/>
                <a:gd name="connsiteX48" fmla="*/ 2366296 w 8071103"/>
                <a:gd name="connsiteY48" fmla="*/ 569024 h 1359693"/>
                <a:gd name="connsiteX49" fmla="*/ 2437638 w 8071103"/>
                <a:gd name="connsiteY49" fmla="*/ 497681 h 1359693"/>
                <a:gd name="connsiteX50" fmla="*/ 2437638 w 8071103"/>
                <a:gd name="connsiteY50" fmla="*/ 307943 h 1359693"/>
                <a:gd name="connsiteX51" fmla="*/ 2366296 w 8071103"/>
                <a:gd name="connsiteY51" fmla="*/ 238506 h 1359693"/>
                <a:gd name="connsiteX52" fmla="*/ 2296763 w 8071103"/>
                <a:gd name="connsiteY52" fmla="*/ 238506 h 1359693"/>
                <a:gd name="connsiteX53" fmla="*/ 2296763 w 8071103"/>
                <a:gd name="connsiteY53" fmla="*/ 770001 h 1359693"/>
                <a:gd name="connsiteX54" fmla="*/ 2296763 w 8071103"/>
                <a:gd name="connsiteY54" fmla="*/ 1121188 h 1359693"/>
                <a:gd name="connsiteX55" fmla="*/ 2379440 w 8071103"/>
                <a:gd name="connsiteY55" fmla="*/ 1121188 h 1359693"/>
                <a:gd name="connsiteX56" fmla="*/ 2448973 w 8071103"/>
                <a:gd name="connsiteY56" fmla="*/ 1051655 h 1359693"/>
                <a:gd name="connsiteX57" fmla="*/ 2448973 w 8071103"/>
                <a:gd name="connsiteY57" fmla="*/ 841343 h 1359693"/>
                <a:gd name="connsiteX58" fmla="*/ 2379440 w 8071103"/>
                <a:gd name="connsiteY58" fmla="*/ 770001 h 1359693"/>
                <a:gd name="connsiteX59" fmla="*/ 2296763 w 8071103"/>
                <a:gd name="connsiteY59" fmla="*/ 770001 h 1359693"/>
                <a:gd name="connsiteX60" fmla="*/ 3094482 w 8071103"/>
                <a:gd name="connsiteY60" fmla="*/ 1074230 h 1359693"/>
                <a:gd name="connsiteX61" fmla="*/ 3094482 w 8071103"/>
                <a:gd name="connsiteY61" fmla="*/ 283559 h 1359693"/>
                <a:gd name="connsiteX62" fmla="*/ 3402520 w 8071103"/>
                <a:gd name="connsiteY62" fmla="*/ 0 h 1359693"/>
                <a:gd name="connsiteX63" fmla="*/ 3710559 w 8071103"/>
                <a:gd name="connsiteY63" fmla="*/ 283559 h 1359693"/>
                <a:gd name="connsiteX64" fmla="*/ 3710559 w 8071103"/>
                <a:gd name="connsiteY64" fmla="*/ 557784 h 1359693"/>
                <a:gd name="connsiteX65" fmla="*/ 3473958 w 8071103"/>
                <a:gd name="connsiteY65" fmla="*/ 557784 h 1359693"/>
                <a:gd name="connsiteX66" fmla="*/ 3473958 w 8071103"/>
                <a:gd name="connsiteY66" fmla="*/ 285464 h 1359693"/>
                <a:gd name="connsiteX67" fmla="*/ 3402616 w 8071103"/>
                <a:gd name="connsiteY67" fmla="*/ 215932 h 1359693"/>
                <a:gd name="connsiteX68" fmla="*/ 3331274 w 8071103"/>
                <a:gd name="connsiteY68" fmla="*/ 285464 h 1359693"/>
                <a:gd name="connsiteX69" fmla="*/ 3331274 w 8071103"/>
                <a:gd name="connsiteY69" fmla="*/ 1074230 h 1359693"/>
                <a:gd name="connsiteX70" fmla="*/ 3402616 w 8071103"/>
                <a:gd name="connsiteY70" fmla="*/ 1143667 h 1359693"/>
                <a:gd name="connsiteX71" fmla="*/ 3473958 w 8071103"/>
                <a:gd name="connsiteY71" fmla="*/ 1074230 h 1359693"/>
                <a:gd name="connsiteX72" fmla="*/ 3473958 w 8071103"/>
                <a:gd name="connsiteY72" fmla="*/ 783146 h 1359693"/>
                <a:gd name="connsiteX73" fmla="*/ 3710559 w 8071103"/>
                <a:gd name="connsiteY73" fmla="*/ 783146 h 1359693"/>
                <a:gd name="connsiteX74" fmla="*/ 3710559 w 8071103"/>
                <a:gd name="connsiteY74" fmla="*/ 1074230 h 1359693"/>
                <a:gd name="connsiteX75" fmla="*/ 3402520 w 8071103"/>
                <a:gd name="connsiteY75" fmla="*/ 1359694 h 1359693"/>
                <a:gd name="connsiteX76" fmla="*/ 3094482 w 8071103"/>
                <a:gd name="connsiteY76" fmla="*/ 1074230 h 1359693"/>
                <a:gd name="connsiteX77" fmla="*/ 3849434 w 8071103"/>
                <a:gd name="connsiteY77" fmla="*/ 1074230 h 1359693"/>
                <a:gd name="connsiteX78" fmla="*/ 3849434 w 8071103"/>
                <a:gd name="connsiteY78" fmla="*/ 283559 h 1359693"/>
                <a:gd name="connsiteX79" fmla="*/ 4157472 w 8071103"/>
                <a:gd name="connsiteY79" fmla="*/ 0 h 1359693"/>
                <a:gd name="connsiteX80" fmla="*/ 4465511 w 8071103"/>
                <a:gd name="connsiteY80" fmla="*/ 283559 h 1359693"/>
                <a:gd name="connsiteX81" fmla="*/ 4465511 w 8071103"/>
                <a:gd name="connsiteY81" fmla="*/ 1074230 h 1359693"/>
                <a:gd name="connsiteX82" fmla="*/ 4157472 w 8071103"/>
                <a:gd name="connsiteY82" fmla="*/ 1359694 h 1359693"/>
                <a:gd name="connsiteX83" fmla="*/ 3849434 w 8071103"/>
                <a:gd name="connsiteY83" fmla="*/ 1074230 h 1359693"/>
                <a:gd name="connsiteX84" fmla="*/ 4228814 w 8071103"/>
                <a:gd name="connsiteY84" fmla="*/ 1074230 h 1359693"/>
                <a:gd name="connsiteX85" fmla="*/ 4228814 w 8071103"/>
                <a:gd name="connsiteY85" fmla="*/ 285464 h 1359693"/>
                <a:gd name="connsiteX86" fmla="*/ 4157472 w 8071103"/>
                <a:gd name="connsiteY86" fmla="*/ 215932 h 1359693"/>
                <a:gd name="connsiteX87" fmla="*/ 4086130 w 8071103"/>
                <a:gd name="connsiteY87" fmla="*/ 285464 h 1359693"/>
                <a:gd name="connsiteX88" fmla="*/ 4086130 w 8071103"/>
                <a:gd name="connsiteY88" fmla="*/ 1074230 h 1359693"/>
                <a:gd name="connsiteX89" fmla="*/ 4157472 w 8071103"/>
                <a:gd name="connsiteY89" fmla="*/ 1143667 h 1359693"/>
                <a:gd name="connsiteX90" fmla="*/ 4228814 w 8071103"/>
                <a:gd name="connsiteY90" fmla="*/ 1074230 h 1359693"/>
                <a:gd name="connsiteX91" fmla="*/ 4613720 w 8071103"/>
                <a:gd name="connsiteY91" fmla="*/ 22574 h 1359693"/>
                <a:gd name="connsiteX92" fmla="*/ 4886039 w 8071103"/>
                <a:gd name="connsiteY92" fmla="*/ 22574 h 1359693"/>
                <a:gd name="connsiteX93" fmla="*/ 5021294 w 8071103"/>
                <a:gd name="connsiteY93" fmla="*/ 646081 h 1359693"/>
                <a:gd name="connsiteX94" fmla="*/ 5040059 w 8071103"/>
                <a:gd name="connsiteY94" fmla="*/ 811340 h 1359693"/>
                <a:gd name="connsiteX95" fmla="*/ 5071967 w 8071103"/>
                <a:gd name="connsiteY95" fmla="*/ 811340 h 1359693"/>
                <a:gd name="connsiteX96" fmla="*/ 5051298 w 8071103"/>
                <a:gd name="connsiteY96" fmla="*/ 646081 h 1359693"/>
                <a:gd name="connsiteX97" fmla="*/ 5051298 w 8071103"/>
                <a:gd name="connsiteY97" fmla="*/ 22574 h 1359693"/>
                <a:gd name="connsiteX98" fmla="*/ 5287899 w 8071103"/>
                <a:gd name="connsiteY98" fmla="*/ 22574 h 1359693"/>
                <a:gd name="connsiteX99" fmla="*/ 5287899 w 8071103"/>
                <a:gd name="connsiteY99" fmla="*/ 1337215 h 1359693"/>
                <a:gd name="connsiteX100" fmla="*/ 5017485 w 8071103"/>
                <a:gd name="connsiteY100" fmla="*/ 1337215 h 1359693"/>
                <a:gd name="connsiteX101" fmla="*/ 4882230 w 8071103"/>
                <a:gd name="connsiteY101" fmla="*/ 713708 h 1359693"/>
                <a:gd name="connsiteX102" fmla="*/ 4861560 w 8071103"/>
                <a:gd name="connsiteY102" fmla="*/ 548450 h 1359693"/>
                <a:gd name="connsiteX103" fmla="*/ 4829651 w 8071103"/>
                <a:gd name="connsiteY103" fmla="*/ 548450 h 1359693"/>
                <a:gd name="connsiteX104" fmla="*/ 4850320 w 8071103"/>
                <a:gd name="connsiteY104" fmla="*/ 713708 h 1359693"/>
                <a:gd name="connsiteX105" fmla="*/ 4850320 w 8071103"/>
                <a:gd name="connsiteY105" fmla="*/ 1337215 h 1359693"/>
                <a:gd name="connsiteX106" fmla="*/ 4613720 w 8071103"/>
                <a:gd name="connsiteY106" fmla="*/ 1337215 h 1359693"/>
                <a:gd name="connsiteX107" fmla="*/ 4613720 w 8071103"/>
                <a:gd name="connsiteY107" fmla="*/ 22574 h 1359693"/>
                <a:gd name="connsiteX108" fmla="*/ 5443823 w 8071103"/>
                <a:gd name="connsiteY108" fmla="*/ 22574 h 1359693"/>
                <a:gd name="connsiteX109" fmla="*/ 5716143 w 8071103"/>
                <a:gd name="connsiteY109" fmla="*/ 22574 h 1359693"/>
                <a:gd name="connsiteX110" fmla="*/ 5851398 w 8071103"/>
                <a:gd name="connsiteY110" fmla="*/ 646081 h 1359693"/>
                <a:gd name="connsiteX111" fmla="*/ 5870162 w 8071103"/>
                <a:gd name="connsiteY111" fmla="*/ 811340 h 1359693"/>
                <a:gd name="connsiteX112" fmla="*/ 5902071 w 8071103"/>
                <a:gd name="connsiteY112" fmla="*/ 811340 h 1359693"/>
                <a:gd name="connsiteX113" fmla="*/ 5881402 w 8071103"/>
                <a:gd name="connsiteY113" fmla="*/ 646081 h 1359693"/>
                <a:gd name="connsiteX114" fmla="*/ 5881402 w 8071103"/>
                <a:gd name="connsiteY114" fmla="*/ 22574 h 1359693"/>
                <a:gd name="connsiteX115" fmla="*/ 6118003 w 8071103"/>
                <a:gd name="connsiteY115" fmla="*/ 22574 h 1359693"/>
                <a:gd name="connsiteX116" fmla="*/ 6118003 w 8071103"/>
                <a:gd name="connsiteY116" fmla="*/ 1337215 h 1359693"/>
                <a:gd name="connsiteX117" fmla="*/ 5847588 w 8071103"/>
                <a:gd name="connsiteY117" fmla="*/ 1337215 h 1359693"/>
                <a:gd name="connsiteX118" fmla="*/ 5712333 w 8071103"/>
                <a:gd name="connsiteY118" fmla="*/ 713708 h 1359693"/>
                <a:gd name="connsiteX119" fmla="*/ 5691664 w 8071103"/>
                <a:gd name="connsiteY119" fmla="*/ 548450 h 1359693"/>
                <a:gd name="connsiteX120" fmla="*/ 5659755 w 8071103"/>
                <a:gd name="connsiteY120" fmla="*/ 548450 h 1359693"/>
                <a:gd name="connsiteX121" fmla="*/ 5680424 w 8071103"/>
                <a:gd name="connsiteY121" fmla="*/ 713708 h 1359693"/>
                <a:gd name="connsiteX122" fmla="*/ 5680424 w 8071103"/>
                <a:gd name="connsiteY122" fmla="*/ 1337215 h 1359693"/>
                <a:gd name="connsiteX123" fmla="*/ 5443823 w 8071103"/>
                <a:gd name="connsiteY123" fmla="*/ 1337215 h 1359693"/>
                <a:gd name="connsiteX124" fmla="*/ 5443823 w 8071103"/>
                <a:gd name="connsiteY124" fmla="*/ 22574 h 1359693"/>
                <a:gd name="connsiteX125" fmla="*/ 6273832 w 8071103"/>
                <a:gd name="connsiteY125" fmla="*/ 22574 h 1359693"/>
                <a:gd name="connsiteX126" fmla="*/ 6720840 w 8071103"/>
                <a:gd name="connsiteY126" fmla="*/ 22574 h 1359693"/>
                <a:gd name="connsiteX127" fmla="*/ 6720840 w 8071103"/>
                <a:gd name="connsiteY127" fmla="*/ 238601 h 1359693"/>
                <a:gd name="connsiteX128" fmla="*/ 6510528 w 8071103"/>
                <a:gd name="connsiteY128" fmla="*/ 238601 h 1359693"/>
                <a:gd name="connsiteX129" fmla="*/ 6510528 w 8071103"/>
                <a:gd name="connsiteY129" fmla="*/ 565404 h 1359693"/>
                <a:gd name="connsiteX130" fmla="*/ 6700172 w 8071103"/>
                <a:gd name="connsiteY130" fmla="*/ 565404 h 1359693"/>
                <a:gd name="connsiteX131" fmla="*/ 6700172 w 8071103"/>
                <a:gd name="connsiteY131" fmla="*/ 775716 h 1359693"/>
                <a:gd name="connsiteX132" fmla="*/ 6510528 w 8071103"/>
                <a:gd name="connsiteY132" fmla="*/ 775716 h 1359693"/>
                <a:gd name="connsiteX133" fmla="*/ 6510528 w 8071103"/>
                <a:gd name="connsiteY133" fmla="*/ 1121283 h 1359693"/>
                <a:gd name="connsiteX134" fmla="*/ 6720840 w 8071103"/>
                <a:gd name="connsiteY134" fmla="*/ 1121283 h 1359693"/>
                <a:gd name="connsiteX135" fmla="*/ 6720840 w 8071103"/>
                <a:gd name="connsiteY135" fmla="*/ 1337215 h 1359693"/>
                <a:gd name="connsiteX136" fmla="*/ 6273832 w 8071103"/>
                <a:gd name="connsiteY136" fmla="*/ 1337215 h 1359693"/>
                <a:gd name="connsiteX137" fmla="*/ 6273832 w 8071103"/>
                <a:gd name="connsiteY137" fmla="*/ 22574 h 1359693"/>
                <a:gd name="connsiteX138" fmla="*/ 6846665 w 8071103"/>
                <a:gd name="connsiteY138" fmla="*/ 1074230 h 1359693"/>
                <a:gd name="connsiteX139" fmla="*/ 6846665 w 8071103"/>
                <a:gd name="connsiteY139" fmla="*/ 283559 h 1359693"/>
                <a:gd name="connsiteX140" fmla="*/ 7154704 w 8071103"/>
                <a:gd name="connsiteY140" fmla="*/ 0 h 1359693"/>
                <a:gd name="connsiteX141" fmla="*/ 7462742 w 8071103"/>
                <a:gd name="connsiteY141" fmla="*/ 283559 h 1359693"/>
                <a:gd name="connsiteX142" fmla="*/ 7462742 w 8071103"/>
                <a:gd name="connsiteY142" fmla="*/ 557784 h 1359693"/>
                <a:gd name="connsiteX143" fmla="*/ 7226142 w 8071103"/>
                <a:gd name="connsiteY143" fmla="*/ 557784 h 1359693"/>
                <a:gd name="connsiteX144" fmla="*/ 7226142 w 8071103"/>
                <a:gd name="connsiteY144" fmla="*/ 285464 h 1359693"/>
                <a:gd name="connsiteX145" fmla="*/ 7154800 w 8071103"/>
                <a:gd name="connsiteY145" fmla="*/ 215932 h 1359693"/>
                <a:gd name="connsiteX146" fmla="*/ 7083457 w 8071103"/>
                <a:gd name="connsiteY146" fmla="*/ 285464 h 1359693"/>
                <a:gd name="connsiteX147" fmla="*/ 7083457 w 8071103"/>
                <a:gd name="connsiteY147" fmla="*/ 1074230 h 1359693"/>
                <a:gd name="connsiteX148" fmla="*/ 7154800 w 8071103"/>
                <a:gd name="connsiteY148" fmla="*/ 1143667 h 1359693"/>
                <a:gd name="connsiteX149" fmla="*/ 7226142 w 8071103"/>
                <a:gd name="connsiteY149" fmla="*/ 1074230 h 1359693"/>
                <a:gd name="connsiteX150" fmla="*/ 7226142 w 8071103"/>
                <a:gd name="connsiteY150" fmla="*/ 783146 h 1359693"/>
                <a:gd name="connsiteX151" fmla="*/ 7462742 w 8071103"/>
                <a:gd name="connsiteY151" fmla="*/ 783146 h 1359693"/>
                <a:gd name="connsiteX152" fmla="*/ 7462742 w 8071103"/>
                <a:gd name="connsiteY152" fmla="*/ 1074230 h 1359693"/>
                <a:gd name="connsiteX153" fmla="*/ 7154704 w 8071103"/>
                <a:gd name="connsiteY153" fmla="*/ 1359694 h 1359693"/>
                <a:gd name="connsiteX154" fmla="*/ 6846665 w 8071103"/>
                <a:gd name="connsiteY154" fmla="*/ 1074230 h 1359693"/>
                <a:gd name="connsiteX155" fmla="*/ 7699248 w 8071103"/>
                <a:gd name="connsiteY155" fmla="*/ 238506 h 1359693"/>
                <a:gd name="connsiteX156" fmla="*/ 7563993 w 8071103"/>
                <a:gd name="connsiteY156" fmla="*/ 238506 h 1359693"/>
                <a:gd name="connsiteX157" fmla="*/ 7563993 w 8071103"/>
                <a:gd name="connsiteY157" fmla="*/ 22479 h 1359693"/>
                <a:gd name="connsiteX158" fmla="*/ 8071104 w 8071103"/>
                <a:gd name="connsiteY158" fmla="*/ 22479 h 1359693"/>
                <a:gd name="connsiteX159" fmla="*/ 8071104 w 8071103"/>
                <a:gd name="connsiteY159" fmla="*/ 238506 h 1359693"/>
                <a:gd name="connsiteX160" fmla="*/ 7935850 w 8071103"/>
                <a:gd name="connsiteY160" fmla="*/ 238506 h 1359693"/>
                <a:gd name="connsiteX161" fmla="*/ 7935850 w 8071103"/>
                <a:gd name="connsiteY161" fmla="*/ 1337120 h 1359693"/>
                <a:gd name="connsiteX162" fmla="*/ 7699248 w 8071103"/>
                <a:gd name="connsiteY162" fmla="*/ 1337120 h 1359693"/>
                <a:gd name="connsiteX163" fmla="*/ 7699248 w 8071103"/>
                <a:gd name="connsiteY163" fmla="*/ 238506 h 1359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8071103" h="1359693">
                  <a:moveTo>
                    <a:pt x="0" y="1074230"/>
                  </a:moveTo>
                  <a:lnTo>
                    <a:pt x="0" y="283559"/>
                  </a:lnTo>
                  <a:cubicBezTo>
                    <a:pt x="0" y="114490"/>
                    <a:pt x="123920" y="0"/>
                    <a:pt x="308038" y="0"/>
                  </a:cubicBezTo>
                  <a:cubicBezTo>
                    <a:pt x="492157" y="0"/>
                    <a:pt x="616077" y="114586"/>
                    <a:pt x="616077" y="283559"/>
                  </a:cubicBezTo>
                  <a:lnTo>
                    <a:pt x="616077" y="557784"/>
                  </a:lnTo>
                  <a:lnTo>
                    <a:pt x="379476" y="557784"/>
                  </a:lnTo>
                  <a:lnTo>
                    <a:pt x="379476" y="285464"/>
                  </a:lnTo>
                  <a:cubicBezTo>
                    <a:pt x="379476" y="242316"/>
                    <a:pt x="351282" y="215932"/>
                    <a:pt x="308134" y="215932"/>
                  </a:cubicBezTo>
                  <a:cubicBezTo>
                    <a:pt x="264986" y="215932"/>
                    <a:pt x="236791" y="242221"/>
                    <a:pt x="236791" y="285464"/>
                  </a:cubicBezTo>
                  <a:lnTo>
                    <a:pt x="236791" y="1074230"/>
                  </a:lnTo>
                  <a:cubicBezTo>
                    <a:pt x="236791" y="1117378"/>
                    <a:pt x="264986" y="1143667"/>
                    <a:pt x="308134" y="1143667"/>
                  </a:cubicBezTo>
                  <a:cubicBezTo>
                    <a:pt x="351282" y="1143667"/>
                    <a:pt x="379476" y="1117378"/>
                    <a:pt x="379476" y="1074230"/>
                  </a:cubicBezTo>
                  <a:lnTo>
                    <a:pt x="379476" y="783146"/>
                  </a:lnTo>
                  <a:lnTo>
                    <a:pt x="616077" y="783146"/>
                  </a:lnTo>
                  <a:lnTo>
                    <a:pt x="616077" y="1074230"/>
                  </a:lnTo>
                  <a:cubicBezTo>
                    <a:pt x="616077" y="1245108"/>
                    <a:pt x="492157" y="1359694"/>
                    <a:pt x="308038" y="1359694"/>
                  </a:cubicBezTo>
                  <a:cubicBezTo>
                    <a:pt x="123920" y="1359694"/>
                    <a:pt x="0" y="1245108"/>
                    <a:pt x="0" y="1074230"/>
                  </a:cubicBezTo>
                  <a:close/>
                  <a:moveTo>
                    <a:pt x="762476" y="22574"/>
                  </a:moveTo>
                  <a:lnTo>
                    <a:pt x="999077" y="22574"/>
                  </a:lnTo>
                  <a:lnTo>
                    <a:pt x="999077" y="1121283"/>
                  </a:lnTo>
                  <a:lnTo>
                    <a:pt x="1198150" y="1121283"/>
                  </a:lnTo>
                  <a:lnTo>
                    <a:pt x="1198150" y="1337215"/>
                  </a:lnTo>
                  <a:lnTo>
                    <a:pt x="762476" y="1337215"/>
                  </a:lnTo>
                  <a:lnTo>
                    <a:pt x="762476" y="22574"/>
                  </a:lnTo>
                  <a:close/>
                  <a:moveTo>
                    <a:pt x="1293971" y="1074230"/>
                  </a:moveTo>
                  <a:lnTo>
                    <a:pt x="1293971" y="22479"/>
                  </a:lnTo>
                  <a:lnTo>
                    <a:pt x="1530572" y="22479"/>
                  </a:lnTo>
                  <a:lnTo>
                    <a:pt x="1530572" y="1074230"/>
                  </a:lnTo>
                  <a:cubicBezTo>
                    <a:pt x="1530572" y="1117378"/>
                    <a:pt x="1558766" y="1143667"/>
                    <a:pt x="1600105" y="1143667"/>
                  </a:cubicBezTo>
                  <a:cubicBezTo>
                    <a:pt x="1641443" y="1143667"/>
                    <a:pt x="1671447" y="1117378"/>
                    <a:pt x="1671447" y="1074230"/>
                  </a:cubicBezTo>
                  <a:lnTo>
                    <a:pt x="1671447" y="22479"/>
                  </a:lnTo>
                  <a:lnTo>
                    <a:pt x="1908048" y="22479"/>
                  </a:lnTo>
                  <a:lnTo>
                    <a:pt x="1908048" y="1074230"/>
                  </a:lnTo>
                  <a:cubicBezTo>
                    <a:pt x="1908048" y="1245108"/>
                    <a:pt x="1784128" y="1359694"/>
                    <a:pt x="1600009" y="1359694"/>
                  </a:cubicBezTo>
                  <a:cubicBezTo>
                    <a:pt x="1415891" y="1359694"/>
                    <a:pt x="1293876" y="1245108"/>
                    <a:pt x="1293876" y="1074230"/>
                  </a:cubicBezTo>
                  <a:close/>
                  <a:moveTo>
                    <a:pt x="2060162" y="22574"/>
                  </a:moveTo>
                  <a:lnTo>
                    <a:pt x="2394490" y="22574"/>
                  </a:lnTo>
                  <a:cubicBezTo>
                    <a:pt x="2561654" y="22574"/>
                    <a:pt x="2674335" y="125921"/>
                    <a:pt x="2674335" y="279844"/>
                  </a:cubicBezTo>
                  <a:lnTo>
                    <a:pt x="2674335" y="458248"/>
                  </a:lnTo>
                  <a:cubicBezTo>
                    <a:pt x="2674335" y="537115"/>
                    <a:pt x="2638616" y="617887"/>
                    <a:pt x="2565369" y="651701"/>
                  </a:cubicBezTo>
                  <a:lnTo>
                    <a:pt x="2565369" y="662940"/>
                  </a:lnTo>
                  <a:cubicBezTo>
                    <a:pt x="2644235" y="696754"/>
                    <a:pt x="2685574" y="781240"/>
                    <a:pt x="2685574" y="865727"/>
                  </a:cubicBezTo>
                  <a:lnTo>
                    <a:pt x="2685574" y="1079849"/>
                  </a:lnTo>
                  <a:cubicBezTo>
                    <a:pt x="2685574" y="1233869"/>
                    <a:pt x="2574798" y="1337120"/>
                    <a:pt x="2405729" y="1337120"/>
                  </a:cubicBezTo>
                  <a:lnTo>
                    <a:pt x="2060162" y="1337120"/>
                  </a:lnTo>
                  <a:lnTo>
                    <a:pt x="2060162" y="22574"/>
                  </a:lnTo>
                  <a:close/>
                  <a:moveTo>
                    <a:pt x="2296763" y="238506"/>
                  </a:moveTo>
                  <a:lnTo>
                    <a:pt x="2296763" y="569024"/>
                  </a:lnTo>
                  <a:lnTo>
                    <a:pt x="2366296" y="569024"/>
                  </a:lnTo>
                  <a:cubicBezTo>
                    <a:pt x="2409444" y="569024"/>
                    <a:pt x="2437638" y="540830"/>
                    <a:pt x="2437638" y="497681"/>
                  </a:cubicBezTo>
                  <a:lnTo>
                    <a:pt x="2437638" y="307943"/>
                  </a:lnTo>
                  <a:cubicBezTo>
                    <a:pt x="2437638" y="264795"/>
                    <a:pt x="2409444" y="238506"/>
                    <a:pt x="2366296" y="238506"/>
                  </a:cubicBezTo>
                  <a:lnTo>
                    <a:pt x="2296763" y="238506"/>
                  </a:lnTo>
                  <a:close/>
                  <a:moveTo>
                    <a:pt x="2296763" y="770001"/>
                  </a:moveTo>
                  <a:lnTo>
                    <a:pt x="2296763" y="1121188"/>
                  </a:lnTo>
                  <a:lnTo>
                    <a:pt x="2379440" y="1121188"/>
                  </a:lnTo>
                  <a:cubicBezTo>
                    <a:pt x="2420779" y="1121188"/>
                    <a:pt x="2448973" y="1094899"/>
                    <a:pt x="2448973" y="1051655"/>
                  </a:cubicBezTo>
                  <a:lnTo>
                    <a:pt x="2448973" y="841343"/>
                  </a:lnTo>
                  <a:cubicBezTo>
                    <a:pt x="2448973" y="798195"/>
                    <a:pt x="2420779" y="770001"/>
                    <a:pt x="2379440" y="770001"/>
                  </a:cubicBezTo>
                  <a:lnTo>
                    <a:pt x="2296763" y="770001"/>
                  </a:lnTo>
                  <a:close/>
                  <a:moveTo>
                    <a:pt x="3094482" y="1074230"/>
                  </a:moveTo>
                  <a:lnTo>
                    <a:pt x="3094482" y="283559"/>
                  </a:lnTo>
                  <a:cubicBezTo>
                    <a:pt x="3094482" y="114490"/>
                    <a:pt x="3218403" y="0"/>
                    <a:pt x="3402520" y="0"/>
                  </a:cubicBezTo>
                  <a:cubicBezTo>
                    <a:pt x="3586639" y="0"/>
                    <a:pt x="3710559" y="114586"/>
                    <a:pt x="3710559" y="283559"/>
                  </a:cubicBezTo>
                  <a:lnTo>
                    <a:pt x="3710559" y="557784"/>
                  </a:lnTo>
                  <a:lnTo>
                    <a:pt x="3473958" y="557784"/>
                  </a:lnTo>
                  <a:lnTo>
                    <a:pt x="3473958" y="285464"/>
                  </a:lnTo>
                  <a:cubicBezTo>
                    <a:pt x="3473958" y="242316"/>
                    <a:pt x="3445764" y="215932"/>
                    <a:pt x="3402616" y="215932"/>
                  </a:cubicBezTo>
                  <a:cubicBezTo>
                    <a:pt x="3359468" y="215932"/>
                    <a:pt x="3331274" y="242221"/>
                    <a:pt x="3331274" y="285464"/>
                  </a:cubicBezTo>
                  <a:lnTo>
                    <a:pt x="3331274" y="1074230"/>
                  </a:lnTo>
                  <a:cubicBezTo>
                    <a:pt x="3331274" y="1117378"/>
                    <a:pt x="3359468" y="1143667"/>
                    <a:pt x="3402616" y="1143667"/>
                  </a:cubicBezTo>
                  <a:cubicBezTo>
                    <a:pt x="3445764" y="1143667"/>
                    <a:pt x="3473958" y="1117378"/>
                    <a:pt x="3473958" y="1074230"/>
                  </a:cubicBezTo>
                  <a:lnTo>
                    <a:pt x="3473958" y="783146"/>
                  </a:lnTo>
                  <a:lnTo>
                    <a:pt x="3710559" y="783146"/>
                  </a:lnTo>
                  <a:lnTo>
                    <a:pt x="3710559" y="1074230"/>
                  </a:lnTo>
                  <a:cubicBezTo>
                    <a:pt x="3710559" y="1245108"/>
                    <a:pt x="3586639" y="1359694"/>
                    <a:pt x="3402520" y="1359694"/>
                  </a:cubicBezTo>
                  <a:cubicBezTo>
                    <a:pt x="3218403" y="1359694"/>
                    <a:pt x="3094482" y="1245108"/>
                    <a:pt x="3094482" y="1074230"/>
                  </a:cubicBezTo>
                  <a:close/>
                  <a:moveTo>
                    <a:pt x="3849434" y="1074230"/>
                  </a:moveTo>
                  <a:lnTo>
                    <a:pt x="3849434" y="283559"/>
                  </a:lnTo>
                  <a:cubicBezTo>
                    <a:pt x="3849434" y="114490"/>
                    <a:pt x="3973354" y="0"/>
                    <a:pt x="4157472" y="0"/>
                  </a:cubicBezTo>
                  <a:cubicBezTo>
                    <a:pt x="4341590" y="0"/>
                    <a:pt x="4465511" y="114586"/>
                    <a:pt x="4465511" y="283559"/>
                  </a:cubicBezTo>
                  <a:lnTo>
                    <a:pt x="4465511" y="1074230"/>
                  </a:lnTo>
                  <a:cubicBezTo>
                    <a:pt x="4465511" y="1245108"/>
                    <a:pt x="4341590" y="1359694"/>
                    <a:pt x="4157472" y="1359694"/>
                  </a:cubicBezTo>
                  <a:cubicBezTo>
                    <a:pt x="3973354" y="1359694"/>
                    <a:pt x="3849434" y="1245108"/>
                    <a:pt x="3849434" y="1074230"/>
                  </a:cubicBezTo>
                  <a:close/>
                  <a:moveTo>
                    <a:pt x="4228814" y="1074230"/>
                  </a:moveTo>
                  <a:lnTo>
                    <a:pt x="4228814" y="285464"/>
                  </a:lnTo>
                  <a:cubicBezTo>
                    <a:pt x="4228814" y="242316"/>
                    <a:pt x="4200621" y="215932"/>
                    <a:pt x="4157472" y="215932"/>
                  </a:cubicBezTo>
                  <a:cubicBezTo>
                    <a:pt x="4114324" y="215932"/>
                    <a:pt x="4086130" y="242221"/>
                    <a:pt x="4086130" y="285464"/>
                  </a:cubicBezTo>
                  <a:lnTo>
                    <a:pt x="4086130" y="1074230"/>
                  </a:lnTo>
                  <a:cubicBezTo>
                    <a:pt x="4086130" y="1117378"/>
                    <a:pt x="4114324" y="1143667"/>
                    <a:pt x="4157472" y="1143667"/>
                  </a:cubicBezTo>
                  <a:cubicBezTo>
                    <a:pt x="4200621" y="1143667"/>
                    <a:pt x="4228814" y="1117378"/>
                    <a:pt x="4228814" y="1074230"/>
                  </a:cubicBezTo>
                  <a:close/>
                  <a:moveTo>
                    <a:pt x="4613720" y="22574"/>
                  </a:moveTo>
                  <a:lnTo>
                    <a:pt x="4886039" y="22574"/>
                  </a:lnTo>
                  <a:lnTo>
                    <a:pt x="5021294" y="646081"/>
                  </a:lnTo>
                  <a:lnTo>
                    <a:pt x="5040059" y="811340"/>
                  </a:lnTo>
                  <a:lnTo>
                    <a:pt x="5071967" y="811340"/>
                  </a:lnTo>
                  <a:lnTo>
                    <a:pt x="5051298" y="646081"/>
                  </a:lnTo>
                  <a:lnTo>
                    <a:pt x="5051298" y="22574"/>
                  </a:lnTo>
                  <a:lnTo>
                    <a:pt x="5287899" y="22574"/>
                  </a:lnTo>
                  <a:lnTo>
                    <a:pt x="5287899" y="1337215"/>
                  </a:lnTo>
                  <a:lnTo>
                    <a:pt x="5017485" y="1337215"/>
                  </a:lnTo>
                  <a:lnTo>
                    <a:pt x="4882230" y="713708"/>
                  </a:lnTo>
                  <a:lnTo>
                    <a:pt x="4861560" y="548450"/>
                  </a:lnTo>
                  <a:lnTo>
                    <a:pt x="4829651" y="548450"/>
                  </a:lnTo>
                  <a:lnTo>
                    <a:pt x="4850320" y="713708"/>
                  </a:lnTo>
                  <a:lnTo>
                    <a:pt x="4850320" y="1337215"/>
                  </a:lnTo>
                  <a:lnTo>
                    <a:pt x="4613720" y="1337215"/>
                  </a:lnTo>
                  <a:lnTo>
                    <a:pt x="4613720" y="22574"/>
                  </a:lnTo>
                  <a:close/>
                  <a:moveTo>
                    <a:pt x="5443823" y="22574"/>
                  </a:moveTo>
                  <a:lnTo>
                    <a:pt x="5716143" y="22574"/>
                  </a:lnTo>
                  <a:lnTo>
                    <a:pt x="5851398" y="646081"/>
                  </a:lnTo>
                  <a:lnTo>
                    <a:pt x="5870162" y="811340"/>
                  </a:lnTo>
                  <a:lnTo>
                    <a:pt x="5902071" y="811340"/>
                  </a:lnTo>
                  <a:lnTo>
                    <a:pt x="5881402" y="646081"/>
                  </a:lnTo>
                  <a:lnTo>
                    <a:pt x="5881402" y="22574"/>
                  </a:lnTo>
                  <a:lnTo>
                    <a:pt x="6118003" y="22574"/>
                  </a:lnTo>
                  <a:lnTo>
                    <a:pt x="6118003" y="1337215"/>
                  </a:lnTo>
                  <a:lnTo>
                    <a:pt x="5847588" y="1337215"/>
                  </a:lnTo>
                  <a:lnTo>
                    <a:pt x="5712333" y="713708"/>
                  </a:lnTo>
                  <a:lnTo>
                    <a:pt x="5691664" y="548450"/>
                  </a:lnTo>
                  <a:lnTo>
                    <a:pt x="5659755" y="548450"/>
                  </a:lnTo>
                  <a:lnTo>
                    <a:pt x="5680424" y="713708"/>
                  </a:lnTo>
                  <a:lnTo>
                    <a:pt x="5680424" y="1337215"/>
                  </a:lnTo>
                  <a:lnTo>
                    <a:pt x="5443823" y="1337215"/>
                  </a:lnTo>
                  <a:lnTo>
                    <a:pt x="5443823" y="22574"/>
                  </a:lnTo>
                  <a:close/>
                  <a:moveTo>
                    <a:pt x="6273832" y="22574"/>
                  </a:moveTo>
                  <a:lnTo>
                    <a:pt x="6720840" y="22574"/>
                  </a:lnTo>
                  <a:lnTo>
                    <a:pt x="6720840" y="238601"/>
                  </a:lnTo>
                  <a:lnTo>
                    <a:pt x="6510528" y="238601"/>
                  </a:lnTo>
                  <a:lnTo>
                    <a:pt x="6510528" y="565404"/>
                  </a:lnTo>
                  <a:lnTo>
                    <a:pt x="6700172" y="565404"/>
                  </a:lnTo>
                  <a:lnTo>
                    <a:pt x="6700172" y="775716"/>
                  </a:lnTo>
                  <a:lnTo>
                    <a:pt x="6510528" y="775716"/>
                  </a:lnTo>
                  <a:lnTo>
                    <a:pt x="6510528" y="1121283"/>
                  </a:lnTo>
                  <a:lnTo>
                    <a:pt x="6720840" y="1121283"/>
                  </a:lnTo>
                  <a:lnTo>
                    <a:pt x="6720840" y="1337215"/>
                  </a:lnTo>
                  <a:lnTo>
                    <a:pt x="6273832" y="1337215"/>
                  </a:lnTo>
                  <a:lnTo>
                    <a:pt x="6273832" y="22574"/>
                  </a:lnTo>
                  <a:close/>
                  <a:moveTo>
                    <a:pt x="6846665" y="1074230"/>
                  </a:moveTo>
                  <a:lnTo>
                    <a:pt x="6846665" y="283559"/>
                  </a:lnTo>
                  <a:cubicBezTo>
                    <a:pt x="6846665" y="114490"/>
                    <a:pt x="6970585" y="0"/>
                    <a:pt x="7154704" y="0"/>
                  </a:cubicBezTo>
                  <a:cubicBezTo>
                    <a:pt x="7338822" y="0"/>
                    <a:pt x="7462742" y="114586"/>
                    <a:pt x="7462742" y="283559"/>
                  </a:cubicBezTo>
                  <a:lnTo>
                    <a:pt x="7462742" y="557784"/>
                  </a:lnTo>
                  <a:lnTo>
                    <a:pt x="7226142" y="557784"/>
                  </a:lnTo>
                  <a:lnTo>
                    <a:pt x="7226142" y="285464"/>
                  </a:lnTo>
                  <a:cubicBezTo>
                    <a:pt x="7226142" y="242316"/>
                    <a:pt x="7197947" y="215932"/>
                    <a:pt x="7154800" y="215932"/>
                  </a:cubicBezTo>
                  <a:cubicBezTo>
                    <a:pt x="7111651" y="215932"/>
                    <a:pt x="7083457" y="242221"/>
                    <a:pt x="7083457" y="285464"/>
                  </a:cubicBezTo>
                  <a:lnTo>
                    <a:pt x="7083457" y="1074230"/>
                  </a:lnTo>
                  <a:cubicBezTo>
                    <a:pt x="7083457" y="1117378"/>
                    <a:pt x="7111651" y="1143667"/>
                    <a:pt x="7154800" y="1143667"/>
                  </a:cubicBezTo>
                  <a:cubicBezTo>
                    <a:pt x="7197947" y="1143667"/>
                    <a:pt x="7226142" y="1117378"/>
                    <a:pt x="7226142" y="1074230"/>
                  </a:cubicBezTo>
                  <a:lnTo>
                    <a:pt x="7226142" y="783146"/>
                  </a:lnTo>
                  <a:lnTo>
                    <a:pt x="7462742" y="783146"/>
                  </a:lnTo>
                  <a:lnTo>
                    <a:pt x="7462742" y="1074230"/>
                  </a:lnTo>
                  <a:cubicBezTo>
                    <a:pt x="7462742" y="1245108"/>
                    <a:pt x="7338822" y="1359694"/>
                    <a:pt x="7154704" y="1359694"/>
                  </a:cubicBezTo>
                  <a:cubicBezTo>
                    <a:pt x="6970585" y="1359694"/>
                    <a:pt x="6846665" y="1245108"/>
                    <a:pt x="6846665" y="1074230"/>
                  </a:cubicBezTo>
                  <a:close/>
                  <a:moveTo>
                    <a:pt x="7699248" y="238506"/>
                  </a:moveTo>
                  <a:lnTo>
                    <a:pt x="7563993" y="238506"/>
                  </a:lnTo>
                  <a:lnTo>
                    <a:pt x="7563993" y="22479"/>
                  </a:lnTo>
                  <a:lnTo>
                    <a:pt x="8071104" y="22479"/>
                  </a:lnTo>
                  <a:lnTo>
                    <a:pt x="8071104" y="238506"/>
                  </a:lnTo>
                  <a:lnTo>
                    <a:pt x="7935850" y="238506"/>
                  </a:lnTo>
                  <a:lnTo>
                    <a:pt x="7935850" y="1337120"/>
                  </a:lnTo>
                  <a:lnTo>
                    <a:pt x="7699248" y="1337120"/>
                  </a:lnTo>
                  <a:lnTo>
                    <a:pt x="7699248" y="238506"/>
                  </a:lnTo>
                  <a:close/>
                </a:path>
              </a:pathLst>
            </a:custGeom>
            <a:solidFill>
              <a:schemeClr val="accent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97719429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2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 descr="A green and yellow background&#10;&#10;Description automatically generated">
            <a:extLst>
              <a:ext uri="{FF2B5EF4-FFF2-40B4-BE49-F238E27FC236}">
                <a16:creationId xmlns:a16="http://schemas.microsoft.com/office/drawing/2014/main" id="{FAF78AEA-CC59-08DE-4547-7FF25C56F5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EC815E34-44FF-7C4D-CFD1-ECF75D35F204}"/>
              </a:ext>
            </a:extLst>
          </p:cNvPr>
          <p:cNvSpPr/>
          <p:nvPr userDrawn="1"/>
        </p:nvSpPr>
        <p:spPr>
          <a:xfrm>
            <a:off x="0" y="0"/>
            <a:ext cx="9986963" cy="6858000"/>
          </a:xfrm>
          <a:prstGeom prst="rect">
            <a:avLst/>
          </a:prstGeom>
          <a:gradFill flip="none" rotWithShape="1">
            <a:gsLst>
              <a:gs pos="51000">
                <a:schemeClr val="accent2">
                  <a:alpha val="5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6EE9A51-3C06-EA4B-CB73-B3A6CE7755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885927"/>
            <a:ext cx="5083175" cy="732898"/>
          </a:xfrm>
        </p:spPr>
        <p:txBody>
          <a:bodyPr anchor="b"/>
          <a:lstStyle>
            <a:lvl1pPr>
              <a:defRPr sz="5000">
                <a:solidFill>
                  <a:schemeClr val="tx2"/>
                </a:solidFill>
              </a:defRPr>
            </a:lvl1pPr>
          </a:lstStyle>
          <a:p>
            <a:r>
              <a:rPr lang="en-US"/>
              <a:t>Agenda</a:t>
            </a:r>
            <a:endParaRPr lang="en-GB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171DB73-DD42-3DE7-368A-24F9C4E64AF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3124569"/>
            <a:ext cx="377825" cy="503883"/>
          </a:xfrm>
        </p:spPr>
        <p:txBody>
          <a:bodyPr anchor="t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E904ACE8-C0FB-61DB-AF09-2D0394EC068B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1316384" y="3124569"/>
            <a:ext cx="3667384" cy="503883"/>
          </a:xfrm>
        </p:spPr>
        <p:txBody>
          <a:bodyPr anchor="t"/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agenda item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FDF683F-EE6B-EBE3-170E-C48D2AD8C8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1850" y="3811292"/>
            <a:ext cx="377825" cy="503883"/>
          </a:xfrm>
        </p:spPr>
        <p:txBody>
          <a:bodyPr anchor="t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D71CBD97-674B-399C-18F9-7E4A8C7BBDE5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1316384" y="3811292"/>
            <a:ext cx="3667384" cy="503883"/>
          </a:xfrm>
        </p:spPr>
        <p:txBody>
          <a:bodyPr anchor="t"/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agenda item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822511B-ED7F-3FD8-0613-9C38C666D9A1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31850" y="4498015"/>
            <a:ext cx="377825" cy="503883"/>
          </a:xfrm>
        </p:spPr>
        <p:txBody>
          <a:bodyPr anchor="t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F1DC56E-A633-0A59-9DA4-CCB236E601C7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316384" y="4498015"/>
            <a:ext cx="3667384" cy="503883"/>
          </a:xfrm>
        </p:spPr>
        <p:txBody>
          <a:bodyPr anchor="t"/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agenda item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5EBEDF91-2E5A-8A22-4B5D-E029BE6F4907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831850" y="5184739"/>
            <a:ext cx="377825" cy="503883"/>
          </a:xfrm>
        </p:spPr>
        <p:txBody>
          <a:bodyPr anchor="t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2B187E85-55CB-86B5-8ED3-5248279AFF5B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1316384" y="5184739"/>
            <a:ext cx="3667384" cy="503883"/>
          </a:xfrm>
        </p:spPr>
        <p:txBody>
          <a:bodyPr anchor="t"/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agenda item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2D5AF05-F185-554C-683C-A21E7B811EE9}"/>
              </a:ext>
            </a:extLst>
          </p:cNvPr>
          <p:cNvGrpSpPr/>
          <p:nvPr userDrawn="1"/>
        </p:nvGrpSpPr>
        <p:grpSpPr>
          <a:xfrm>
            <a:off x="360363" y="357188"/>
            <a:ext cx="2108053" cy="519112"/>
            <a:chOff x="13749337" y="746575"/>
            <a:chExt cx="11277504" cy="2777109"/>
          </a:xfrm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9089C77-861A-EEC3-60D9-8D8593827C3D}"/>
                </a:ext>
              </a:extLst>
            </p:cNvPr>
            <p:cNvSpPr/>
            <p:nvPr/>
          </p:nvSpPr>
          <p:spPr>
            <a:xfrm>
              <a:off x="13749337" y="746575"/>
              <a:ext cx="5114450" cy="2777109"/>
            </a:xfrm>
            <a:custGeom>
              <a:avLst/>
              <a:gdLst>
                <a:gd name="connsiteX0" fmla="*/ 5080826 w 5114450"/>
                <a:gd name="connsiteY0" fmla="*/ 664559 h 2777109"/>
                <a:gd name="connsiteX1" fmla="*/ 5114450 w 5114450"/>
                <a:gd name="connsiteY1" fmla="*/ 952786 h 2777109"/>
                <a:gd name="connsiteX2" fmla="*/ 4924234 w 5114450"/>
                <a:gd name="connsiteY2" fmla="*/ 952786 h 2777109"/>
                <a:gd name="connsiteX3" fmla="*/ 4911662 w 5114450"/>
                <a:gd name="connsiteY3" fmla="*/ 812292 h 2777109"/>
                <a:gd name="connsiteX4" fmla="*/ 4562570 w 5114450"/>
                <a:gd name="connsiteY4" fmla="*/ 812292 h 2777109"/>
                <a:gd name="connsiteX5" fmla="*/ 4196906 w 5114450"/>
                <a:gd name="connsiteY5" fmla="*/ 972026 h 2777109"/>
                <a:gd name="connsiteX6" fmla="*/ 4047362 w 5114450"/>
                <a:gd name="connsiteY6" fmla="*/ 952786 h 2777109"/>
                <a:gd name="connsiteX7" fmla="*/ 5080826 w 5114450"/>
                <a:gd name="connsiteY7" fmla="*/ 664559 h 2777109"/>
                <a:gd name="connsiteX8" fmla="*/ 4833462 w 5114450"/>
                <a:gd name="connsiteY8" fmla="*/ 250221 h 2777109"/>
                <a:gd name="connsiteX9" fmla="*/ 5031866 w 5114450"/>
                <a:gd name="connsiteY9" fmla="*/ 250221 h 2777109"/>
                <a:gd name="connsiteX10" fmla="*/ 5076634 w 5114450"/>
                <a:gd name="connsiteY10" fmla="*/ 629697 h 2777109"/>
                <a:gd name="connsiteX11" fmla="*/ 4896516 w 5114450"/>
                <a:gd name="connsiteY11" fmla="*/ 650176 h 2777109"/>
                <a:gd name="connsiteX12" fmla="*/ 4876418 w 5114450"/>
                <a:gd name="connsiteY12" fmla="*/ 423767 h 2777109"/>
                <a:gd name="connsiteX13" fmla="*/ 4658010 w 5114450"/>
                <a:gd name="connsiteY13" fmla="*/ 693610 h 2777109"/>
                <a:gd name="connsiteX14" fmla="*/ 4657914 w 5114450"/>
                <a:gd name="connsiteY14" fmla="*/ 693610 h 2777109"/>
                <a:gd name="connsiteX15" fmla="*/ 4412456 w 5114450"/>
                <a:gd name="connsiteY15" fmla="*/ 758856 h 2777109"/>
                <a:gd name="connsiteX16" fmla="*/ 4833462 w 5114450"/>
                <a:gd name="connsiteY16" fmla="*/ 250221 h 2777109"/>
                <a:gd name="connsiteX17" fmla="*/ 4326922 w 5114450"/>
                <a:gd name="connsiteY17" fmla="*/ 232600 h 2777109"/>
                <a:gd name="connsiteX18" fmla="*/ 4614670 w 5114450"/>
                <a:gd name="connsiteY18" fmla="*/ 329279 h 2777109"/>
                <a:gd name="connsiteX19" fmla="*/ 4508658 w 5114450"/>
                <a:gd name="connsiteY19" fmla="*/ 460438 h 2777109"/>
                <a:gd name="connsiteX20" fmla="*/ 4508658 w 5114450"/>
                <a:gd name="connsiteY20" fmla="*/ 460533 h 2777109"/>
                <a:gd name="connsiteX21" fmla="*/ 4299298 w 5114450"/>
                <a:gd name="connsiteY21" fmla="*/ 376999 h 2777109"/>
                <a:gd name="connsiteX22" fmla="*/ 4010024 w 5114450"/>
                <a:gd name="connsiteY22" fmla="*/ 619887 h 2777109"/>
                <a:gd name="connsiteX23" fmla="*/ 4113466 w 5114450"/>
                <a:gd name="connsiteY23" fmla="*/ 811911 h 2777109"/>
                <a:gd name="connsiteX24" fmla="*/ 4215670 w 5114450"/>
                <a:gd name="connsiteY24" fmla="*/ 826484 h 2777109"/>
                <a:gd name="connsiteX25" fmla="*/ 3928300 w 5114450"/>
                <a:gd name="connsiteY25" fmla="*/ 952881 h 2777109"/>
                <a:gd name="connsiteX26" fmla="*/ 3206400 w 5114450"/>
                <a:gd name="connsiteY26" fmla="*/ 952881 h 2777109"/>
                <a:gd name="connsiteX27" fmla="*/ 3454336 w 5114450"/>
                <a:gd name="connsiteY27" fmla="*/ 250317 h 2777109"/>
                <a:gd name="connsiteX28" fmla="*/ 3987164 w 5114450"/>
                <a:gd name="connsiteY28" fmla="*/ 250317 h 2777109"/>
                <a:gd name="connsiteX29" fmla="*/ 3871626 w 5114450"/>
                <a:gd name="connsiteY29" fmla="*/ 390810 h 2777109"/>
                <a:gd name="connsiteX30" fmla="*/ 3587590 w 5114450"/>
                <a:gd name="connsiteY30" fmla="*/ 390810 h 2777109"/>
                <a:gd name="connsiteX31" fmla="*/ 3544156 w 5114450"/>
                <a:gd name="connsiteY31" fmla="*/ 513683 h 2777109"/>
                <a:gd name="connsiteX32" fmla="*/ 3770470 w 5114450"/>
                <a:gd name="connsiteY32" fmla="*/ 513683 h 2777109"/>
                <a:gd name="connsiteX33" fmla="*/ 3655122 w 5114450"/>
                <a:gd name="connsiteY33" fmla="*/ 653796 h 2777109"/>
                <a:gd name="connsiteX34" fmla="*/ 3494722 w 5114450"/>
                <a:gd name="connsiteY34" fmla="*/ 653796 h 2777109"/>
                <a:gd name="connsiteX35" fmla="*/ 3438810 w 5114450"/>
                <a:gd name="connsiteY35" fmla="*/ 812101 h 2777109"/>
                <a:gd name="connsiteX36" fmla="*/ 3873530 w 5114450"/>
                <a:gd name="connsiteY36" fmla="*/ 812101 h 2777109"/>
                <a:gd name="connsiteX37" fmla="*/ 3829430 w 5114450"/>
                <a:gd name="connsiteY37" fmla="*/ 629793 h 2777109"/>
                <a:gd name="connsiteX38" fmla="*/ 4326922 w 5114450"/>
                <a:gd name="connsiteY38" fmla="*/ 232600 h 2777109"/>
                <a:gd name="connsiteX39" fmla="*/ 1567529 w 5114450"/>
                <a:gd name="connsiteY39" fmla="*/ 0 h 2777109"/>
                <a:gd name="connsiteX40" fmla="*/ 2797397 w 5114450"/>
                <a:gd name="connsiteY40" fmla="*/ 1388555 h 2777109"/>
                <a:gd name="connsiteX41" fmla="*/ 1567529 w 5114450"/>
                <a:gd name="connsiteY41" fmla="*/ 2777109 h 2777109"/>
                <a:gd name="connsiteX42" fmla="*/ 1567529 w 5114450"/>
                <a:gd name="connsiteY42" fmla="*/ 2003965 h 2777109"/>
                <a:gd name="connsiteX43" fmla="*/ 2036921 w 5114450"/>
                <a:gd name="connsiteY43" fmla="*/ 1388555 h 2777109"/>
                <a:gd name="connsiteX44" fmla="*/ 1567529 w 5114450"/>
                <a:gd name="connsiteY44" fmla="*/ 773144 h 2777109"/>
                <a:gd name="connsiteX45" fmla="*/ 1229868 w 5114450"/>
                <a:gd name="connsiteY45" fmla="*/ 0 h 2777109"/>
                <a:gd name="connsiteX46" fmla="*/ 1229868 w 5114450"/>
                <a:gd name="connsiteY46" fmla="*/ 773144 h 2777109"/>
                <a:gd name="connsiteX47" fmla="*/ 760476 w 5114450"/>
                <a:gd name="connsiteY47" fmla="*/ 1388555 h 2777109"/>
                <a:gd name="connsiteX48" fmla="*/ 1229868 w 5114450"/>
                <a:gd name="connsiteY48" fmla="*/ 2003965 h 2777109"/>
                <a:gd name="connsiteX49" fmla="*/ 1229868 w 5114450"/>
                <a:gd name="connsiteY49" fmla="*/ 2777109 h 2777109"/>
                <a:gd name="connsiteX50" fmla="*/ 0 w 5114450"/>
                <a:gd name="connsiteY50" fmla="*/ 1388555 h 2777109"/>
                <a:gd name="connsiteX51" fmla="*/ 1229868 w 5114450"/>
                <a:gd name="connsiteY51" fmla="*/ 0 h 2777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114450" h="2777109">
                  <a:moveTo>
                    <a:pt x="5080826" y="664559"/>
                  </a:moveTo>
                  <a:lnTo>
                    <a:pt x="5114450" y="952786"/>
                  </a:lnTo>
                  <a:lnTo>
                    <a:pt x="4924234" y="952786"/>
                  </a:lnTo>
                  <a:cubicBezTo>
                    <a:pt x="4924234" y="952786"/>
                    <a:pt x="4911662" y="812292"/>
                    <a:pt x="4911662" y="812292"/>
                  </a:cubicBezTo>
                  <a:lnTo>
                    <a:pt x="4562570" y="812292"/>
                  </a:lnTo>
                  <a:cubicBezTo>
                    <a:pt x="4448746" y="938022"/>
                    <a:pt x="4354162" y="972026"/>
                    <a:pt x="4196906" y="972026"/>
                  </a:cubicBezTo>
                  <a:cubicBezTo>
                    <a:pt x="4140136" y="972026"/>
                    <a:pt x="4086892" y="965549"/>
                    <a:pt x="4047362" y="952786"/>
                  </a:cubicBezTo>
                  <a:cubicBezTo>
                    <a:pt x="4047362" y="952786"/>
                    <a:pt x="4500562" y="719233"/>
                    <a:pt x="5080826" y="664559"/>
                  </a:cubicBezTo>
                  <a:close/>
                  <a:moveTo>
                    <a:pt x="4833462" y="250221"/>
                  </a:moveTo>
                  <a:lnTo>
                    <a:pt x="5031866" y="250221"/>
                  </a:lnTo>
                  <a:lnTo>
                    <a:pt x="5076634" y="629697"/>
                  </a:lnTo>
                  <a:cubicBezTo>
                    <a:pt x="5016626" y="636079"/>
                    <a:pt x="4955094" y="641127"/>
                    <a:pt x="4896516" y="650176"/>
                  </a:cubicBezTo>
                  <a:lnTo>
                    <a:pt x="4876418" y="423767"/>
                  </a:lnTo>
                  <a:lnTo>
                    <a:pt x="4658010" y="693610"/>
                  </a:lnTo>
                  <a:lnTo>
                    <a:pt x="4657914" y="693610"/>
                  </a:lnTo>
                  <a:cubicBezTo>
                    <a:pt x="4574094" y="712470"/>
                    <a:pt x="4492274" y="734282"/>
                    <a:pt x="4412456" y="758856"/>
                  </a:cubicBezTo>
                  <a:cubicBezTo>
                    <a:pt x="4412456" y="758856"/>
                    <a:pt x="4833462" y="250221"/>
                    <a:pt x="4833462" y="250221"/>
                  </a:cubicBezTo>
                  <a:close/>
                  <a:moveTo>
                    <a:pt x="4326922" y="232600"/>
                  </a:moveTo>
                  <a:cubicBezTo>
                    <a:pt x="4449222" y="232600"/>
                    <a:pt x="4548090" y="269271"/>
                    <a:pt x="4614670" y="329279"/>
                  </a:cubicBezTo>
                  <a:lnTo>
                    <a:pt x="4508658" y="460438"/>
                  </a:lnTo>
                  <a:lnTo>
                    <a:pt x="4508658" y="460533"/>
                  </a:lnTo>
                  <a:cubicBezTo>
                    <a:pt x="4467130" y="414051"/>
                    <a:pt x="4383498" y="376999"/>
                    <a:pt x="4299298" y="376999"/>
                  </a:cubicBezTo>
                  <a:cubicBezTo>
                    <a:pt x="4128706" y="376999"/>
                    <a:pt x="4021930" y="498538"/>
                    <a:pt x="4010024" y="619887"/>
                  </a:cubicBezTo>
                  <a:cubicBezTo>
                    <a:pt x="3999928" y="723042"/>
                    <a:pt x="4035838" y="785241"/>
                    <a:pt x="4113466" y="811911"/>
                  </a:cubicBezTo>
                  <a:cubicBezTo>
                    <a:pt x="4156518" y="822769"/>
                    <a:pt x="4180902" y="825246"/>
                    <a:pt x="4215670" y="826484"/>
                  </a:cubicBezTo>
                  <a:cubicBezTo>
                    <a:pt x="4030408" y="898017"/>
                    <a:pt x="3928300" y="952881"/>
                    <a:pt x="3928300" y="952881"/>
                  </a:cubicBezTo>
                  <a:lnTo>
                    <a:pt x="3206400" y="952881"/>
                  </a:lnTo>
                  <a:cubicBezTo>
                    <a:pt x="3206400" y="952881"/>
                    <a:pt x="3454336" y="250317"/>
                    <a:pt x="3454336" y="250317"/>
                  </a:cubicBezTo>
                  <a:lnTo>
                    <a:pt x="3987164" y="250317"/>
                  </a:lnTo>
                  <a:cubicBezTo>
                    <a:pt x="3987164" y="250317"/>
                    <a:pt x="3871626" y="390810"/>
                    <a:pt x="3871626" y="390810"/>
                  </a:cubicBezTo>
                  <a:lnTo>
                    <a:pt x="3587590" y="390810"/>
                  </a:lnTo>
                  <a:cubicBezTo>
                    <a:pt x="3587590" y="390810"/>
                    <a:pt x="3544156" y="513683"/>
                    <a:pt x="3544156" y="513683"/>
                  </a:cubicBezTo>
                  <a:lnTo>
                    <a:pt x="3770470" y="513683"/>
                  </a:lnTo>
                  <a:cubicBezTo>
                    <a:pt x="3770470" y="513683"/>
                    <a:pt x="3655122" y="653796"/>
                    <a:pt x="3655122" y="653796"/>
                  </a:cubicBezTo>
                  <a:lnTo>
                    <a:pt x="3494722" y="653796"/>
                  </a:lnTo>
                  <a:cubicBezTo>
                    <a:pt x="3494722" y="653796"/>
                    <a:pt x="3438810" y="812101"/>
                    <a:pt x="3438810" y="812101"/>
                  </a:cubicBezTo>
                  <a:lnTo>
                    <a:pt x="3873530" y="812101"/>
                  </a:lnTo>
                  <a:cubicBezTo>
                    <a:pt x="3837336" y="752284"/>
                    <a:pt x="3826192" y="691610"/>
                    <a:pt x="3829430" y="629793"/>
                  </a:cubicBezTo>
                  <a:cubicBezTo>
                    <a:pt x="3840290" y="425481"/>
                    <a:pt x="4007454" y="232600"/>
                    <a:pt x="4326922" y="232600"/>
                  </a:cubicBezTo>
                  <a:close/>
                  <a:moveTo>
                    <a:pt x="1567529" y="0"/>
                  </a:moveTo>
                  <a:cubicBezTo>
                    <a:pt x="2260473" y="83344"/>
                    <a:pt x="2797397" y="673227"/>
                    <a:pt x="2797397" y="1388555"/>
                  </a:cubicBezTo>
                  <a:cubicBezTo>
                    <a:pt x="2797397" y="2103882"/>
                    <a:pt x="2260378" y="2693765"/>
                    <a:pt x="1567529" y="2777109"/>
                  </a:cubicBezTo>
                  <a:lnTo>
                    <a:pt x="1567529" y="2003965"/>
                  </a:lnTo>
                  <a:cubicBezTo>
                    <a:pt x="1837754" y="1929765"/>
                    <a:pt x="2036921" y="1682020"/>
                    <a:pt x="2036921" y="1388555"/>
                  </a:cubicBezTo>
                  <a:cubicBezTo>
                    <a:pt x="2036921" y="1095089"/>
                    <a:pt x="1837754" y="847344"/>
                    <a:pt x="1567529" y="773144"/>
                  </a:cubicBezTo>
                  <a:close/>
                  <a:moveTo>
                    <a:pt x="1229868" y="0"/>
                  </a:moveTo>
                  <a:lnTo>
                    <a:pt x="1229868" y="773144"/>
                  </a:lnTo>
                  <a:cubicBezTo>
                    <a:pt x="959644" y="847344"/>
                    <a:pt x="760476" y="1095089"/>
                    <a:pt x="760476" y="1388555"/>
                  </a:cubicBezTo>
                  <a:cubicBezTo>
                    <a:pt x="760476" y="1682020"/>
                    <a:pt x="959644" y="1929765"/>
                    <a:pt x="1229868" y="2003965"/>
                  </a:cubicBezTo>
                  <a:lnTo>
                    <a:pt x="1229868" y="2777109"/>
                  </a:lnTo>
                  <a:cubicBezTo>
                    <a:pt x="537020" y="2693765"/>
                    <a:pt x="0" y="2103882"/>
                    <a:pt x="0" y="1388555"/>
                  </a:cubicBezTo>
                  <a:cubicBezTo>
                    <a:pt x="0" y="673227"/>
                    <a:pt x="537020" y="83344"/>
                    <a:pt x="1229868" y="0"/>
                  </a:cubicBez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AF74D80-3835-A921-5EE2-8BAD03544569}"/>
                </a:ext>
              </a:extLst>
            </p:cNvPr>
            <p:cNvSpPr/>
            <p:nvPr/>
          </p:nvSpPr>
          <p:spPr>
            <a:xfrm>
              <a:off x="16955738" y="1931294"/>
              <a:ext cx="8071103" cy="1359693"/>
            </a:xfrm>
            <a:custGeom>
              <a:avLst/>
              <a:gdLst>
                <a:gd name="connsiteX0" fmla="*/ 0 w 8071103"/>
                <a:gd name="connsiteY0" fmla="*/ 1074230 h 1359693"/>
                <a:gd name="connsiteX1" fmla="*/ 0 w 8071103"/>
                <a:gd name="connsiteY1" fmla="*/ 283559 h 1359693"/>
                <a:gd name="connsiteX2" fmla="*/ 308038 w 8071103"/>
                <a:gd name="connsiteY2" fmla="*/ 0 h 1359693"/>
                <a:gd name="connsiteX3" fmla="*/ 616077 w 8071103"/>
                <a:gd name="connsiteY3" fmla="*/ 283559 h 1359693"/>
                <a:gd name="connsiteX4" fmla="*/ 616077 w 8071103"/>
                <a:gd name="connsiteY4" fmla="*/ 557784 h 1359693"/>
                <a:gd name="connsiteX5" fmla="*/ 379476 w 8071103"/>
                <a:gd name="connsiteY5" fmla="*/ 557784 h 1359693"/>
                <a:gd name="connsiteX6" fmla="*/ 379476 w 8071103"/>
                <a:gd name="connsiteY6" fmla="*/ 285464 h 1359693"/>
                <a:gd name="connsiteX7" fmla="*/ 308134 w 8071103"/>
                <a:gd name="connsiteY7" fmla="*/ 215932 h 1359693"/>
                <a:gd name="connsiteX8" fmla="*/ 236791 w 8071103"/>
                <a:gd name="connsiteY8" fmla="*/ 285464 h 1359693"/>
                <a:gd name="connsiteX9" fmla="*/ 236791 w 8071103"/>
                <a:gd name="connsiteY9" fmla="*/ 1074230 h 1359693"/>
                <a:gd name="connsiteX10" fmla="*/ 308134 w 8071103"/>
                <a:gd name="connsiteY10" fmla="*/ 1143667 h 1359693"/>
                <a:gd name="connsiteX11" fmla="*/ 379476 w 8071103"/>
                <a:gd name="connsiteY11" fmla="*/ 1074230 h 1359693"/>
                <a:gd name="connsiteX12" fmla="*/ 379476 w 8071103"/>
                <a:gd name="connsiteY12" fmla="*/ 783146 h 1359693"/>
                <a:gd name="connsiteX13" fmla="*/ 616077 w 8071103"/>
                <a:gd name="connsiteY13" fmla="*/ 783146 h 1359693"/>
                <a:gd name="connsiteX14" fmla="*/ 616077 w 8071103"/>
                <a:gd name="connsiteY14" fmla="*/ 1074230 h 1359693"/>
                <a:gd name="connsiteX15" fmla="*/ 308038 w 8071103"/>
                <a:gd name="connsiteY15" fmla="*/ 1359694 h 1359693"/>
                <a:gd name="connsiteX16" fmla="*/ 0 w 8071103"/>
                <a:gd name="connsiteY16" fmla="*/ 1074230 h 1359693"/>
                <a:gd name="connsiteX17" fmla="*/ 762476 w 8071103"/>
                <a:gd name="connsiteY17" fmla="*/ 22574 h 1359693"/>
                <a:gd name="connsiteX18" fmla="*/ 999077 w 8071103"/>
                <a:gd name="connsiteY18" fmla="*/ 22574 h 1359693"/>
                <a:gd name="connsiteX19" fmla="*/ 999077 w 8071103"/>
                <a:gd name="connsiteY19" fmla="*/ 1121283 h 1359693"/>
                <a:gd name="connsiteX20" fmla="*/ 1198150 w 8071103"/>
                <a:gd name="connsiteY20" fmla="*/ 1121283 h 1359693"/>
                <a:gd name="connsiteX21" fmla="*/ 1198150 w 8071103"/>
                <a:gd name="connsiteY21" fmla="*/ 1337215 h 1359693"/>
                <a:gd name="connsiteX22" fmla="*/ 762476 w 8071103"/>
                <a:gd name="connsiteY22" fmla="*/ 1337215 h 1359693"/>
                <a:gd name="connsiteX23" fmla="*/ 762476 w 8071103"/>
                <a:gd name="connsiteY23" fmla="*/ 22574 h 1359693"/>
                <a:gd name="connsiteX24" fmla="*/ 1293971 w 8071103"/>
                <a:gd name="connsiteY24" fmla="*/ 1074230 h 1359693"/>
                <a:gd name="connsiteX25" fmla="*/ 1293971 w 8071103"/>
                <a:gd name="connsiteY25" fmla="*/ 22479 h 1359693"/>
                <a:gd name="connsiteX26" fmla="*/ 1530572 w 8071103"/>
                <a:gd name="connsiteY26" fmla="*/ 22479 h 1359693"/>
                <a:gd name="connsiteX27" fmla="*/ 1530572 w 8071103"/>
                <a:gd name="connsiteY27" fmla="*/ 1074230 h 1359693"/>
                <a:gd name="connsiteX28" fmla="*/ 1600105 w 8071103"/>
                <a:gd name="connsiteY28" fmla="*/ 1143667 h 1359693"/>
                <a:gd name="connsiteX29" fmla="*/ 1671447 w 8071103"/>
                <a:gd name="connsiteY29" fmla="*/ 1074230 h 1359693"/>
                <a:gd name="connsiteX30" fmla="*/ 1671447 w 8071103"/>
                <a:gd name="connsiteY30" fmla="*/ 22479 h 1359693"/>
                <a:gd name="connsiteX31" fmla="*/ 1908048 w 8071103"/>
                <a:gd name="connsiteY31" fmla="*/ 22479 h 1359693"/>
                <a:gd name="connsiteX32" fmla="*/ 1908048 w 8071103"/>
                <a:gd name="connsiteY32" fmla="*/ 1074230 h 1359693"/>
                <a:gd name="connsiteX33" fmla="*/ 1600009 w 8071103"/>
                <a:gd name="connsiteY33" fmla="*/ 1359694 h 1359693"/>
                <a:gd name="connsiteX34" fmla="*/ 1293876 w 8071103"/>
                <a:gd name="connsiteY34" fmla="*/ 1074230 h 1359693"/>
                <a:gd name="connsiteX35" fmla="*/ 2060162 w 8071103"/>
                <a:gd name="connsiteY35" fmla="*/ 22574 h 1359693"/>
                <a:gd name="connsiteX36" fmla="*/ 2394490 w 8071103"/>
                <a:gd name="connsiteY36" fmla="*/ 22574 h 1359693"/>
                <a:gd name="connsiteX37" fmla="*/ 2674335 w 8071103"/>
                <a:gd name="connsiteY37" fmla="*/ 279844 h 1359693"/>
                <a:gd name="connsiteX38" fmla="*/ 2674335 w 8071103"/>
                <a:gd name="connsiteY38" fmla="*/ 458248 h 1359693"/>
                <a:gd name="connsiteX39" fmla="*/ 2565369 w 8071103"/>
                <a:gd name="connsiteY39" fmla="*/ 651701 h 1359693"/>
                <a:gd name="connsiteX40" fmla="*/ 2565369 w 8071103"/>
                <a:gd name="connsiteY40" fmla="*/ 662940 h 1359693"/>
                <a:gd name="connsiteX41" fmla="*/ 2685574 w 8071103"/>
                <a:gd name="connsiteY41" fmla="*/ 865727 h 1359693"/>
                <a:gd name="connsiteX42" fmla="*/ 2685574 w 8071103"/>
                <a:gd name="connsiteY42" fmla="*/ 1079849 h 1359693"/>
                <a:gd name="connsiteX43" fmla="*/ 2405729 w 8071103"/>
                <a:gd name="connsiteY43" fmla="*/ 1337120 h 1359693"/>
                <a:gd name="connsiteX44" fmla="*/ 2060162 w 8071103"/>
                <a:gd name="connsiteY44" fmla="*/ 1337120 h 1359693"/>
                <a:gd name="connsiteX45" fmla="*/ 2060162 w 8071103"/>
                <a:gd name="connsiteY45" fmla="*/ 22574 h 1359693"/>
                <a:gd name="connsiteX46" fmla="*/ 2296763 w 8071103"/>
                <a:gd name="connsiteY46" fmla="*/ 238506 h 1359693"/>
                <a:gd name="connsiteX47" fmla="*/ 2296763 w 8071103"/>
                <a:gd name="connsiteY47" fmla="*/ 569024 h 1359693"/>
                <a:gd name="connsiteX48" fmla="*/ 2366296 w 8071103"/>
                <a:gd name="connsiteY48" fmla="*/ 569024 h 1359693"/>
                <a:gd name="connsiteX49" fmla="*/ 2437638 w 8071103"/>
                <a:gd name="connsiteY49" fmla="*/ 497681 h 1359693"/>
                <a:gd name="connsiteX50" fmla="*/ 2437638 w 8071103"/>
                <a:gd name="connsiteY50" fmla="*/ 307943 h 1359693"/>
                <a:gd name="connsiteX51" fmla="*/ 2366296 w 8071103"/>
                <a:gd name="connsiteY51" fmla="*/ 238506 h 1359693"/>
                <a:gd name="connsiteX52" fmla="*/ 2296763 w 8071103"/>
                <a:gd name="connsiteY52" fmla="*/ 238506 h 1359693"/>
                <a:gd name="connsiteX53" fmla="*/ 2296763 w 8071103"/>
                <a:gd name="connsiteY53" fmla="*/ 770001 h 1359693"/>
                <a:gd name="connsiteX54" fmla="*/ 2296763 w 8071103"/>
                <a:gd name="connsiteY54" fmla="*/ 1121188 h 1359693"/>
                <a:gd name="connsiteX55" fmla="*/ 2379440 w 8071103"/>
                <a:gd name="connsiteY55" fmla="*/ 1121188 h 1359693"/>
                <a:gd name="connsiteX56" fmla="*/ 2448973 w 8071103"/>
                <a:gd name="connsiteY56" fmla="*/ 1051655 h 1359693"/>
                <a:gd name="connsiteX57" fmla="*/ 2448973 w 8071103"/>
                <a:gd name="connsiteY57" fmla="*/ 841343 h 1359693"/>
                <a:gd name="connsiteX58" fmla="*/ 2379440 w 8071103"/>
                <a:gd name="connsiteY58" fmla="*/ 770001 h 1359693"/>
                <a:gd name="connsiteX59" fmla="*/ 2296763 w 8071103"/>
                <a:gd name="connsiteY59" fmla="*/ 770001 h 1359693"/>
                <a:gd name="connsiteX60" fmla="*/ 3094482 w 8071103"/>
                <a:gd name="connsiteY60" fmla="*/ 1074230 h 1359693"/>
                <a:gd name="connsiteX61" fmla="*/ 3094482 w 8071103"/>
                <a:gd name="connsiteY61" fmla="*/ 283559 h 1359693"/>
                <a:gd name="connsiteX62" fmla="*/ 3402520 w 8071103"/>
                <a:gd name="connsiteY62" fmla="*/ 0 h 1359693"/>
                <a:gd name="connsiteX63" fmla="*/ 3710559 w 8071103"/>
                <a:gd name="connsiteY63" fmla="*/ 283559 h 1359693"/>
                <a:gd name="connsiteX64" fmla="*/ 3710559 w 8071103"/>
                <a:gd name="connsiteY64" fmla="*/ 557784 h 1359693"/>
                <a:gd name="connsiteX65" fmla="*/ 3473958 w 8071103"/>
                <a:gd name="connsiteY65" fmla="*/ 557784 h 1359693"/>
                <a:gd name="connsiteX66" fmla="*/ 3473958 w 8071103"/>
                <a:gd name="connsiteY66" fmla="*/ 285464 h 1359693"/>
                <a:gd name="connsiteX67" fmla="*/ 3402616 w 8071103"/>
                <a:gd name="connsiteY67" fmla="*/ 215932 h 1359693"/>
                <a:gd name="connsiteX68" fmla="*/ 3331274 w 8071103"/>
                <a:gd name="connsiteY68" fmla="*/ 285464 h 1359693"/>
                <a:gd name="connsiteX69" fmla="*/ 3331274 w 8071103"/>
                <a:gd name="connsiteY69" fmla="*/ 1074230 h 1359693"/>
                <a:gd name="connsiteX70" fmla="*/ 3402616 w 8071103"/>
                <a:gd name="connsiteY70" fmla="*/ 1143667 h 1359693"/>
                <a:gd name="connsiteX71" fmla="*/ 3473958 w 8071103"/>
                <a:gd name="connsiteY71" fmla="*/ 1074230 h 1359693"/>
                <a:gd name="connsiteX72" fmla="*/ 3473958 w 8071103"/>
                <a:gd name="connsiteY72" fmla="*/ 783146 h 1359693"/>
                <a:gd name="connsiteX73" fmla="*/ 3710559 w 8071103"/>
                <a:gd name="connsiteY73" fmla="*/ 783146 h 1359693"/>
                <a:gd name="connsiteX74" fmla="*/ 3710559 w 8071103"/>
                <a:gd name="connsiteY74" fmla="*/ 1074230 h 1359693"/>
                <a:gd name="connsiteX75" fmla="*/ 3402520 w 8071103"/>
                <a:gd name="connsiteY75" fmla="*/ 1359694 h 1359693"/>
                <a:gd name="connsiteX76" fmla="*/ 3094482 w 8071103"/>
                <a:gd name="connsiteY76" fmla="*/ 1074230 h 1359693"/>
                <a:gd name="connsiteX77" fmla="*/ 3849434 w 8071103"/>
                <a:gd name="connsiteY77" fmla="*/ 1074230 h 1359693"/>
                <a:gd name="connsiteX78" fmla="*/ 3849434 w 8071103"/>
                <a:gd name="connsiteY78" fmla="*/ 283559 h 1359693"/>
                <a:gd name="connsiteX79" fmla="*/ 4157472 w 8071103"/>
                <a:gd name="connsiteY79" fmla="*/ 0 h 1359693"/>
                <a:gd name="connsiteX80" fmla="*/ 4465511 w 8071103"/>
                <a:gd name="connsiteY80" fmla="*/ 283559 h 1359693"/>
                <a:gd name="connsiteX81" fmla="*/ 4465511 w 8071103"/>
                <a:gd name="connsiteY81" fmla="*/ 1074230 h 1359693"/>
                <a:gd name="connsiteX82" fmla="*/ 4157472 w 8071103"/>
                <a:gd name="connsiteY82" fmla="*/ 1359694 h 1359693"/>
                <a:gd name="connsiteX83" fmla="*/ 3849434 w 8071103"/>
                <a:gd name="connsiteY83" fmla="*/ 1074230 h 1359693"/>
                <a:gd name="connsiteX84" fmla="*/ 4228814 w 8071103"/>
                <a:gd name="connsiteY84" fmla="*/ 1074230 h 1359693"/>
                <a:gd name="connsiteX85" fmla="*/ 4228814 w 8071103"/>
                <a:gd name="connsiteY85" fmla="*/ 285464 h 1359693"/>
                <a:gd name="connsiteX86" fmla="*/ 4157472 w 8071103"/>
                <a:gd name="connsiteY86" fmla="*/ 215932 h 1359693"/>
                <a:gd name="connsiteX87" fmla="*/ 4086130 w 8071103"/>
                <a:gd name="connsiteY87" fmla="*/ 285464 h 1359693"/>
                <a:gd name="connsiteX88" fmla="*/ 4086130 w 8071103"/>
                <a:gd name="connsiteY88" fmla="*/ 1074230 h 1359693"/>
                <a:gd name="connsiteX89" fmla="*/ 4157472 w 8071103"/>
                <a:gd name="connsiteY89" fmla="*/ 1143667 h 1359693"/>
                <a:gd name="connsiteX90" fmla="*/ 4228814 w 8071103"/>
                <a:gd name="connsiteY90" fmla="*/ 1074230 h 1359693"/>
                <a:gd name="connsiteX91" fmla="*/ 4613720 w 8071103"/>
                <a:gd name="connsiteY91" fmla="*/ 22574 h 1359693"/>
                <a:gd name="connsiteX92" fmla="*/ 4886039 w 8071103"/>
                <a:gd name="connsiteY92" fmla="*/ 22574 h 1359693"/>
                <a:gd name="connsiteX93" fmla="*/ 5021294 w 8071103"/>
                <a:gd name="connsiteY93" fmla="*/ 646081 h 1359693"/>
                <a:gd name="connsiteX94" fmla="*/ 5040059 w 8071103"/>
                <a:gd name="connsiteY94" fmla="*/ 811340 h 1359693"/>
                <a:gd name="connsiteX95" fmla="*/ 5071967 w 8071103"/>
                <a:gd name="connsiteY95" fmla="*/ 811340 h 1359693"/>
                <a:gd name="connsiteX96" fmla="*/ 5051298 w 8071103"/>
                <a:gd name="connsiteY96" fmla="*/ 646081 h 1359693"/>
                <a:gd name="connsiteX97" fmla="*/ 5051298 w 8071103"/>
                <a:gd name="connsiteY97" fmla="*/ 22574 h 1359693"/>
                <a:gd name="connsiteX98" fmla="*/ 5287899 w 8071103"/>
                <a:gd name="connsiteY98" fmla="*/ 22574 h 1359693"/>
                <a:gd name="connsiteX99" fmla="*/ 5287899 w 8071103"/>
                <a:gd name="connsiteY99" fmla="*/ 1337215 h 1359693"/>
                <a:gd name="connsiteX100" fmla="*/ 5017485 w 8071103"/>
                <a:gd name="connsiteY100" fmla="*/ 1337215 h 1359693"/>
                <a:gd name="connsiteX101" fmla="*/ 4882230 w 8071103"/>
                <a:gd name="connsiteY101" fmla="*/ 713708 h 1359693"/>
                <a:gd name="connsiteX102" fmla="*/ 4861560 w 8071103"/>
                <a:gd name="connsiteY102" fmla="*/ 548450 h 1359693"/>
                <a:gd name="connsiteX103" fmla="*/ 4829651 w 8071103"/>
                <a:gd name="connsiteY103" fmla="*/ 548450 h 1359693"/>
                <a:gd name="connsiteX104" fmla="*/ 4850320 w 8071103"/>
                <a:gd name="connsiteY104" fmla="*/ 713708 h 1359693"/>
                <a:gd name="connsiteX105" fmla="*/ 4850320 w 8071103"/>
                <a:gd name="connsiteY105" fmla="*/ 1337215 h 1359693"/>
                <a:gd name="connsiteX106" fmla="*/ 4613720 w 8071103"/>
                <a:gd name="connsiteY106" fmla="*/ 1337215 h 1359693"/>
                <a:gd name="connsiteX107" fmla="*/ 4613720 w 8071103"/>
                <a:gd name="connsiteY107" fmla="*/ 22574 h 1359693"/>
                <a:gd name="connsiteX108" fmla="*/ 5443823 w 8071103"/>
                <a:gd name="connsiteY108" fmla="*/ 22574 h 1359693"/>
                <a:gd name="connsiteX109" fmla="*/ 5716143 w 8071103"/>
                <a:gd name="connsiteY109" fmla="*/ 22574 h 1359693"/>
                <a:gd name="connsiteX110" fmla="*/ 5851398 w 8071103"/>
                <a:gd name="connsiteY110" fmla="*/ 646081 h 1359693"/>
                <a:gd name="connsiteX111" fmla="*/ 5870162 w 8071103"/>
                <a:gd name="connsiteY111" fmla="*/ 811340 h 1359693"/>
                <a:gd name="connsiteX112" fmla="*/ 5902071 w 8071103"/>
                <a:gd name="connsiteY112" fmla="*/ 811340 h 1359693"/>
                <a:gd name="connsiteX113" fmla="*/ 5881402 w 8071103"/>
                <a:gd name="connsiteY113" fmla="*/ 646081 h 1359693"/>
                <a:gd name="connsiteX114" fmla="*/ 5881402 w 8071103"/>
                <a:gd name="connsiteY114" fmla="*/ 22574 h 1359693"/>
                <a:gd name="connsiteX115" fmla="*/ 6118003 w 8071103"/>
                <a:gd name="connsiteY115" fmla="*/ 22574 h 1359693"/>
                <a:gd name="connsiteX116" fmla="*/ 6118003 w 8071103"/>
                <a:gd name="connsiteY116" fmla="*/ 1337215 h 1359693"/>
                <a:gd name="connsiteX117" fmla="*/ 5847588 w 8071103"/>
                <a:gd name="connsiteY117" fmla="*/ 1337215 h 1359693"/>
                <a:gd name="connsiteX118" fmla="*/ 5712333 w 8071103"/>
                <a:gd name="connsiteY118" fmla="*/ 713708 h 1359693"/>
                <a:gd name="connsiteX119" fmla="*/ 5691664 w 8071103"/>
                <a:gd name="connsiteY119" fmla="*/ 548450 h 1359693"/>
                <a:gd name="connsiteX120" fmla="*/ 5659755 w 8071103"/>
                <a:gd name="connsiteY120" fmla="*/ 548450 h 1359693"/>
                <a:gd name="connsiteX121" fmla="*/ 5680424 w 8071103"/>
                <a:gd name="connsiteY121" fmla="*/ 713708 h 1359693"/>
                <a:gd name="connsiteX122" fmla="*/ 5680424 w 8071103"/>
                <a:gd name="connsiteY122" fmla="*/ 1337215 h 1359693"/>
                <a:gd name="connsiteX123" fmla="*/ 5443823 w 8071103"/>
                <a:gd name="connsiteY123" fmla="*/ 1337215 h 1359693"/>
                <a:gd name="connsiteX124" fmla="*/ 5443823 w 8071103"/>
                <a:gd name="connsiteY124" fmla="*/ 22574 h 1359693"/>
                <a:gd name="connsiteX125" fmla="*/ 6273832 w 8071103"/>
                <a:gd name="connsiteY125" fmla="*/ 22574 h 1359693"/>
                <a:gd name="connsiteX126" fmla="*/ 6720840 w 8071103"/>
                <a:gd name="connsiteY126" fmla="*/ 22574 h 1359693"/>
                <a:gd name="connsiteX127" fmla="*/ 6720840 w 8071103"/>
                <a:gd name="connsiteY127" fmla="*/ 238601 h 1359693"/>
                <a:gd name="connsiteX128" fmla="*/ 6510528 w 8071103"/>
                <a:gd name="connsiteY128" fmla="*/ 238601 h 1359693"/>
                <a:gd name="connsiteX129" fmla="*/ 6510528 w 8071103"/>
                <a:gd name="connsiteY129" fmla="*/ 565404 h 1359693"/>
                <a:gd name="connsiteX130" fmla="*/ 6700172 w 8071103"/>
                <a:gd name="connsiteY130" fmla="*/ 565404 h 1359693"/>
                <a:gd name="connsiteX131" fmla="*/ 6700172 w 8071103"/>
                <a:gd name="connsiteY131" fmla="*/ 775716 h 1359693"/>
                <a:gd name="connsiteX132" fmla="*/ 6510528 w 8071103"/>
                <a:gd name="connsiteY132" fmla="*/ 775716 h 1359693"/>
                <a:gd name="connsiteX133" fmla="*/ 6510528 w 8071103"/>
                <a:gd name="connsiteY133" fmla="*/ 1121283 h 1359693"/>
                <a:gd name="connsiteX134" fmla="*/ 6720840 w 8071103"/>
                <a:gd name="connsiteY134" fmla="*/ 1121283 h 1359693"/>
                <a:gd name="connsiteX135" fmla="*/ 6720840 w 8071103"/>
                <a:gd name="connsiteY135" fmla="*/ 1337215 h 1359693"/>
                <a:gd name="connsiteX136" fmla="*/ 6273832 w 8071103"/>
                <a:gd name="connsiteY136" fmla="*/ 1337215 h 1359693"/>
                <a:gd name="connsiteX137" fmla="*/ 6273832 w 8071103"/>
                <a:gd name="connsiteY137" fmla="*/ 22574 h 1359693"/>
                <a:gd name="connsiteX138" fmla="*/ 6846665 w 8071103"/>
                <a:gd name="connsiteY138" fmla="*/ 1074230 h 1359693"/>
                <a:gd name="connsiteX139" fmla="*/ 6846665 w 8071103"/>
                <a:gd name="connsiteY139" fmla="*/ 283559 h 1359693"/>
                <a:gd name="connsiteX140" fmla="*/ 7154704 w 8071103"/>
                <a:gd name="connsiteY140" fmla="*/ 0 h 1359693"/>
                <a:gd name="connsiteX141" fmla="*/ 7462742 w 8071103"/>
                <a:gd name="connsiteY141" fmla="*/ 283559 h 1359693"/>
                <a:gd name="connsiteX142" fmla="*/ 7462742 w 8071103"/>
                <a:gd name="connsiteY142" fmla="*/ 557784 h 1359693"/>
                <a:gd name="connsiteX143" fmla="*/ 7226142 w 8071103"/>
                <a:gd name="connsiteY143" fmla="*/ 557784 h 1359693"/>
                <a:gd name="connsiteX144" fmla="*/ 7226142 w 8071103"/>
                <a:gd name="connsiteY144" fmla="*/ 285464 h 1359693"/>
                <a:gd name="connsiteX145" fmla="*/ 7154800 w 8071103"/>
                <a:gd name="connsiteY145" fmla="*/ 215932 h 1359693"/>
                <a:gd name="connsiteX146" fmla="*/ 7083457 w 8071103"/>
                <a:gd name="connsiteY146" fmla="*/ 285464 h 1359693"/>
                <a:gd name="connsiteX147" fmla="*/ 7083457 w 8071103"/>
                <a:gd name="connsiteY147" fmla="*/ 1074230 h 1359693"/>
                <a:gd name="connsiteX148" fmla="*/ 7154800 w 8071103"/>
                <a:gd name="connsiteY148" fmla="*/ 1143667 h 1359693"/>
                <a:gd name="connsiteX149" fmla="*/ 7226142 w 8071103"/>
                <a:gd name="connsiteY149" fmla="*/ 1074230 h 1359693"/>
                <a:gd name="connsiteX150" fmla="*/ 7226142 w 8071103"/>
                <a:gd name="connsiteY150" fmla="*/ 783146 h 1359693"/>
                <a:gd name="connsiteX151" fmla="*/ 7462742 w 8071103"/>
                <a:gd name="connsiteY151" fmla="*/ 783146 h 1359693"/>
                <a:gd name="connsiteX152" fmla="*/ 7462742 w 8071103"/>
                <a:gd name="connsiteY152" fmla="*/ 1074230 h 1359693"/>
                <a:gd name="connsiteX153" fmla="*/ 7154704 w 8071103"/>
                <a:gd name="connsiteY153" fmla="*/ 1359694 h 1359693"/>
                <a:gd name="connsiteX154" fmla="*/ 6846665 w 8071103"/>
                <a:gd name="connsiteY154" fmla="*/ 1074230 h 1359693"/>
                <a:gd name="connsiteX155" fmla="*/ 7699248 w 8071103"/>
                <a:gd name="connsiteY155" fmla="*/ 238506 h 1359693"/>
                <a:gd name="connsiteX156" fmla="*/ 7563993 w 8071103"/>
                <a:gd name="connsiteY156" fmla="*/ 238506 h 1359693"/>
                <a:gd name="connsiteX157" fmla="*/ 7563993 w 8071103"/>
                <a:gd name="connsiteY157" fmla="*/ 22479 h 1359693"/>
                <a:gd name="connsiteX158" fmla="*/ 8071104 w 8071103"/>
                <a:gd name="connsiteY158" fmla="*/ 22479 h 1359693"/>
                <a:gd name="connsiteX159" fmla="*/ 8071104 w 8071103"/>
                <a:gd name="connsiteY159" fmla="*/ 238506 h 1359693"/>
                <a:gd name="connsiteX160" fmla="*/ 7935850 w 8071103"/>
                <a:gd name="connsiteY160" fmla="*/ 238506 h 1359693"/>
                <a:gd name="connsiteX161" fmla="*/ 7935850 w 8071103"/>
                <a:gd name="connsiteY161" fmla="*/ 1337120 h 1359693"/>
                <a:gd name="connsiteX162" fmla="*/ 7699248 w 8071103"/>
                <a:gd name="connsiteY162" fmla="*/ 1337120 h 1359693"/>
                <a:gd name="connsiteX163" fmla="*/ 7699248 w 8071103"/>
                <a:gd name="connsiteY163" fmla="*/ 238506 h 1359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8071103" h="1359693">
                  <a:moveTo>
                    <a:pt x="0" y="1074230"/>
                  </a:moveTo>
                  <a:lnTo>
                    <a:pt x="0" y="283559"/>
                  </a:lnTo>
                  <a:cubicBezTo>
                    <a:pt x="0" y="114490"/>
                    <a:pt x="123920" y="0"/>
                    <a:pt x="308038" y="0"/>
                  </a:cubicBezTo>
                  <a:cubicBezTo>
                    <a:pt x="492157" y="0"/>
                    <a:pt x="616077" y="114586"/>
                    <a:pt x="616077" y="283559"/>
                  </a:cubicBezTo>
                  <a:lnTo>
                    <a:pt x="616077" y="557784"/>
                  </a:lnTo>
                  <a:lnTo>
                    <a:pt x="379476" y="557784"/>
                  </a:lnTo>
                  <a:lnTo>
                    <a:pt x="379476" y="285464"/>
                  </a:lnTo>
                  <a:cubicBezTo>
                    <a:pt x="379476" y="242316"/>
                    <a:pt x="351282" y="215932"/>
                    <a:pt x="308134" y="215932"/>
                  </a:cubicBezTo>
                  <a:cubicBezTo>
                    <a:pt x="264986" y="215932"/>
                    <a:pt x="236791" y="242221"/>
                    <a:pt x="236791" y="285464"/>
                  </a:cubicBezTo>
                  <a:lnTo>
                    <a:pt x="236791" y="1074230"/>
                  </a:lnTo>
                  <a:cubicBezTo>
                    <a:pt x="236791" y="1117378"/>
                    <a:pt x="264986" y="1143667"/>
                    <a:pt x="308134" y="1143667"/>
                  </a:cubicBezTo>
                  <a:cubicBezTo>
                    <a:pt x="351282" y="1143667"/>
                    <a:pt x="379476" y="1117378"/>
                    <a:pt x="379476" y="1074230"/>
                  </a:cubicBezTo>
                  <a:lnTo>
                    <a:pt x="379476" y="783146"/>
                  </a:lnTo>
                  <a:lnTo>
                    <a:pt x="616077" y="783146"/>
                  </a:lnTo>
                  <a:lnTo>
                    <a:pt x="616077" y="1074230"/>
                  </a:lnTo>
                  <a:cubicBezTo>
                    <a:pt x="616077" y="1245108"/>
                    <a:pt x="492157" y="1359694"/>
                    <a:pt x="308038" y="1359694"/>
                  </a:cubicBezTo>
                  <a:cubicBezTo>
                    <a:pt x="123920" y="1359694"/>
                    <a:pt x="0" y="1245108"/>
                    <a:pt x="0" y="1074230"/>
                  </a:cubicBezTo>
                  <a:close/>
                  <a:moveTo>
                    <a:pt x="762476" y="22574"/>
                  </a:moveTo>
                  <a:lnTo>
                    <a:pt x="999077" y="22574"/>
                  </a:lnTo>
                  <a:lnTo>
                    <a:pt x="999077" y="1121283"/>
                  </a:lnTo>
                  <a:lnTo>
                    <a:pt x="1198150" y="1121283"/>
                  </a:lnTo>
                  <a:lnTo>
                    <a:pt x="1198150" y="1337215"/>
                  </a:lnTo>
                  <a:lnTo>
                    <a:pt x="762476" y="1337215"/>
                  </a:lnTo>
                  <a:lnTo>
                    <a:pt x="762476" y="22574"/>
                  </a:lnTo>
                  <a:close/>
                  <a:moveTo>
                    <a:pt x="1293971" y="1074230"/>
                  </a:moveTo>
                  <a:lnTo>
                    <a:pt x="1293971" y="22479"/>
                  </a:lnTo>
                  <a:lnTo>
                    <a:pt x="1530572" y="22479"/>
                  </a:lnTo>
                  <a:lnTo>
                    <a:pt x="1530572" y="1074230"/>
                  </a:lnTo>
                  <a:cubicBezTo>
                    <a:pt x="1530572" y="1117378"/>
                    <a:pt x="1558766" y="1143667"/>
                    <a:pt x="1600105" y="1143667"/>
                  </a:cubicBezTo>
                  <a:cubicBezTo>
                    <a:pt x="1641443" y="1143667"/>
                    <a:pt x="1671447" y="1117378"/>
                    <a:pt x="1671447" y="1074230"/>
                  </a:cubicBezTo>
                  <a:lnTo>
                    <a:pt x="1671447" y="22479"/>
                  </a:lnTo>
                  <a:lnTo>
                    <a:pt x="1908048" y="22479"/>
                  </a:lnTo>
                  <a:lnTo>
                    <a:pt x="1908048" y="1074230"/>
                  </a:lnTo>
                  <a:cubicBezTo>
                    <a:pt x="1908048" y="1245108"/>
                    <a:pt x="1784128" y="1359694"/>
                    <a:pt x="1600009" y="1359694"/>
                  </a:cubicBezTo>
                  <a:cubicBezTo>
                    <a:pt x="1415891" y="1359694"/>
                    <a:pt x="1293876" y="1245108"/>
                    <a:pt x="1293876" y="1074230"/>
                  </a:cubicBezTo>
                  <a:close/>
                  <a:moveTo>
                    <a:pt x="2060162" y="22574"/>
                  </a:moveTo>
                  <a:lnTo>
                    <a:pt x="2394490" y="22574"/>
                  </a:lnTo>
                  <a:cubicBezTo>
                    <a:pt x="2561654" y="22574"/>
                    <a:pt x="2674335" y="125921"/>
                    <a:pt x="2674335" y="279844"/>
                  </a:cubicBezTo>
                  <a:lnTo>
                    <a:pt x="2674335" y="458248"/>
                  </a:lnTo>
                  <a:cubicBezTo>
                    <a:pt x="2674335" y="537115"/>
                    <a:pt x="2638616" y="617887"/>
                    <a:pt x="2565369" y="651701"/>
                  </a:cubicBezTo>
                  <a:lnTo>
                    <a:pt x="2565369" y="662940"/>
                  </a:lnTo>
                  <a:cubicBezTo>
                    <a:pt x="2644235" y="696754"/>
                    <a:pt x="2685574" y="781240"/>
                    <a:pt x="2685574" y="865727"/>
                  </a:cubicBezTo>
                  <a:lnTo>
                    <a:pt x="2685574" y="1079849"/>
                  </a:lnTo>
                  <a:cubicBezTo>
                    <a:pt x="2685574" y="1233869"/>
                    <a:pt x="2574798" y="1337120"/>
                    <a:pt x="2405729" y="1337120"/>
                  </a:cubicBezTo>
                  <a:lnTo>
                    <a:pt x="2060162" y="1337120"/>
                  </a:lnTo>
                  <a:lnTo>
                    <a:pt x="2060162" y="22574"/>
                  </a:lnTo>
                  <a:close/>
                  <a:moveTo>
                    <a:pt x="2296763" y="238506"/>
                  </a:moveTo>
                  <a:lnTo>
                    <a:pt x="2296763" y="569024"/>
                  </a:lnTo>
                  <a:lnTo>
                    <a:pt x="2366296" y="569024"/>
                  </a:lnTo>
                  <a:cubicBezTo>
                    <a:pt x="2409444" y="569024"/>
                    <a:pt x="2437638" y="540830"/>
                    <a:pt x="2437638" y="497681"/>
                  </a:cubicBezTo>
                  <a:lnTo>
                    <a:pt x="2437638" y="307943"/>
                  </a:lnTo>
                  <a:cubicBezTo>
                    <a:pt x="2437638" y="264795"/>
                    <a:pt x="2409444" y="238506"/>
                    <a:pt x="2366296" y="238506"/>
                  </a:cubicBezTo>
                  <a:lnTo>
                    <a:pt x="2296763" y="238506"/>
                  </a:lnTo>
                  <a:close/>
                  <a:moveTo>
                    <a:pt x="2296763" y="770001"/>
                  </a:moveTo>
                  <a:lnTo>
                    <a:pt x="2296763" y="1121188"/>
                  </a:lnTo>
                  <a:lnTo>
                    <a:pt x="2379440" y="1121188"/>
                  </a:lnTo>
                  <a:cubicBezTo>
                    <a:pt x="2420779" y="1121188"/>
                    <a:pt x="2448973" y="1094899"/>
                    <a:pt x="2448973" y="1051655"/>
                  </a:cubicBezTo>
                  <a:lnTo>
                    <a:pt x="2448973" y="841343"/>
                  </a:lnTo>
                  <a:cubicBezTo>
                    <a:pt x="2448973" y="798195"/>
                    <a:pt x="2420779" y="770001"/>
                    <a:pt x="2379440" y="770001"/>
                  </a:cubicBezTo>
                  <a:lnTo>
                    <a:pt x="2296763" y="770001"/>
                  </a:lnTo>
                  <a:close/>
                  <a:moveTo>
                    <a:pt x="3094482" y="1074230"/>
                  </a:moveTo>
                  <a:lnTo>
                    <a:pt x="3094482" y="283559"/>
                  </a:lnTo>
                  <a:cubicBezTo>
                    <a:pt x="3094482" y="114490"/>
                    <a:pt x="3218403" y="0"/>
                    <a:pt x="3402520" y="0"/>
                  </a:cubicBezTo>
                  <a:cubicBezTo>
                    <a:pt x="3586639" y="0"/>
                    <a:pt x="3710559" y="114586"/>
                    <a:pt x="3710559" y="283559"/>
                  </a:cubicBezTo>
                  <a:lnTo>
                    <a:pt x="3710559" y="557784"/>
                  </a:lnTo>
                  <a:lnTo>
                    <a:pt x="3473958" y="557784"/>
                  </a:lnTo>
                  <a:lnTo>
                    <a:pt x="3473958" y="285464"/>
                  </a:lnTo>
                  <a:cubicBezTo>
                    <a:pt x="3473958" y="242316"/>
                    <a:pt x="3445764" y="215932"/>
                    <a:pt x="3402616" y="215932"/>
                  </a:cubicBezTo>
                  <a:cubicBezTo>
                    <a:pt x="3359468" y="215932"/>
                    <a:pt x="3331274" y="242221"/>
                    <a:pt x="3331274" y="285464"/>
                  </a:cubicBezTo>
                  <a:lnTo>
                    <a:pt x="3331274" y="1074230"/>
                  </a:lnTo>
                  <a:cubicBezTo>
                    <a:pt x="3331274" y="1117378"/>
                    <a:pt x="3359468" y="1143667"/>
                    <a:pt x="3402616" y="1143667"/>
                  </a:cubicBezTo>
                  <a:cubicBezTo>
                    <a:pt x="3445764" y="1143667"/>
                    <a:pt x="3473958" y="1117378"/>
                    <a:pt x="3473958" y="1074230"/>
                  </a:cubicBezTo>
                  <a:lnTo>
                    <a:pt x="3473958" y="783146"/>
                  </a:lnTo>
                  <a:lnTo>
                    <a:pt x="3710559" y="783146"/>
                  </a:lnTo>
                  <a:lnTo>
                    <a:pt x="3710559" y="1074230"/>
                  </a:lnTo>
                  <a:cubicBezTo>
                    <a:pt x="3710559" y="1245108"/>
                    <a:pt x="3586639" y="1359694"/>
                    <a:pt x="3402520" y="1359694"/>
                  </a:cubicBezTo>
                  <a:cubicBezTo>
                    <a:pt x="3218403" y="1359694"/>
                    <a:pt x="3094482" y="1245108"/>
                    <a:pt x="3094482" y="1074230"/>
                  </a:cubicBezTo>
                  <a:close/>
                  <a:moveTo>
                    <a:pt x="3849434" y="1074230"/>
                  </a:moveTo>
                  <a:lnTo>
                    <a:pt x="3849434" y="283559"/>
                  </a:lnTo>
                  <a:cubicBezTo>
                    <a:pt x="3849434" y="114490"/>
                    <a:pt x="3973354" y="0"/>
                    <a:pt x="4157472" y="0"/>
                  </a:cubicBezTo>
                  <a:cubicBezTo>
                    <a:pt x="4341590" y="0"/>
                    <a:pt x="4465511" y="114586"/>
                    <a:pt x="4465511" y="283559"/>
                  </a:cubicBezTo>
                  <a:lnTo>
                    <a:pt x="4465511" y="1074230"/>
                  </a:lnTo>
                  <a:cubicBezTo>
                    <a:pt x="4465511" y="1245108"/>
                    <a:pt x="4341590" y="1359694"/>
                    <a:pt x="4157472" y="1359694"/>
                  </a:cubicBezTo>
                  <a:cubicBezTo>
                    <a:pt x="3973354" y="1359694"/>
                    <a:pt x="3849434" y="1245108"/>
                    <a:pt x="3849434" y="1074230"/>
                  </a:cubicBezTo>
                  <a:close/>
                  <a:moveTo>
                    <a:pt x="4228814" y="1074230"/>
                  </a:moveTo>
                  <a:lnTo>
                    <a:pt x="4228814" y="285464"/>
                  </a:lnTo>
                  <a:cubicBezTo>
                    <a:pt x="4228814" y="242316"/>
                    <a:pt x="4200621" y="215932"/>
                    <a:pt x="4157472" y="215932"/>
                  </a:cubicBezTo>
                  <a:cubicBezTo>
                    <a:pt x="4114324" y="215932"/>
                    <a:pt x="4086130" y="242221"/>
                    <a:pt x="4086130" y="285464"/>
                  </a:cubicBezTo>
                  <a:lnTo>
                    <a:pt x="4086130" y="1074230"/>
                  </a:lnTo>
                  <a:cubicBezTo>
                    <a:pt x="4086130" y="1117378"/>
                    <a:pt x="4114324" y="1143667"/>
                    <a:pt x="4157472" y="1143667"/>
                  </a:cubicBezTo>
                  <a:cubicBezTo>
                    <a:pt x="4200621" y="1143667"/>
                    <a:pt x="4228814" y="1117378"/>
                    <a:pt x="4228814" y="1074230"/>
                  </a:cubicBezTo>
                  <a:close/>
                  <a:moveTo>
                    <a:pt x="4613720" y="22574"/>
                  </a:moveTo>
                  <a:lnTo>
                    <a:pt x="4886039" y="22574"/>
                  </a:lnTo>
                  <a:lnTo>
                    <a:pt x="5021294" y="646081"/>
                  </a:lnTo>
                  <a:lnTo>
                    <a:pt x="5040059" y="811340"/>
                  </a:lnTo>
                  <a:lnTo>
                    <a:pt x="5071967" y="811340"/>
                  </a:lnTo>
                  <a:lnTo>
                    <a:pt x="5051298" y="646081"/>
                  </a:lnTo>
                  <a:lnTo>
                    <a:pt x="5051298" y="22574"/>
                  </a:lnTo>
                  <a:lnTo>
                    <a:pt x="5287899" y="22574"/>
                  </a:lnTo>
                  <a:lnTo>
                    <a:pt x="5287899" y="1337215"/>
                  </a:lnTo>
                  <a:lnTo>
                    <a:pt x="5017485" y="1337215"/>
                  </a:lnTo>
                  <a:lnTo>
                    <a:pt x="4882230" y="713708"/>
                  </a:lnTo>
                  <a:lnTo>
                    <a:pt x="4861560" y="548450"/>
                  </a:lnTo>
                  <a:lnTo>
                    <a:pt x="4829651" y="548450"/>
                  </a:lnTo>
                  <a:lnTo>
                    <a:pt x="4850320" y="713708"/>
                  </a:lnTo>
                  <a:lnTo>
                    <a:pt x="4850320" y="1337215"/>
                  </a:lnTo>
                  <a:lnTo>
                    <a:pt x="4613720" y="1337215"/>
                  </a:lnTo>
                  <a:lnTo>
                    <a:pt x="4613720" y="22574"/>
                  </a:lnTo>
                  <a:close/>
                  <a:moveTo>
                    <a:pt x="5443823" y="22574"/>
                  </a:moveTo>
                  <a:lnTo>
                    <a:pt x="5716143" y="22574"/>
                  </a:lnTo>
                  <a:lnTo>
                    <a:pt x="5851398" y="646081"/>
                  </a:lnTo>
                  <a:lnTo>
                    <a:pt x="5870162" y="811340"/>
                  </a:lnTo>
                  <a:lnTo>
                    <a:pt x="5902071" y="811340"/>
                  </a:lnTo>
                  <a:lnTo>
                    <a:pt x="5881402" y="646081"/>
                  </a:lnTo>
                  <a:lnTo>
                    <a:pt x="5881402" y="22574"/>
                  </a:lnTo>
                  <a:lnTo>
                    <a:pt x="6118003" y="22574"/>
                  </a:lnTo>
                  <a:lnTo>
                    <a:pt x="6118003" y="1337215"/>
                  </a:lnTo>
                  <a:lnTo>
                    <a:pt x="5847588" y="1337215"/>
                  </a:lnTo>
                  <a:lnTo>
                    <a:pt x="5712333" y="713708"/>
                  </a:lnTo>
                  <a:lnTo>
                    <a:pt x="5691664" y="548450"/>
                  </a:lnTo>
                  <a:lnTo>
                    <a:pt x="5659755" y="548450"/>
                  </a:lnTo>
                  <a:lnTo>
                    <a:pt x="5680424" y="713708"/>
                  </a:lnTo>
                  <a:lnTo>
                    <a:pt x="5680424" y="1337215"/>
                  </a:lnTo>
                  <a:lnTo>
                    <a:pt x="5443823" y="1337215"/>
                  </a:lnTo>
                  <a:lnTo>
                    <a:pt x="5443823" y="22574"/>
                  </a:lnTo>
                  <a:close/>
                  <a:moveTo>
                    <a:pt x="6273832" y="22574"/>
                  </a:moveTo>
                  <a:lnTo>
                    <a:pt x="6720840" y="22574"/>
                  </a:lnTo>
                  <a:lnTo>
                    <a:pt x="6720840" y="238601"/>
                  </a:lnTo>
                  <a:lnTo>
                    <a:pt x="6510528" y="238601"/>
                  </a:lnTo>
                  <a:lnTo>
                    <a:pt x="6510528" y="565404"/>
                  </a:lnTo>
                  <a:lnTo>
                    <a:pt x="6700172" y="565404"/>
                  </a:lnTo>
                  <a:lnTo>
                    <a:pt x="6700172" y="775716"/>
                  </a:lnTo>
                  <a:lnTo>
                    <a:pt x="6510528" y="775716"/>
                  </a:lnTo>
                  <a:lnTo>
                    <a:pt x="6510528" y="1121283"/>
                  </a:lnTo>
                  <a:lnTo>
                    <a:pt x="6720840" y="1121283"/>
                  </a:lnTo>
                  <a:lnTo>
                    <a:pt x="6720840" y="1337215"/>
                  </a:lnTo>
                  <a:lnTo>
                    <a:pt x="6273832" y="1337215"/>
                  </a:lnTo>
                  <a:lnTo>
                    <a:pt x="6273832" y="22574"/>
                  </a:lnTo>
                  <a:close/>
                  <a:moveTo>
                    <a:pt x="6846665" y="1074230"/>
                  </a:moveTo>
                  <a:lnTo>
                    <a:pt x="6846665" y="283559"/>
                  </a:lnTo>
                  <a:cubicBezTo>
                    <a:pt x="6846665" y="114490"/>
                    <a:pt x="6970585" y="0"/>
                    <a:pt x="7154704" y="0"/>
                  </a:cubicBezTo>
                  <a:cubicBezTo>
                    <a:pt x="7338822" y="0"/>
                    <a:pt x="7462742" y="114586"/>
                    <a:pt x="7462742" y="283559"/>
                  </a:cubicBezTo>
                  <a:lnTo>
                    <a:pt x="7462742" y="557784"/>
                  </a:lnTo>
                  <a:lnTo>
                    <a:pt x="7226142" y="557784"/>
                  </a:lnTo>
                  <a:lnTo>
                    <a:pt x="7226142" y="285464"/>
                  </a:lnTo>
                  <a:cubicBezTo>
                    <a:pt x="7226142" y="242316"/>
                    <a:pt x="7197947" y="215932"/>
                    <a:pt x="7154800" y="215932"/>
                  </a:cubicBezTo>
                  <a:cubicBezTo>
                    <a:pt x="7111651" y="215932"/>
                    <a:pt x="7083457" y="242221"/>
                    <a:pt x="7083457" y="285464"/>
                  </a:cubicBezTo>
                  <a:lnTo>
                    <a:pt x="7083457" y="1074230"/>
                  </a:lnTo>
                  <a:cubicBezTo>
                    <a:pt x="7083457" y="1117378"/>
                    <a:pt x="7111651" y="1143667"/>
                    <a:pt x="7154800" y="1143667"/>
                  </a:cubicBezTo>
                  <a:cubicBezTo>
                    <a:pt x="7197947" y="1143667"/>
                    <a:pt x="7226142" y="1117378"/>
                    <a:pt x="7226142" y="1074230"/>
                  </a:cubicBezTo>
                  <a:lnTo>
                    <a:pt x="7226142" y="783146"/>
                  </a:lnTo>
                  <a:lnTo>
                    <a:pt x="7462742" y="783146"/>
                  </a:lnTo>
                  <a:lnTo>
                    <a:pt x="7462742" y="1074230"/>
                  </a:lnTo>
                  <a:cubicBezTo>
                    <a:pt x="7462742" y="1245108"/>
                    <a:pt x="7338822" y="1359694"/>
                    <a:pt x="7154704" y="1359694"/>
                  </a:cubicBezTo>
                  <a:cubicBezTo>
                    <a:pt x="6970585" y="1359694"/>
                    <a:pt x="6846665" y="1245108"/>
                    <a:pt x="6846665" y="1074230"/>
                  </a:cubicBezTo>
                  <a:close/>
                  <a:moveTo>
                    <a:pt x="7699248" y="238506"/>
                  </a:moveTo>
                  <a:lnTo>
                    <a:pt x="7563993" y="238506"/>
                  </a:lnTo>
                  <a:lnTo>
                    <a:pt x="7563993" y="22479"/>
                  </a:lnTo>
                  <a:lnTo>
                    <a:pt x="8071104" y="22479"/>
                  </a:lnTo>
                  <a:lnTo>
                    <a:pt x="8071104" y="238506"/>
                  </a:lnTo>
                  <a:lnTo>
                    <a:pt x="7935850" y="238506"/>
                  </a:lnTo>
                  <a:lnTo>
                    <a:pt x="7935850" y="1337120"/>
                  </a:lnTo>
                  <a:lnTo>
                    <a:pt x="7699248" y="1337120"/>
                  </a:lnTo>
                  <a:lnTo>
                    <a:pt x="7699248" y="238506"/>
                  </a:lnTo>
                  <a:close/>
                </a:path>
              </a:pathLst>
            </a:custGeom>
            <a:solidFill>
              <a:schemeClr val="accent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D16952B7-76B3-9039-7B85-DF839C71E534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389563" y="3124569"/>
            <a:ext cx="377825" cy="503883"/>
          </a:xfrm>
        </p:spPr>
        <p:txBody>
          <a:bodyPr anchor="t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02FAE3C4-C2C5-937F-3F04-D710C99FF326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874097" y="3124569"/>
            <a:ext cx="3667384" cy="503883"/>
          </a:xfrm>
        </p:spPr>
        <p:txBody>
          <a:bodyPr anchor="t"/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agenda item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70A2D1BF-4382-9A9E-A7E8-DEE7403015E7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5389563" y="3811292"/>
            <a:ext cx="377825" cy="503883"/>
          </a:xfrm>
        </p:spPr>
        <p:txBody>
          <a:bodyPr anchor="t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D2FFF851-3774-27C6-458F-048869D6CF8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5874097" y="3811292"/>
            <a:ext cx="3667384" cy="503883"/>
          </a:xfrm>
        </p:spPr>
        <p:txBody>
          <a:bodyPr anchor="t"/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agenda item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96A1F33F-8127-5F40-66C2-B1B63C8CBC41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5389563" y="4498015"/>
            <a:ext cx="377825" cy="503883"/>
          </a:xfrm>
        </p:spPr>
        <p:txBody>
          <a:bodyPr anchor="t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0101A589-7C98-8B3D-5082-459C96ADEEE5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5874097" y="4498015"/>
            <a:ext cx="3667384" cy="503883"/>
          </a:xfrm>
        </p:spPr>
        <p:txBody>
          <a:bodyPr anchor="t"/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agenda item</a:t>
            </a: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DB5FC561-3C8A-D4A3-48DC-AF7585B3268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5389563" y="5184739"/>
            <a:ext cx="377825" cy="503883"/>
          </a:xfrm>
        </p:spPr>
        <p:txBody>
          <a:bodyPr anchor="t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24CDD29F-6B86-F927-5CC9-CAEB0FDB2FEB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5874097" y="5184739"/>
            <a:ext cx="3667384" cy="503883"/>
          </a:xfrm>
        </p:spPr>
        <p:txBody>
          <a:bodyPr anchor="t"/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agenda item</a:t>
            </a:r>
          </a:p>
        </p:txBody>
      </p:sp>
    </p:spTree>
    <p:extLst>
      <p:ext uri="{BB962C8B-B14F-4D97-AF65-F5344CB8AC3E}">
        <p14:creationId xmlns:p14="http://schemas.microsoft.com/office/powerpoint/2010/main" val="1363245267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>
            <a:extLst>
              <a:ext uri="{FF2B5EF4-FFF2-40B4-BE49-F238E27FC236}">
                <a16:creationId xmlns:a16="http://schemas.microsoft.com/office/drawing/2014/main" id="{5F791553-AD78-2989-19F2-73993AC9B3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8A2BB3DE-833F-2017-F760-DDA95884D6BB}"/>
              </a:ext>
            </a:extLst>
          </p:cNvPr>
          <p:cNvSpPr/>
          <p:nvPr userDrawn="1"/>
        </p:nvSpPr>
        <p:spPr>
          <a:xfrm>
            <a:off x="0" y="0"/>
            <a:ext cx="9104243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73000">
                <a:schemeClr val="accent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F5DBD8C-E46F-EC93-4385-18B84A79C060}"/>
              </a:ext>
            </a:extLst>
          </p:cNvPr>
          <p:cNvGrpSpPr/>
          <p:nvPr userDrawn="1"/>
        </p:nvGrpSpPr>
        <p:grpSpPr>
          <a:xfrm>
            <a:off x="360363" y="357188"/>
            <a:ext cx="2108053" cy="519112"/>
            <a:chOff x="13749337" y="746575"/>
            <a:chExt cx="11277504" cy="2777109"/>
          </a:xfrm>
          <a:solidFill>
            <a:schemeClr val="bg1"/>
          </a:solidFill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C5E057CD-7723-22B1-7F71-6B2F18B7EBE7}"/>
                </a:ext>
              </a:extLst>
            </p:cNvPr>
            <p:cNvSpPr/>
            <p:nvPr/>
          </p:nvSpPr>
          <p:spPr>
            <a:xfrm>
              <a:off x="13749337" y="746575"/>
              <a:ext cx="5114450" cy="2777109"/>
            </a:xfrm>
            <a:custGeom>
              <a:avLst/>
              <a:gdLst>
                <a:gd name="connsiteX0" fmla="*/ 5080826 w 5114450"/>
                <a:gd name="connsiteY0" fmla="*/ 664559 h 2777109"/>
                <a:gd name="connsiteX1" fmla="*/ 5114450 w 5114450"/>
                <a:gd name="connsiteY1" fmla="*/ 952786 h 2777109"/>
                <a:gd name="connsiteX2" fmla="*/ 4924234 w 5114450"/>
                <a:gd name="connsiteY2" fmla="*/ 952786 h 2777109"/>
                <a:gd name="connsiteX3" fmla="*/ 4911662 w 5114450"/>
                <a:gd name="connsiteY3" fmla="*/ 812292 h 2777109"/>
                <a:gd name="connsiteX4" fmla="*/ 4562570 w 5114450"/>
                <a:gd name="connsiteY4" fmla="*/ 812292 h 2777109"/>
                <a:gd name="connsiteX5" fmla="*/ 4196906 w 5114450"/>
                <a:gd name="connsiteY5" fmla="*/ 972026 h 2777109"/>
                <a:gd name="connsiteX6" fmla="*/ 4047362 w 5114450"/>
                <a:gd name="connsiteY6" fmla="*/ 952786 h 2777109"/>
                <a:gd name="connsiteX7" fmla="*/ 5080826 w 5114450"/>
                <a:gd name="connsiteY7" fmla="*/ 664559 h 2777109"/>
                <a:gd name="connsiteX8" fmla="*/ 4833462 w 5114450"/>
                <a:gd name="connsiteY8" fmla="*/ 250221 h 2777109"/>
                <a:gd name="connsiteX9" fmla="*/ 5031866 w 5114450"/>
                <a:gd name="connsiteY9" fmla="*/ 250221 h 2777109"/>
                <a:gd name="connsiteX10" fmla="*/ 5076634 w 5114450"/>
                <a:gd name="connsiteY10" fmla="*/ 629697 h 2777109"/>
                <a:gd name="connsiteX11" fmla="*/ 4896516 w 5114450"/>
                <a:gd name="connsiteY11" fmla="*/ 650176 h 2777109"/>
                <a:gd name="connsiteX12" fmla="*/ 4876418 w 5114450"/>
                <a:gd name="connsiteY12" fmla="*/ 423767 h 2777109"/>
                <a:gd name="connsiteX13" fmla="*/ 4658010 w 5114450"/>
                <a:gd name="connsiteY13" fmla="*/ 693610 h 2777109"/>
                <a:gd name="connsiteX14" fmla="*/ 4657914 w 5114450"/>
                <a:gd name="connsiteY14" fmla="*/ 693610 h 2777109"/>
                <a:gd name="connsiteX15" fmla="*/ 4412456 w 5114450"/>
                <a:gd name="connsiteY15" fmla="*/ 758856 h 2777109"/>
                <a:gd name="connsiteX16" fmla="*/ 4833462 w 5114450"/>
                <a:gd name="connsiteY16" fmla="*/ 250221 h 2777109"/>
                <a:gd name="connsiteX17" fmla="*/ 4326922 w 5114450"/>
                <a:gd name="connsiteY17" fmla="*/ 232600 h 2777109"/>
                <a:gd name="connsiteX18" fmla="*/ 4614670 w 5114450"/>
                <a:gd name="connsiteY18" fmla="*/ 329279 h 2777109"/>
                <a:gd name="connsiteX19" fmla="*/ 4508658 w 5114450"/>
                <a:gd name="connsiteY19" fmla="*/ 460438 h 2777109"/>
                <a:gd name="connsiteX20" fmla="*/ 4508658 w 5114450"/>
                <a:gd name="connsiteY20" fmla="*/ 460533 h 2777109"/>
                <a:gd name="connsiteX21" fmla="*/ 4299298 w 5114450"/>
                <a:gd name="connsiteY21" fmla="*/ 376999 h 2777109"/>
                <a:gd name="connsiteX22" fmla="*/ 4010024 w 5114450"/>
                <a:gd name="connsiteY22" fmla="*/ 619887 h 2777109"/>
                <a:gd name="connsiteX23" fmla="*/ 4113466 w 5114450"/>
                <a:gd name="connsiteY23" fmla="*/ 811911 h 2777109"/>
                <a:gd name="connsiteX24" fmla="*/ 4215670 w 5114450"/>
                <a:gd name="connsiteY24" fmla="*/ 826484 h 2777109"/>
                <a:gd name="connsiteX25" fmla="*/ 3928300 w 5114450"/>
                <a:gd name="connsiteY25" fmla="*/ 952881 h 2777109"/>
                <a:gd name="connsiteX26" fmla="*/ 3206400 w 5114450"/>
                <a:gd name="connsiteY26" fmla="*/ 952881 h 2777109"/>
                <a:gd name="connsiteX27" fmla="*/ 3454336 w 5114450"/>
                <a:gd name="connsiteY27" fmla="*/ 250317 h 2777109"/>
                <a:gd name="connsiteX28" fmla="*/ 3987164 w 5114450"/>
                <a:gd name="connsiteY28" fmla="*/ 250317 h 2777109"/>
                <a:gd name="connsiteX29" fmla="*/ 3871626 w 5114450"/>
                <a:gd name="connsiteY29" fmla="*/ 390810 h 2777109"/>
                <a:gd name="connsiteX30" fmla="*/ 3587590 w 5114450"/>
                <a:gd name="connsiteY30" fmla="*/ 390810 h 2777109"/>
                <a:gd name="connsiteX31" fmla="*/ 3544156 w 5114450"/>
                <a:gd name="connsiteY31" fmla="*/ 513683 h 2777109"/>
                <a:gd name="connsiteX32" fmla="*/ 3770470 w 5114450"/>
                <a:gd name="connsiteY32" fmla="*/ 513683 h 2777109"/>
                <a:gd name="connsiteX33" fmla="*/ 3655122 w 5114450"/>
                <a:gd name="connsiteY33" fmla="*/ 653796 h 2777109"/>
                <a:gd name="connsiteX34" fmla="*/ 3494722 w 5114450"/>
                <a:gd name="connsiteY34" fmla="*/ 653796 h 2777109"/>
                <a:gd name="connsiteX35" fmla="*/ 3438810 w 5114450"/>
                <a:gd name="connsiteY35" fmla="*/ 812101 h 2777109"/>
                <a:gd name="connsiteX36" fmla="*/ 3873530 w 5114450"/>
                <a:gd name="connsiteY36" fmla="*/ 812101 h 2777109"/>
                <a:gd name="connsiteX37" fmla="*/ 3829430 w 5114450"/>
                <a:gd name="connsiteY37" fmla="*/ 629793 h 2777109"/>
                <a:gd name="connsiteX38" fmla="*/ 4326922 w 5114450"/>
                <a:gd name="connsiteY38" fmla="*/ 232600 h 2777109"/>
                <a:gd name="connsiteX39" fmla="*/ 1567529 w 5114450"/>
                <a:gd name="connsiteY39" fmla="*/ 0 h 2777109"/>
                <a:gd name="connsiteX40" fmla="*/ 2797397 w 5114450"/>
                <a:gd name="connsiteY40" fmla="*/ 1388555 h 2777109"/>
                <a:gd name="connsiteX41" fmla="*/ 1567529 w 5114450"/>
                <a:gd name="connsiteY41" fmla="*/ 2777109 h 2777109"/>
                <a:gd name="connsiteX42" fmla="*/ 1567529 w 5114450"/>
                <a:gd name="connsiteY42" fmla="*/ 2003965 h 2777109"/>
                <a:gd name="connsiteX43" fmla="*/ 2036921 w 5114450"/>
                <a:gd name="connsiteY43" fmla="*/ 1388555 h 2777109"/>
                <a:gd name="connsiteX44" fmla="*/ 1567529 w 5114450"/>
                <a:gd name="connsiteY44" fmla="*/ 773144 h 2777109"/>
                <a:gd name="connsiteX45" fmla="*/ 1229868 w 5114450"/>
                <a:gd name="connsiteY45" fmla="*/ 0 h 2777109"/>
                <a:gd name="connsiteX46" fmla="*/ 1229868 w 5114450"/>
                <a:gd name="connsiteY46" fmla="*/ 773144 h 2777109"/>
                <a:gd name="connsiteX47" fmla="*/ 760476 w 5114450"/>
                <a:gd name="connsiteY47" fmla="*/ 1388555 h 2777109"/>
                <a:gd name="connsiteX48" fmla="*/ 1229868 w 5114450"/>
                <a:gd name="connsiteY48" fmla="*/ 2003965 h 2777109"/>
                <a:gd name="connsiteX49" fmla="*/ 1229868 w 5114450"/>
                <a:gd name="connsiteY49" fmla="*/ 2777109 h 2777109"/>
                <a:gd name="connsiteX50" fmla="*/ 0 w 5114450"/>
                <a:gd name="connsiteY50" fmla="*/ 1388555 h 2777109"/>
                <a:gd name="connsiteX51" fmla="*/ 1229868 w 5114450"/>
                <a:gd name="connsiteY51" fmla="*/ 0 h 2777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114450" h="2777109">
                  <a:moveTo>
                    <a:pt x="5080826" y="664559"/>
                  </a:moveTo>
                  <a:lnTo>
                    <a:pt x="5114450" y="952786"/>
                  </a:lnTo>
                  <a:lnTo>
                    <a:pt x="4924234" y="952786"/>
                  </a:lnTo>
                  <a:cubicBezTo>
                    <a:pt x="4924234" y="952786"/>
                    <a:pt x="4911662" y="812292"/>
                    <a:pt x="4911662" y="812292"/>
                  </a:cubicBezTo>
                  <a:lnTo>
                    <a:pt x="4562570" y="812292"/>
                  </a:lnTo>
                  <a:cubicBezTo>
                    <a:pt x="4448746" y="938022"/>
                    <a:pt x="4354162" y="972026"/>
                    <a:pt x="4196906" y="972026"/>
                  </a:cubicBezTo>
                  <a:cubicBezTo>
                    <a:pt x="4140136" y="972026"/>
                    <a:pt x="4086892" y="965549"/>
                    <a:pt x="4047362" y="952786"/>
                  </a:cubicBezTo>
                  <a:cubicBezTo>
                    <a:pt x="4047362" y="952786"/>
                    <a:pt x="4500562" y="719233"/>
                    <a:pt x="5080826" y="664559"/>
                  </a:cubicBezTo>
                  <a:close/>
                  <a:moveTo>
                    <a:pt x="4833462" y="250221"/>
                  </a:moveTo>
                  <a:lnTo>
                    <a:pt x="5031866" y="250221"/>
                  </a:lnTo>
                  <a:lnTo>
                    <a:pt x="5076634" y="629697"/>
                  </a:lnTo>
                  <a:cubicBezTo>
                    <a:pt x="5016626" y="636079"/>
                    <a:pt x="4955094" y="641127"/>
                    <a:pt x="4896516" y="650176"/>
                  </a:cubicBezTo>
                  <a:lnTo>
                    <a:pt x="4876418" y="423767"/>
                  </a:lnTo>
                  <a:lnTo>
                    <a:pt x="4658010" y="693610"/>
                  </a:lnTo>
                  <a:lnTo>
                    <a:pt x="4657914" y="693610"/>
                  </a:lnTo>
                  <a:cubicBezTo>
                    <a:pt x="4574094" y="712470"/>
                    <a:pt x="4492274" y="734282"/>
                    <a:pt x="4412456" y="758856"/>
                  </a:cubicBezTo>
                  <a:cubicBezTo>
                    <a:pt x="4412456" y="758856"/>
                    <a:pt x="4833462" y="250221"/>
                    <a:pt x="4833462" y="250221"/>
                  </a:cubicBezTo>
                  <a:close/>
                  <a:moveTo>
                    <a:pt x="4326922" y="232600"/>
                  </a:moveTo>
                  <a:cubicBezTo>
                    <a:pt x="4449222" y="232600"/>
                    <a:pt x="4548090" y="269271"/>
                    <a:pt x="4614670" y="329279"/>
                  </a:cubicBezTo>
                  <a:lnTo>
                    <a:pt x="4508658" y="460438"/>
                  </a:lnTo>
                  <a:lnTo>
                    <a:pt x="4508658" y="460533"/>
                  </a:lnTo>
                  <a:cubicBezTo>
                    <a:pt x="4467130" y="414051"/>
                    <a:pt x="4383498" y="376999"/>
                    <a:pt x="4299298" y="376999"/>
                  </a:cubicBezTo>
                  <a:cubicBezTo>
                    <a:pt x="4128706" y="376999"/>
                    <a:pt x="4021930" y="498538"/>
                    <a:pt x="4010024" y="619887"/>
                  </a:cubicBezTo>
                  <a:cubicBezTo>
                    <a:pt x="3999928" y="723042"/>
                    <a:pt x="4035838" y="785241"/>
                    <a:pt x="4113466" y="811911"/>
                  </a:cubicBezTo>
                  <a:cubicBezTo>
                    <a:pt x="4156518" y="822769"/>
                    <a:pt x="4180902" y="825246"/>
                    <a:pt x="4215670" y="826484"/>
                  </a:cubicBezTo>
                  <a:cubicBezTo>
                    <a:pt x="4030408" y="898017"/>
                    <a:pt x="3928300" y="952881"/>
                    <a:pt x="3928300" y="952881"/>
                  </a:cubicBezTo>
                  <a:lnTo>
                    <a:pt x="3206400" y="952881"/>
                  </a:lnTo>
                  <a:cubicBezTo>
                    <a:pt x="3206400" y="952881"/>
                    <a:pt x="3454336" y="250317"/>
                    <a:pt x="3454336" y="250317"/>
                  </a:cubicBezTo>
                  <a:lnTo>
                    <a:pt x="3987164" y="250317"/>
                  </a:lnTo>
                  <a:cubicBezTo>
                    <a:pt x="3987164" y="250317"/>
                    <a:pt x="3871626" y="390810"/>
                    <a:pt x="3871626" y="390810"/>
                  </a:cubicBezTo>
                  <a:lnTo>
                    <a:pt x="3587590" y="390810"/>
                  </a:lnTo>
                  <a:cubicBezTo>
                    <a:pt x="3587590" y="390810"/>
                    <a:pt x="3544156" y="513683"/>
                    <a:pt x="3544156" y="513683"/>
                  </a:cubicBezTo>
                  <a:lnTo>
                    <a:pt x="3770470" y="513683"/>
                  </a:lnTo>
                  <a:cubicBezTo>
                    <a:pt x="3770470" y="513683"/>
                    <a:pt x="3655122" y="653796"/>
                    <a:pt x="3655122" y="653796"/>
                  </a:cubicBezTo>
                  <a:lnTo>
                    <a:pt x="3494722" y="653796"/>
                  </a:lnTo>
                  <a:cubicBezTo>
                    <a:pt x="3494722" y="653796"/>
                    <a:pt x="3438810" y="812101"/>
                    <a:pt x="3438810" y="812101"/>
                  </a:cubicBezTo>
                  <a:lnTo>
                    <a:pt x="3873530" y="812101"/>
                  </a:lnTo>
                  <a:cubicBezTo>
                    <a:pt x="3837336" y="752284"/>
                    <a:pt x="3826192" y="691610"/>
                    <a:pt x="3829430" y="629793"/>
                  </a:cubicBezTo>
                  <a:cubicBezTo>
                    <a:pt x="3840290" y="425481"/>
                    <a:pt x="4007454" y="232600"/>
                    <a:pt x="4326922" y="232600"/>
                  </a:cubicBezTo>
                  <a:close/>
                  <a:moveTo>
                    <a:pt x="1567529" y="0"/>
                  </a:moveTo>
                  <a:cubicBezTo>
                    <a:pt x="2260473" y="83344"/>
                    <a:pt x="2797397" y="673227"/>
                    <a:pt x="2797397" y="1388555"/>
                  </a:cubicBezTo>
                  <a:cubicBezTo>
                    <a:pt x="2797397" y="2103882"/>
                    <a:pt x="2260378" y="2693765"/>
                    <a:pt x="1567529" y="2777109"/>
                  </a:cubicBezTo>
                  <a:lnTo>
                    <a:pt x="1567529" y="2003965"/>
                  </a:lnTo>
                  <a:cubicBezTo>
                    <a:pt x="1837754" y="1929765"/>
                    <a:pt x="2036921" y="1682020"/>
                    <a:pt x="2036921" y="1388555"/>
                  </a:cubicBezTo>
                  <a:cubicBezTo>
                    <a:pt x="2036921" y="1095089"/>
                    <a:pt x="1837754" y="847344"/>
                    <a:pt x="1567529" y="773144"/>
                  </a:cubicBezTo>
                  <a:close/>
                  <a:moveTo>
                    <a:pt x="1229868" y="0"/>
                  </a:moveTo>
                  <a:lnTo>
                    <a:pt x="1229868" y="773144"/>
                  </a:lnTo>
                  <a:cubicBezTo>
                    <a:pt x="959644" y="847344"/>
                    <a:pt x="760476" y="1095089"/>
                    <a:pt x="760476" y="1388555"/>
                  </a:cubicBezTo>
                  <a:cubicBezTo>
                    <a:pt x="760476" y="1682020"/>
                    <a:pt x="959644" y="1929765"/>
                    <a:pt x="1229868" y="2003965"/>
                  </a:cubicBezTo>
                  <a:lnTo>
                    <a:pt x="1229868" y="2777109"/>
                  </a:lnTo>
                  <a:cubicBezTo>
                    <a:pt x="537020" y="2693765"/>
                    <a:pt x="0" y="2103882"/>
                    <a:pt x="0" y="1388555"/>
                  </a:cubicBezTo>
                  <a:cubicBezTo>
                    <a:pt x="0" y="673227"/>
                    <a:pt x="537020" y="83344"/>
                    <a:pt x="1229868" y="0"/>
                  </a:cubicBezTo>
                  <a:close/>
                </a:path>
              </a:pathLst>
            </a:custGeom>
            <a:solidFill>
              <a:schemeClr val="accent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17C37B81-1C6F-8760-3AD8-DA54D5A43929}"/>
                </a:ext>
              </a:extLst>
            </p:cNvPr>
            <p:cNvSpPr/>
            <p:nvPr/>
          </p:nvSpPr>
          <p:spPr>
            <a:xfrm>
              <a:off x="16955738" y="1931294"/>
              <a:ext cx="8071103" cy="1359693"/>
            </a:xfrm>
            <a:custGeom>
              <a:avLst/>
              <a:gdLst>
                <a:gd name="connsiteX0" fmla="*/ 0 w 8071103"/>
                <a:gd name="connsiteY0" fmla="*/ 1074230 h 1359693"/>
                <a:gd name="connsiteX1" fmla="*/ 0 w 8071103"/>
                <a:gd name="connsiteY1" fmla="*/ 283559 h 1359693"/>
                <a:gd name="connsiteX2" fmla="*/ 308038 w 8071103"/>
                <a:gd name="connsiteY2" fmla="*/ 0 h 1359693"/>
                <a:gd name="connsiteX3" fmla="*/ 616077 w 8071103"/>
                <a:gd name="connsiteY3" fmla="*/ 283559 h 1359693"/>
                <a:gd name="connsiteX4" fmla="*/ 616077 w 8071103"/>
                <a:gd name="connsiteY4" fmla="*/ 557784 h 1359693"/>
                <a:gd name="connsiteX5" fmla="*/ 379476 w 8071103"/>
                <a:gd name="connsiteY5" fmla="*/ 557784 h 1359693"/>
                <a:gd name="connsiteX6" fmla="*/ 379476 w 8071103"/>
                <a:gd name="connsiteY6" fmla="*/ 285464 h 1359693"/>
                <a:gd name="connsiteX7" fmla="*/ 308134 w 8071103"/>
                <a:gd name="connsiteY7" fmla="*/ 215932 h 1359693"/>
                <a:gd name="connsiteX8" fmla="*/ 236791 w 8071103"/>
                <a:gd name="connsiteY8" fmla="*/ 285464 h 1359693"/>
                <a:gd name="connsiteX9" fmla="*/ 236791 w 8071103"/>
                <a:gd name="connsiteY9" fmla="*/ 1074230 h 1359693"/>
                <a:gd name="connsiteX10" fmla="*/ 308134 w 8071103"/>
                <a:gd name="connsiteY10" fmla="*/ 1143667 h 1359693"/>
                <a:gd name="connsiteX11" fmla="*/ 379476 w 8071103"/>
                <a:gd name="connsiteY11" fmla="*/ 1074230 h 1359693"/>
                <a:gd name="connsiteX12" fmla="*/ 379476 w 8071103"/>
                <a:gd name="connsiteY12" fmla="*/ 783146 h 1359693"/>
                <a:gd name="connsiteX13" fmla="*/ 616077 w 8071103"/>
                <a:gd name="connsiteY13" fmla="*/ 783146 h 1359693"/>
                <a:gd name="connsiteX14" fmla="*/ 616077 w 8071103"/>
                <a:gd name="connsiteY14" fmla="*/ 1074230 h 1359693"/>
                <a:gd name="connsiteX15" fmla="*/ 308038 w 8071103"/>
                <a:gd name="connsiteY15" fmla="*/ 1359694 h 1359693"/>
                <a:gd name="connsiteX16" fmla="*/ 0 w 8071103"/>
                <a:gd name="connsiteY16" fmla="*/ 1074230 h 1359693"/>
                <a:gd name="connsiteX17" fmla="*/ 762476 w 8071103"/>
                <a:gd name="connsiteY17" fmla="*/ 22574 h 1359693"/>
                <a:gd name="connsiteX18" fmla="*/ 999077 w 8071103"/>
                <a:gd name="connsiteY18" fmla="*/ 22574 h 1359693"/>
                <a:gd name="connsiteX19" fmla="*/ 999077 w 8071103"/>
                <a:gd name="connsiteY19" fmla="*/ 1121283 h 1359693"/>
                <a:gd name="connsiteX20" fmla="*/ 1198150 w 8071103"/>
                <a:gd name="connsiteY20" fmla="*/ 1121283 h 1359693"/>
                <a:gd name="connsiteX21" fmla="*/ 1198150 w 8071103"/>
                <a:gd name="connsiteY21" fmla="*/ 1337215 h 1359693"/>
                <a:gd name="connsiteX22" fmla="*/ 762476 w 8071103"/>
                <a:gd name="connsiteY22" fmla="*/ 1337215 h 1359693"/>
                <a:gd name="connsiteX23" fmla="*/ 762476 w 8071103"/>
                <a:gd name="connsiteY23" fmla="*/ 22574 h 1359693"/>
                <a:gd name="connsiteX24" fmla="*/ 1293971 w 8071103"/>
                <a:gd name="connsiteY24" fmla="*/ 1074230 h 1359693"/>
                <a:gd name="connsiteX25" fmla="*/ 1293971 w 8071103"/>
                <a:gd name="connsiteY25" fmla="*/ 22479 h 1359693"/>
                <a:gd name="connsiteX26" fmla="*/ 1530572 w 8071103"/>
                <a:gd name="connsiteY26" fmla="*/ 22479 h 1359693"/>
                <a:gd name="connsiteX27" fmla="*/ 1530572 w 8071103"/>
                <a:gd name="connsiteY27" fmla="*/ 1074230 h 1359693"/>
                <a:gd name="connsiteX28" fmla="*/ 1600105 w 8071103"/>
                <a:gd name="connsiteY28" fmla="*/ 1143667 h 1359693"/>
                <a:gd name="connsiteX29" fmla="*/ 1671447 w 8071103"/>
                <a:gd name="connsiteY29" fmla="*/ 1074230 h 1359693"/>
                <a:gd name="connsiteX30" fmla="*/ 1671447 w 8071103"/>
                <a:gd name="connsiteY30" fmla="*/ 22479 h 1359693"/>
                <a:gd name="connsiteX31" fmla="*/ 1908048 w 8071103"/>
                <a:gd name="connsiteY31" fmla="*/ 22479 h 1359693"/>
                <a:gd name="connsiteX32" fmla="*/ 1908048 w 8071103"/>
                <a:gd name="connsiteY32" fmla="*/ 1074230 h 1359693"/>
                <a:gd name="connsiteX33" fmla="*/ 1600009 w 8071103"/>
                <a:gd name="connsiteY33" fmla="*/ 1359694 h 1359693"/>
                <a:gd name="connsiteX34" fmla="*/ 1293876 w 8071103"/>
                <a:gd name="connsiteY34" fmla="*/ 1074230 h 1359693"/>
                <a:gd name="connsiteX35" fmla="*/ 2060162 w 8071103"/>
                <a:gd name="connsiteY35" fmla="*/ 22574 h 1359693"/>
                <a:gd name="connsiteX36" fmla="*/ 2394490 w 8071103"/>
                <a:gd name="connsiteY36" fmla="*/ 22574 h 1359693"/>
                <a:gd name="connsiteX37" fmla="*/ 2674335 w 8071103"/>
                <a:gd name="connsiteY37" fmla="*/ 279844 h 1359693"/>
                <a:gd name="connsiteX38" fmla="*/ 2674335 w 8071103"/>
                <a:gd name="connsiteY38" fmla="*/ 458248 h 1359693"/>
                <a:gd name="connsiteX39" fmla="*/ 2565369 w 8071103"/>
                <a:gd name="connsiteY39" fmla="*/ 651701 h 1359693"/>
                <a:gd name="connsiteX40" fmla="*/ 2565369 w 8071103"/>
                <a:gd name="connsiteY40" fmla="*/ 662940 h 1359693"/>
                <a:gd name="connsiteX41" fmla="*/ 2685574 w 8071103"/>
                <a:gd name="connsiteY41" fmla="*/ 865727 h 1359693"/>
                <a:gd name="connsiteX42" fmla="*/ 2685574 w 8071103"/>
                <a:gd name="connsiteY42" fmla="*/ 1079849 h 1359693"/>
                <a:gd name="connsiteX43" fmla="*/ 2405729 w 8071103"/>
                <a:gd name="connsiteY43" fmla="*/ 1337120 h 1359693"/>
                <a:gd name="connsiteX44" fmla="*/ 2060162 w 8071103"/>
                <a:gd name="connsiteY44" fmla="*/ 1337120 h 1359693"/>
                <a:gd name="connsiteX45" fmla="*/ 2060162 w 8071103"/>
                <a:gd name="connsiteY45" fmla="*/ 22574 h 1359693"/>
                <a:gd name="connsiteX46" fmla="*/ 2296763 w 8071103"/>
                <a:gd name="connsiteY46" fmla="*/ 238506 h 1359693"/>
                <a:gd name="connsiteX47" fmla="*/ 2296763 w 8071103"/>
                <a:gd name="connsiteY47" fmla="*/ 569024 h 1359693"/>
                <a:gd name="connsiteX48" fmla="*/ 2366296 w 8071103"/>
                <a:gd name="connsiteY48" fmla="*/ 569024 h 1359693"/>
                <a:gd name="connsiteX49" fmla="*/ 2437638 w 8071103"/>
                <a:gd name="connsiteY49" fmla="*/ 497681 h 1359693"/>
                <a:gd name="connsiteX50" fmla="*/ 2437638 w 8071103"/>
                <a:gd name="connsiteY50" fmla="*/ 307943 h 1359693"/>
                <a:gd name="connsiteX51" fmla="*/ 2366296 w 8071103"/>
                <a:gd name="connsiteY51" fmla="*/ 238506 h 1359693"/>
                <a:gd name="connsiteX52" fmla="*/ 2296763 w 8071103"/>
                <a:gd name="connsiteY52" fmla="*/ 238506 h 1359693"/>
                <a:gd name="connsiteX53" fmla="*/ 2296763 w 8071103"/>
                <a:gd name="connsiteY53" fmla="*/ 770001 h 1359693"/>
                <a:gd name="connsiteX54" fmla="*/ 2296763 w 8071103"/>
                <a:gd name="connsiteY54" fmla="*/ 1121188 h 1359693"/>
                <a:gd name="connsiteX55" fmla="*/ 2379440 w 8071103"/>
                <a:gd name="connsiteY55" fmla="*/ 1121188 h 1359693"/>
                <a:gd name="connsiteX56" fmla="*/ 2448973 w 8071103"/>
                <a:gd name="connsiteY56" fmla="*/ 1051655 h 1359693"/>
                <a:gd name="connsiteX57" fmla="*/ 2448973 w 8071103"/>
                <a:gd name="connsiteY57" fmla="*/ 841343 h 1359693"/>
                <a:gd name="connsiteX58" fmla="*/ 2379440 w 8071103"/>
                <a:gd name="connsiteY58" fmla="*/ 770001 h 1359693"/>
                <a:gd name="connsiteX59" fmla="*/ 2296763 w 8071103"/>
                <a:gd name="connsiteY59" fmla="*/ 770001 h 1359693"/>
                <a:gd name="connsiteX60" fmla="*/ 3094482 w 8071103"/>
                <a:gd name="connsiteY60" fmla="*/ 1074230 h 1359693"/>
                <a:gd name="connsiteX61" fmla="*/ 3094482 w 8071103"/>
                <a:gd name="connsiteY61" fmla="*/ 283559 h 1359693"/>
                <a:gd name="connsiteX62" fmla="*/ 3402520 w 8071103"/>
                <a:gd name="connsiteY62" fmla="*/ 0 h 1359693"/>
                <a:gd name="connsiteX63" fmla="*/ 3710559 w 8071103"/>
                <a:gd name="connsiteY63" fmla="*/ 283559 h 1359693"/>
                <a:gd name="connsiteX64" fmla="*/ 3710559 w 8071103"/>
                <a:gd name="connsiteY64" fmla="*/ 557784 h 1359693"/>
                <a:gd name="connsiteX65" fmla="*/ 3473958 w 8071103"/>
                <a:gd name="connsiteY65" fmla="*/ 557784 h 1359693"/>
                <a:gd name="connsiteX66" fmla="*/ 3473958 w 8071103"/>
                <a:gd name="connsiteY66" fmla="*/ 285464 h 1359693"/>
                <a:gd name="connsiteX67" fmla="*/ 3402616 w 8071103"/>
                <a:gd name="connsiteY67" fmla="*/ 215932 h 1359693"/>
                <a:gd name="connsiteX68" fmla="*/ 3331274 w 8071103"/>
                <a:gd name="connsiteY68" fmla="*/ 285464 h 1359693"/>
                <a:gd name="connsiteX69" fmla="*/ 3331274 w 8071103"/>
                <a:gd name="connsiteY69" fmla="*/ 1074230 h 1359693"/>
                <a:gd name="connsiteX70" fmla="*/ 3402616 w 8071103"/>
                <a:gd name="connsiteY70" fmla="*/ 1143667 h 1359693"/>
                <a:gd name="connsiteX71" fmla="*/ 3473958 w 8071103"/>
                <a:gd name="connsiteY71" fmla="*/ 1074230 h 1359693"/>
                <a:gd name="connsiteX72" fmla="*/ 3473958 w 8071103"/>
                <a:gd name="connsiteY72" fmla="*/ 783146 h 1359693"/>
                <a:gd name="connsiteX73" fmla="*/ 3710559 w 8071103"/>
                <a:gd name="connsiteY73" fmla="*/ 783146 h 1359693"/>
                <a:gd name="connsiteX74" fmla="*/ 3710559 w 8071103"/>
                <a:gd name="connsiteY74" fmla="*/ 1074230 h 1359693"/>
                <a:gd name="connsiteX75" fmla="*/ 3402520 w 8071103"/>
                <a:gd name="connsiteY75" fmla="*/ 1359694 h 1359693"/>
                <a:gd name="connsiteX76" fmla="*/ 3094482 w 8071103"/>
                <a:gd name="connsiteY76" fmla="*/ 1074230 h 1359693"/>
                <a:gd name="connsiteX77" fmla="*/ 3849434 w 8071103"/>
                <a:gd name="connsiteY77" fmla="*/ 1074230 h 1359693"/>
                <a:gd name="connsiteX78" fmla="*/ 3849434 w 8071103"/>
                <a:gd name="connsiteY78" fmla="*/ 283559 h 1359693"/>
                <a:gd name="connsiteX79" fmla="*/ 4157472 w 8071103"/>
                <a:gd name="connsiteY79" fmla="*/ 0 h 1359693"/>
                <a:gd name="connsiteX80" fmla="*/ 4465511 w 8071103"/>
                <a:gd name="connsiteY80" fmla="*/ 283559 h 1359693"/>
                <a:gd name="connsiteX81" fmla="*/ 4465511 w 8071103"/>
                <a:gd name="connsiteY81" fmla="*/ 1074230 h 1359693"/>
                <a:gd name="connsiteX82" fmla="*/ 4157472 w 8071103"/>
                <a:gd name="connsiteY82" fmla="*/ 1359694 h 1359693"/>
                <a:gd name="connsiteX83" fmla="*/ 3849434 w 8071103"/>
                <a:gd name="connsiteY83" fmla="*/ 1074230 h 1359693"/>
                <a:gd name="connsiteX84" fmla="*/ 4228814 w 8071103"/>
                <a:gd name="connsiteY84" fmla="*/ 1074230 h 1359693"/>
                <a:gd name="connsiteX85" fmla="*/ 4228814 w 8071103"/>
                <a:gd name="connsiteY85" fmla="*/ 285464 h 1359693"/>
                <a:gd name="connsiteX86" fmla="*/ 4157472 w 8071103"/>
                <a:gd name="connsiteY86" fmla="*/ 215932 h 1359693"/>
                <a:gd name="connsiteX87" fmla="*/ 4086130 w 8071103"/>
                <a:gd name="connsiteY87" fmla="*/ 285464 h 1359693"/>
                <a:gd name="connsiteX88" fmla="*/ 4086130 w 8071103"/>
                <a:gd name="connsiteY88" fmla="*/ 1074230 h 1359693"/>
                <a:gd name="connsiteX89" fmla="*/ 4157472 w 8071103"/>
                <a:gd name="connsiteY89" fmla="*/ 1143667 h 1359693"/>
                <a:gd name="connsiteX90" fmla="*/ 4228814 w 8071103"/>
                <a:gd name="connsiteY90" fmla="*/ 1074230 h 1359693"/>
                <a:gd name="connsiteX91" fmla="*/ 4613720 w 8071103"/>
                <a:gd name="connsiteY91" fmla="*/ 22574 h 1359693"/>
                <a:gd name="connsiteX92" fmla="*/ 4886039 w 8071103"/>
                <a:gd name="connsiteY92" fmla="*/ 22574 h 1359693"/>
                <a:gd name="connsiteX93" fmla="*/ 5021294 w 8071103"/>
                <a:gd name="connsiteY93" fmla="*/ 646081 h 1359693"/>
                <a:gd name="connsiteX94" fmla="*/ 5040059 w 8071103"/>
                <a:gd name="connsiteY94" fmla="*/ 811340 h 1359693"/>
                <a:gd name="connsiteX95" fmla="*/ 5071967 w 8071103"/>
                <a:gd name="connsiteY95" fmla="*/ 811340 h 1359693"/>
                <a:gd name="connsiteX96" fmla="*/ 5051298 w 8071103"/>
                <a:gd name="connsiteY96" fmla="*/ 646081 h 1359693"/>
                <a:gd name="connsiteX97" fmla="*/ 5051298 w 8071103"/>
                <a:gd name="connsiteY97" fmla="*/ 22574 h 1359693"/>
                <a:gd name="connsiteX98" fmla="*/ 5287899 w 8071103"/>
                <a:gd name="connsiteY98" fmla="*/ 22574 h 1359693"/>
                <a:gd name="connsiteX99" fmla="*/ 5287899 w 8071103"/>
                <a:gd name="connsiteY99" fmla="*/ 1337215 h 1359693"/>
                <a:gd name="connsiteX100" fmla="*/ 5017485 w 8071103"/>
                <a:gd name="connsiteY100" fmla="*/ 1337215 h 1359693"/>
                <a:gd name="connsiteX101" fmla="*/ 4882230 w 8071103"/>
                <a:gd name="connsiteY101" fmla="*/ 713708 h 1359693"/>
                <a:gd name="connsiteX102" fmla="*/ 4861560 w 8071103"/>
                <a:gd name="connsiteY102" fmla="*/ 548450 h 1359693"/>
                <a:gd name="connsiteX103" fmla="*/ 4829651 w 8071103"/>
                <a:gd name="connsiteY103" fmla="*/ 548450 h 1359693"/>
                <a:gd name="connsiteX104" fmla="*/ 4850320 w 8071103"/>
                <a:gd name="connsiteY104" fmla="*/ 713708 h 1359693"/>
                <a:gd name="connsiteX105" fmla="*/ 4850320 w 8071103"/>
                <a:gd name="connsiteY105" fmla="*/ 1337215 h 1359693"/>
                <a:gd name="connsiteX106" fmla="*/ 4613720 w 8071103"/>
                <a:gd name="connsiteY106" fmla="*/ 1337215 h 1359693"/>
                <a:gd name="connsiteX107" fmla="*/ 4613720 w 8071103"/>
                <a:gd name="connsiteY107" fmla="*/ 22574 h 1359693"/>
                <a:gd name="connsiteX108" fmla="*/ 5443823 w 8071103"/>
                <a:gd name="connsiteY108" fmla="*/ 22574 h 1359693"/>
                <a:gd name="connsiteX109" fmla="*/ 5716143 w 8071103"/>
                <a:gd name="connsiteY109" fmla="*/ 22574 h 1359693"/>
                <a:gd name="connsiteX110" fmla="*/ 5851398 w 8071103"/>
                <a:gd name="connsiteY110" fmla="*/ 646081 h 1359693"/>
                <a:gd name="connsiteX111" fmla="*/ 5870162 w 8071103"/>
                <a:gd name="connsiteY111" fmla="*/ 811340 h 1359693"/>
                <a:gd name="connsiteX112" fmla="*/ 5902071 w 8071103"/>
                <a:gd name="connsiteY112" fmla="*/ 811340 h 1359693"/>
                <a:gd name="connsiteX113" fmla="*/ 5881402 w 8071103"/>
                <a:gd name="connsiteY113" fmla="*/ 646081 h 1359693"/>
                <a:gd name="connsiteX114" fmla="*/ 5881402 w 8071103"/>
                <a:gd name="connsiteY114" fmla="*/ 22574 h 1359693"/>
                <a:gd name="connsiteX115" fmla="*/ 6118003 w 8071103"/>
                <a:gd name="connsiteY115" fmla="*/ 22574 h 1359693"/>
                <a:gd name="connsiteX116" fmla="*/ 6118003 w 8071103"/>
                <a:gd name="connsiteY116" fmla="*/ 1337215 h 1359693"/>
                <a:gd name="connsiteX117" fmla="*/ 5847588 w 8071103"/>
                <a:gd name="connsiteY117" fmla="*/ 1337215 h 1359693"/>
                <a:gd name="connsiteX118" fmla="*/ 5712333 w 8071103"/>
                <a:gd name="connsiteY118" fmla="*/ 713708 h 1359693"/>
                <a:gd name="connsiteX119" fmla="*/ 5691664 w 8071103"/>
                <a:gd name="connsiteY119" fmla="*/ 548450 h 1359693"/>
                <a:gd name="connsiteX120" fmla="*/ 5659755 w 8071103"/>
                <a:gd name="connsiteY120" fmla="*/ 548450 h 1359693"/>
                <a:gd name="connsiteX121" fmla="*/ 5680424 w 8071103"/>
                <a:gd name="connsiteY121" fmla="*/ 713708 h 1359693"/>
                <a:gd name="connsiteX122" fmla="*/ 5680424 w 8071103"/>
                <a:gd name="connsiteY122" fmla="*/ 1337215 h 1359693"/>
                <a:gd name="connsiteX123" fmla="*/ 5443823 w 8071103"/>
                <a:gd name="connsiteY123" fmla="*/ 1337215 h 1359693"/>
                <a:gd name="connsiteX124" fmla="*/ 5443823 w 8071103"/>
                <a:gd name="connsiteY124" fmla="*/ 22574 h 1359693"/>
                <a:gd name="connsiteX125" fmla="*/ 6273832 w 8071103"/>
                <a:gd name="connsiteY125" fmla="*/ 22574 h 1359693"/>
                <a:gd name="connsiteX126" fmla="*/ 6720840 w 8071103"/>
                <a:gd name="connsiteY126" fmla="*/ 22574 h 1359693"/>
                <a:gd name="connsiteX127" fmla="*/ 6720840 w 8071103"/>
                <a:gd name="connsiteY127" fmla="*/ 238601 h 1359693"/>
                <a:gd name="connsiteX128" fmla="*/ 6510528 w 8071103"/>
                <a:gd name="connsiteY128" fmla="*/ 238601 h 1359693"/>
                <a:gd name="connsiteX129" fmla="*/ 6510528 w 8071103"/>
                <a:gd name="connsiteY129" fmla="*/ 565404 h 1359693"/>
                <a:gd name="connsiteX130" fmla="*/ 6700172 w 8071103"/>
                <a:gd name="connsiteY130" fmla="*/ 565404 h 1359693"/>
                <a:gd name="connsiteX131" fmla="*/ 6700172 w 8071103"/>
                <a:gd name="connsiteY131" fmla="*/ 775716 h 1359693"/>
                <a:gd name="connsiteX132" fmla="*/ 6510528 w 8071103"/>
                <a:gd name="connsiteY132" fmla="*/ 775716 h 1359693"/>
                <a:gd name="connsiteX133" fmla="*/ 6510528 w 8071103"/>
                <a:gd name="connsiteY133" fmla="*/ 1121283 h 1359693"/>
                <a:gd name="connsiteX134" fmla="*/ 6720840 w 8071103"/>
                <a:gd name="connsiteY134" fmla="*/ 1121283 h 1359693"/>
                <a:gd name="connsiteX135" fmla="*/ 6720840 w 8071103"/>
                <a:gd name="connsiteY135" fmla="*/ 1337215 h 1359693"/>
                <a:gd name="connsiteX136" fmla="*/ 6273832 w 8071103"/>
                <a:gd name="connsiteY136" fmla="*/ 1337215 h 1359693"/>
                <a:gd name="connsiteX137" fmla="*/ 6273832 w 8071103"/>
                <a:gd name="connsiteY137" fmla="*/ 22574 h 1359693"/>
                <a:gd name="connsiteX138" fmla="*/ 6846665 w 8071103"/>
                <a:gd name="connsiteY138" fmla="*/ 1074230 h 1359693"/>
                <a:gd name="connsiteX139" fmla="*/ 6846665 w 8071103"/>
                <a:gd name="connsiteY139" fmla="*/ 283559 h 1359693"/>
                <a:gd name="connsiteX140" fmla="*/ 7154704 w 8071103"/>
                <a:gd name="connsiteY140" fmla="*/ 0 h 1359693"/>
                <a:gd name="connsiteX141" fmla="*/ 7462742 w 8071103"/>
                <a:gd name="connsiteY141" fmla="*/ 283559 h 1359693"/>
                <a:gd name="connsiteX142" fmla="*/ 7462742 w 8071103"/>
                <a:gd name="connsiteY142" fmla="*/ 557784 h 1359693"/>
                <a:gd name="connsiteX143" fmla="*/ 7226142 w 8071103"/>
                <a:gd name="connsiteY143" fmla="*/ 557784 h 1359693"/>
                <a:gd name="connsiteX144" fmla="*/ 7226142 w 8071103"/>
                <a:gd name="connsiteY144" fmla="*/ 285464 h 1359693"/>
                <a:gd name="connsiteX145" fmla="*/ 7154800 w 8071103"/>
                <a:gd name="connsiteY145" fmla="*/ 215932 h 1359693"/>
                <a:gd name="connsiteX146" fmla="*/ 7083457 w 8071103"/>
                <a:gd name="connsiteY146" fmla="*/ 285464 h 1359693"/>
                <a:gd name="connsiteX147" fmla="*/ 7083457 w 8071103"/>
                <a:gd name="connsiteY147" fmla="*/ 1074230 h 1359693"/>
                <a:gd name="connsiteX148" fmla="*/ 7154800 w 8071103"/>
                <a:gd name="connsiteY148" fmla="*/ 1143667 h 1359693"/>
                <a:gd name="connsiteX149" fmla="*/ 7226142 w 8071103"/>
                <a:gd name="connsiteY149" fmla="*/ 1074230 h 1359693"/>
                <a:gd name="connsiteX150" fmla="*/ 7226142 w 8071103"/>
                <a:gd name="connsiteY150" fmla="*/ 783146 h 1359693"/>
                <a:gd name="connsiteX151" fmla="*/ 7462742 w 8071103"/>
                <a:gd name="connsiteY151" fmla="*/ 783146 h 1359693"/>
                <a:gd name="connsiteX152" fmla="*/ 7462742 w 8071103"/>
                <a:gd name="connsiteY152" fmla="*/ 1074230 h 1359693"/>
                <a:gd name="connsiteX153" fmla="*/ 7154704 w 8071103"/>
                <a:gd name="connsiteY153" fmla="*/ 1359694 h 1359693"/>
                <a:gd name="connsiteX154" fmla="*/ 6846665 w 8071103"/>
                <a:gd name="connsiteY154" fmla="*/ 1074230 h 1359693"/>
                <a:gd name="connsiteX155" fmla="*/ 7699248 w 8071103"/>
                <a:gd name="connsiteY155" fmla="*/ 238506 h 1359693"/>
                <a:gd name="connsiteX156" fmla="*/ 7563993 w 8071103"/>
                <a:gd name="connsiteY156" fmla="*/ 238506 h 1359693"/>
                <a:gd name="connsiteX157" fmla="*/ 7563993 w 8071103"/>
                <a:gd name="connsiteY157" fmla="*/ 22479 h 1359693"/>
                <a:gd name="connsiteX158" fmla="*/ 8071104 w 8071103"/>
                <a:gd name="connsiteY158" fmla="*/ 22479 h 1359693"/>
                <a:gd name="connsiteX159" fmla="*/ 8071104 w 8071103"/>
                <a:gd name="connsiteY159" fmla="*/ 238506 h 1359693"/>
                <a:gd name="connsiteX160" fmla="*/ 7935850 w 8071103"/>
                <a:gd name="connsiteY160" fmla="*/ 238506 h 1359693"/>
                <a:gd name="connsiteX161" fmla="*/ 7935850 w 8071103"/>
                <a:gd name="connsiteY161" fmla="*/ 1337120 h 1359693"/>
                <a:gd name="connsiteX162" fmla="*/ 7699248 w 8071103"/>
                <a:gd name="connsiteY162" fmla="*/ 1337120 h 1359693"/>
                <a:gd name="connsiteX163" fmla="*/ 7699248 w 8071103"/>
                <a:gd name="connsiteY163" fmla="*/ 238506 h 1359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8071103" h="1359693">
                  <a:moveTo>
                    <a:pt x="0" y="1074230"/>
                  </a:moveTo>
                  <a:lnTo>
                    <a:pt x="0" y="283559"/>
                  </a:lnTo>
                  <a:cubicBezTo>
                    <a:pt x="0" y="114490"/>
                    <a:pt x="123920" y="0"/>
                    <a:pt x="308038" y="0"/>
                  </a:cubicBezTo>
                  <a:cubicBezTo>
                    <a:pt x="492157" y="0"/>
                    <a:pt x="616077" y="114586"/>
                    <a:pt x="616077" y="283559"/>
                  </a:cubicBezTo>
                  <a:lnTo>
                    <a:pt x="616077" y="557784"/>
                  </a:lnTo>
                  <a:lnTo>
                    <a:pt x="379476" y="557784"/>
                  </a:lnTo>
                  <a:lnTo>
                    <a:pt x="379476" y="285464"/>
                  </a:lnTo>
                  <a:cubicBezTo>
                    <a:pt x="379476" y="242316"/>
                    <a:pt x="351282" y="215932"/>
                    <a:pt x="308134" y="215932"/>
                  </a:cubicBezTo>
                  <a:cubicBezTo>
                    <a:pt x="264986" y="215932"/>
                    <a:pt x="236791" y="242221"/>
                    <a:pt x="236791" y="285464"/>
                  </a:cubicBezTo>
                  <a:lnTo>
                    <a:pt x="236791" y="1074230"/>
                  </a:lnTo>
                  <a:cubicBezTo>
                    <a:pt x="236791" y="1117378"/>
                    <a:pt x="264986" y="1143667"/>
                    <a:pt x="308134" y="1143667"/>
                  </a:cubicBezTo>
                  <a:cubicBezTo>
                    <a:pt x="351282" y="1143667"/>
                    <a:pt x="379476" y="1117378"/>
                    <a:pt x="379476" y="1074230"/>
                  </a:cubicBezTo>
                  <a:lnTo>
                    <a:pt x="379476" y="783146"/>
                  </a:lnTo>
                  <a:lnTo>
                    <a:pt x="616077" y="783146"/>
                  </a:lnTo>
                  <a:lnTo>
                    <a:pt x="616077" y="1074230"/>
                  </a:lnTo>
                  <a:cubicBezTo>
                    <a:pt x="616077" y="1245108"/>
                    <a:pt x="492157" y="1359694"/>
                    <a:pt x="308038" y="1359694"/>
                  </a:cubicBezTo>
                  <a:cubicBezTo>
                    <a:pt x="123920" y="1359694"/>
                    <a:pt x="0" y="1245108"/>
                    <a:pt x="0" y="1074230"/>
                  </a:cubicBezTo>
                  <a:close/>
                  <a:moveTo>
                    <a:pt x="762476" y="22574"/>
                  </a:moveTo>
                  <a:lnTo>
                    <a:pt x="999077" y="22574"/>
                  </a:lnTo>
                  <a:lnTo>
                    <a:pt x="999077" y="1121283"/>
                  </a:lnTo>
                  <a:lnTo>
                    <a:pt x="1198150" y="1121283"/>
                  </a:lnTo>
                  <a:lnTo>
                    <a:pt x="1198150" y="1337215"/>
                  </a:lnTo>
                  <a:lnTo>
                    <a:pt x="762476" y="1337215"/>
                  </a:lnTo>
                  <a:lnTo>
                    <a:pt x="762476" y="22574"/>
                  </a:lnTo>
                  <a:close/>
                  <a:moveTo>
                    <a:pt x="1293971" y="1074230"/>
                  </a:moveTo>
                  <a:lnTo>
                    <a:pt x="1293971" y="22479"/>
                  </a:lnTo>
                  <a:lnTo>
                    <a:pt x="1530572" y="22479"/>
                  </a:lnTo>
                  <a:lnTo>
                    <a:pt x="1530572" y="1074230"/>
                  </a:lnTo>
                  <a:cubicBezTo>
                    <a:pt x="1530572" y="1117378"/>
                    <a:pt x="1558766" y="1143667"/>
                    <a:pt x="1600105" y="1143667"/>
                  </a:cubicBezTo>
                  <a:cubicBezTo>
                    <a:pt x="1641443" y="1143667"/>
                    <a:pt x="1671447" y="1117378"/>
                    <a:pt x="1671447" y="1074230"/>
                  </a:cubicBezTo>
                  <a:lnTo>
                    <a:pt x="1671447" y="22479"/>
                  </a:lnTo>
                  <a:lnTo>
                    <a:pt x="1908048" y="22479"/>
                  </a:lnTo>
                  <a:lnTo>
                    <a:pt x="1908048" y="1074230"/>
                  </a:lnTo>
                  <a:cubicBezTo>
                    <a:pt x="1908048" y="1245108"/>
                    <a:pt x="1784128" y="1359694"/>
                    <a:pt x="1600009" y="1359694"/>
                  </a:cubicBezTo>
                  <a:cubicBezTo>
                    <a:pt x="1415891" y="1359694"/>
                    <a:pt x="1293876" y="1245108"/>
                    <a:pt x="1293876" y="1074230"/>
                  </a:cubicBezTo>
                  <a:close/>
                  <a:moveTo>
                    <a:pt x="2060162" y="22574"/>
                  </a:moveTo>
                  <a:lnTo>
                    <a:pt x="2394490" y="22574"/>
                  </a:lnTo>
                  <a:cubicBezTo>
                    <a:pt x="2561654" y="22574"/>
                    <a:pt x="2674335" y="125921"/>
                    <a:pt x="2674335" y="279844"/>
                  </a:cubicBezTo>
                  <a:lnTo>
                    <a:pt x="2674335" y="458248"/>
                  </a:lnTo>
                  <a:cubicBezTo>
                    <a:pt x="2674335" y="537115"/>
                    <a:pt x="2638616" y="617887"/>
                    <a:pt x="2565369" y="651701"/>
                  </a:cubicBezTo>
                  <a:lnTo>
                    <a:pt x="2565369" y="662940"/>
                  </a:lnTo>
                  <a:cubicBezTo>
                    <a:pt x="2644235" y="696754"/>
                    <a:pt x="2685574" y="781240"/>
                    <a:pt x="2685574" y="865727"/>
                  </a:cubicBezTo>
                  <a:lnTo>
                    <a:pt x="2685574" y="1079849"/>
                  </a:lnTo>
                  <a:cubicBezTo>
                    <a:pt x="2685574" y="1233869"/>
                    <a:pt x="2574798" y="1337120"/>
                    <a:pt x="2405729" y="1337120"/>
                  </a:cubicBezTo>
                  <a:lnTo>
                    <a:pt x="2060162" y="1337120"/>
                  </a:lnTo>
                  <a:lnTo>
                    <a:pt x="2060162" y="22574"/>
                  </a:lnTo>
                  <a:close/>
                  <a:moveTo>
                    <a:pt x="2296763" y="238506"/>
                  </a:moveTo>
                  <a:lnTo>
                    <a:pt x="2296763" y="569024"/>
                  </a:lnTo>
                  <a:lnTo>
                    <a:pt x="2366296" y="569024"/>
                  </a:lnTo>
                  <a:cubicBezTo>
                    <a:pt x="2409444" y="569024"/>
                    <a:pt x="2437638" y="540830"/>
                    <a:pt x="2437638" y="497681"/>
                  </a:cubicBezTo>
                  <a:lnTo>
                    <a:pt x="2437638" y="307943"/>
                  </a:lnTo>
                  <a:cubicBezTo>
                    <a:pt x="2437638" y="264795"/>
                    <a:pt x="2409444" y="238506"/>
                    <a:pt x="2366296" y="238506"/>
                  </a:cubicBezTo>
                  <a:lnTo>
                    <a:pt x="2296763" y="238506"/>
                  </a:lnTo>
                  <a:close/>
                  <a:moveTo>
                    <a:pt x="2296763" y="770001"/>
                  </a:moveTo>
                  <a:lnTo>
                    <a:pt x="2296763" y="1121188"/>
                  </a:lnTo>
                  <a:lnTo>
                    <a:pt x="2379440" y="1121188"/>
                  </a:lnTo>
                  <a:cubicBezTo>
                    <a:pt x="2420779" y="1121188"/>
                    <a:pt x="2448973" y="1094899"/>
                    <a:pt x="2448973" y="1051655"/>
                  </a:cubicBezTo>
                  <a:lnTo>
                    <a:pt x="2448973" y="841343"/>
                  </a:lnTo>
                  <a:cubicBezTo>
                    <a:pt x="2448973" y="798195"/>
                    <a:pt x="2420779" y="770001"/>
                    <a:pt x="2379440" y="770001"/>
                  </a:cubicBezTo>
                  <a:lnTo>
                    <a:pt x="2296763" y="770001"/>
                  </a:lnTo>
                  <a:close/>
                  <a:moveTo>
                    <a:pt x="3094482" y="1074230"/>
                  </a:moveTo>
                  <a:lnTo>
                    <a:pt x="3094482" y="283559"/>
                  </a:lnTo>
                  <a:cubicBezTo>
                    <a:pt x="3094482" y="114490"/>
                    <a:pt x="3218403" y="0"/>
                    <a:pt x="3402520" y="0"/>
                  </a:cubicBezTo>
                  <a:cubicBezTo>
                    <a:pt x="3586639" y="0"/>
                    <a:pt x="3710559" y="114586"/>
                    <a:pt x="3710559" y="283559"/>
                  </a:cubicBezTo>
                  <a:lnTo>
                    <a:pt x="3710559" y="557784"/>
                  </a:lnTo>
                  <a:lnTo>
                    <a:pt x="3473958" y="557784"/>
                  </a:lnTo>
                  <a:lnTo>
                    <a:pt x="3473958" y="285464"/>
                  </a:lnTo>
                  <a:cubicBezTo>
                    <a:pt x="3473958" y="242316"/>
                    <a:pt x="3445764" y="215932"/>
                    <a:pt x="3402616" y="215932"/>
                  </a:cubicBezTo>
                  <a:cubicBezTo>
                    <a:pt x="3359468" y="215932"/>
                    <a:pt x="3331274" y="242221"/>
                    <a:pt x="3331274" y="285464"/>
                  </a:cubicBezTo>
                  <a:lnTo>
                    <a:pt x="3331274" y="1074230"/>
                  </a:lnTo>
                  <a:cubicBezTo>
                    <a:pt x="3331274" y="1117378"/>
                    <a:pt x="3359468" y="1143667"/>
                    <a:pt x="3402616" y="1143667"/>
                  </a:cubicBezTo>
                  <a:cubicBezTo>
                    <a:pt x="3445764" y="1143667"/>
                    <a:pt x="3473958" y="1117378"/>
                    <a:pt x="3473958" y="1074230"/>
                  </a:cubicBezTo>
                  <a:lnTo>
                    <a:pt x="3473958" y="783146"/>
                  </a:lnTo>
                  <a:lnTo>
                    <a:pt x="3710559" y="783146"/>
                  </a:lnTo>
                  <a:lnTo>
                    <a:pt x="3710559" y="1074230"/>
                  </a:lnTo>
                  <a:cubicBezTo>
                    <a:pt x="3710559" y="1245108"/>
                    <a:pt x="3586639" y="1359694"/>
                    <a:pt x="3402520" y="1359694"/>
                  </a:cubicBezTo>
                  <a:cubicBezTo>
                    <a:pt x="3218403" y="1359694"/>
                    <a:pt x="3094482" y="1245108"/>
                    <a:pt x="3094482" y="1074230"/>
                  </a:cubicBezTo>
                  <a:close/>
                  <a:moveTo>
                    <a:pt x="3849434" y="1074230"/>
                  </a:moveTo>
                  <a:lnTo>
                    <a:pt x="3849434" y="283559"/>
                  </a:lnTo>
                  <a:cubicBezTo>
                    <a:pt x="3849434" y="114490"/>
                    <a:pt x="3973354" y="0"/>
                    <a:pt x="4157472" y="0"/>
                  </a:cubicBezTo>
                  <a:cubicBezTo>
                    <a:pt x="4341590" y="0"/>
                    <a:pt x="4465511" y="114586"/>
                    <a:pt x="4465511" y="283559"/>
                  </a:cubicBezTo>
                  <a:lnTo>
                    <a:pt x="4465511" y="1074230"/>
                  </a:lnTo>
                  <a:cubicBezTo>
                    <a:pt x="4465511" y="1245108"/>
                    <a:pt x="4341590" y="1359694"/>
                    <a:pt x="4157472" y="1359694"/>
                  </a:cubicBezTo>
                  <a:cubicBezTo>
                    <a:pt x="3973354" y="1359694"/>
                    <a:pt x="3849434" y="1245108"/>
                    <a:pt x="3849434" y="1074230"/>
                  </a:cubicBezTo>
                  <a:close/>
                  <a:moveTo>
                    <a:pt x="4228814" y="1074230"/>
                  </a:moveTo>
                  <a:lnTo>
                    <a:pt x="4228814" y="285464"/>
                  </a:lnTo>
                  <a:cubicBezTo>
                    <a:pt x="4228814" y="242316"/>
                    <a:pt x="4200621" y="215932"/>
                    <a:pt x="4157472" y="215932"/>
                  </a:cubicBezTo>
                  <a:cubicBezTo>
                    <a:pt x="4114324" y="215932"/>
                    <a:pt x="4086130" y="242221"/>
                    <a:pt x="4086130" y="285464"/>
                  </a:cubicBezTo>
                  <a:lnTo>
                    <a:pt x="4086130" y="1074230"/>
                  </a:lnTo>
                  <a:cubicBezTo>
                    <a:pt x="4086130" y="1117378"/>
                    <a:pt x="4114324" y="1143667"/>
                    <a:pt x="4157472" y="1143667"/>
                  </a:cubicBezTo>
                  <a:cubicBezTo>
                    <a:pt x="4200621" y="1143667"/>
                    <a:pt x="4228814" y="1117378"/>
                    <a:pt x="4228814" y="1074230"/>
                  </a:cubicBezTo>
                  <a:close/>
                  <a:moveTo>
                    <a:pt x="4613720" y="22574"/>
                  </a:moveTo>
                  <a:lnTo>
                    <a:pt x="4886039" y="22574"/>
                  </a:lnTo>
                  <a:lnTo>
                    <a:pt x="5021294" y="646081"/>
                  </a:lnTo>
                  <a:lnTo>
                    <a:pt x="5040059" y="811340"/>
                  </a:lnTo>
                  <a:lnTo>
                    <a:pt x="5071967" y="811340"/>
                  </a:lnTo>
                  <a:lnTo>
                    <a:pt x="5051298" y="646081"/>
                  </a:lnTo>
                  <a:lnTo>
                    <a:pt x="5051298" y="22574"/>
                  </a:lnTo>
                  <a:lnTo>
                    <a:pt x="5287899" y="22574"/>
                  </a:lnTo>
                  <a:lnTo>
                    <a:pt x="5287899" y="1337215"/>
                  </a:lnTo>
                  <a:lnTo>
                    <a:pt x="5017485" y="1337215"/>
                  </a:lnTo>
                  <a:lnTo>
                    <a:pt x="4882230" y="713708"/>
                  </a:lnTo>
                  <a:lnTo>
                    <a:pt x="4861560" y="548450"/>
                  </a:lnTo>
                  <a:lnTo>
                    <a:pt x="4829651" y="548450"/>
                  </a:lnTo>
                  <a:lnTo>
                    <a:pt x="4850320" y="713708"/>
                  </a:lnTo>
                  <a:lnTo>
                    <a:pt x="4850320" y="1337215"/>
                  </a:lnTo>
                  <a:lnTo>
                    <a:pt x="4613720" y="1337215"/>
                  </a:lnTo>
                  <a:lnTo>
                    <a:pt x="4613720" y="22574"/>
                  </a:lnTo>
                  <a:close/>
                  <a:moveTo>
                    <a:pt x="5443823" y="22574"/>
                  </a:moveTo>
                  <a:lnTo>
                    <a:pt x="5716143" y="22574"/>
                  </a:lnTo>
                  <a:lnTo>
                    <a:pt x="5851398" y="646081"/>
                  </a:lnTo>
                  <a:lnTo>
                    <a:pt x="5870162" y="811340"/>
                  </a:lnTo>
                  <a:lnTo>
                    <a:pt x="5902071" y="811340"/>
                  </a:lnTo>
                  <a:lnTo>
                    <a:pt x="5881402" y="646081"/>
                  </a:lnTo>
                  <a:lnTo>
                    <a:pt x="5881402" y="22574"/>
                  </a:lnTo>
                  <a:lnTo>
                    <a:pt x="6118003" y="22574"/>
                  </a:lnTo>
                  <a:lnTo>
                    <a:pt x="6118003" y="1337215"/>
                  </a:lnTo>
                  <a:lnTo>
                    <a:pt x="5847588" y="1337215"/>
                  </a:lnTo>
                  <a:lnTo>
                    <a:pt x="5712333" y="713708"/>
                  </a:lnTo>
                  <a:lnTo>
                    <a:pt x="5691664" y="548450"/>
                  </a:lnTo>
                  <a:lnTo>
                    <a:pt x="5659755" y="548450"/>
                  </a:lnTo>
                  <a:lnTo>
                    <a:pt x="5680424" y="713708"/>
                  </a:lnTo>
                  <a:lnTo>
                    <a:pt x="5680424" y="1337215"/>
                  </a:lnTo>
                  <a:lnTo>
                    <a:pt x="5443823" y="1337215"/>
                  </a:lnTo>
                  <a:lnTo>
                    <a:pt x="5443823" y="22574"/>
                  </a:lnTo>
                  <a:close/>
                  <a:moveTo>
                    <a:pt x="6273832" y="22574"/>
                  </a:moveTo>
                  <a:lnTo>
                    <a:pt x="6720840" y="22574"/>
                  </a:lnTo>
                  <a:lnTo>
                    <a:pt x="6720840" y="238601"/>
                  </a:lnTo>
                  <a:lnTo>
                    <a:pt x="6510528" y="238601"/>
                  </a:lnTo>
                  <a:lnTo>
                    <a:pt x="6510528" y="565404"/>
                  </a:lnTo>
                  <a:lnTo>
                    <a:pt x="6700172" y="565404"/>
                  </a:lnTo>
                  <a:lnTo>
                    <a:pt x="6700172" y="775716"/>
                  </a:lnTo>
                  <a:lnTo>
                    <a:pt x="6510528" y="775716"/>
                  </a:lnTo>
                  <a:lnTo>
                    <a:pt x="6510528" y="1121283"/>
                  </a:lnTo>
                  <a:lnTo>
                    <a:pt x="6720840" y="1121283"/>
                  </a:lnTo>
                  <a:lnTo>
                    <a:pt x="6720840" y="1337215"/>
                  </a:lnTo>
                  <a:lnTo>
                    <a:pt x="6273832" y="1337215"/>
                  </a:lnTo>
                  <a:lnTo>
                    <a:pt x="6273832" y="22574"/>
                  </a:lnTo>
                  <a:close/>
                  <a:moveTo>
                    <a:pt x="6846665" y="1074230"/>
                  </a:moveTo>
                  <a:lnTo>
                    <a:pt x="6846665" y="283559"/>
                  </a:lnTo>
                  <a:cubicBezTo>
                    <a:pt x="6846665" y="114490"/>
                    <a:pt x="6970585" y="0"/>
                    <a:pt x="7154704" y="0"/>
                  </a:cubicBezTo>
                  <a:cubicBezTo>
                    <a:pt x="7338822" y="0"/>
                    <a:pt x="7462742" y="114586"/>
                    <a:pt x="7462742" y="283559"/>
                  </a:cubicBezTo>
                  <a:lnTo>
                    <a:pt x="7462742" y="557784"/>
                  </a:lnTo>
                  <a:lnTo>
                    <a:pt x="7226142" y="557784"/>
                  </a:lnTo>
                  <a:lnTo>
                    <a:pt x="7226142" y="285464"/>
                  </a:lnTo>
                  <a:cubicBezTo>
                    <a:pt x="7226142" y="242316"/>
                    <a:pt x="7197947" y="215932"/>
                    <a:pt x="7154800" y="215932"/>
                  </a:cubicBezTo>
                  <a:cubicBezTo>
                    <a:pt x="7111651" y="215932"/>
                    <a:pt x="7083457" y="242221"/>
                    <a:pt x="7083457" y="285464"/>
                  </a:cubicBezTo>
                  <a:lnTo>
                    <a:pt x="7083457" y="1074230"/>
                  </a:lnTo>
                  <a:cubicBezTo>
                    <a:pt x="7083457" y="1117378"/>
                    <a:pt x="7111651" y="1143667"/>
                    <a:pt x="7154800" y="1143667"/>
                  </a:cubicBezTo>
                  <a:cubicBezTo>
                    <a:pt x="7197947" y="1143667"/>
                    <a:pt x="7226142" y="1117378"/>
                    <a:pt x="7226142" y="1074230"/>
                  </a:cubicBezTo>
                  <a:lnTo>
                    <a:pt x="7226142" y="783146"/>
                  </a:lnTo>
                  <a:lnTo>
                    <a:pt x="7462742" y="783146"/>
                  </a:lnTo>
                  <a:lnTo>
                    <a:pt x="7462742" y="1074230"/>
                  </a:lnTo>
                  <a:cubicBezTo>
                    <a:pt x="7462742" y="1245108"/>
                    <a:pt x="7338822" y="1359694"/>
                    <a:pt x="7154704" y="1359694"/>
                  </a:cubicBezTo>
                  <a:cubicBezTo>
                    <a:pt x="6970585" y="1359694"/>
                    <a:pt x="6846665" y="1245108"/>
                    <a:pt x="6846665" y="1074230"/>
                  </a:cubicBezTo>
                  <a:close/>
                  <a:moveTo>
                    <a:pt x="7699248" y="238506"/>
                  </a:moveTo>
                  <a:lnTo>
                    <a:pt x="7563993" y="238506"/>
                  </a:lnTo>
                  <a:lnTo>
                    <a:pt x="7563993" y="22479"/>
                  </a:lnTo>
                  <a:lnTo>
                    <a:pt x="8071104" y="22479"/>
                  </a:lnTo>
                  <a:lnTo>
                    <a:pt x="8071104" y="238506"/>
                  </a:lnTo>
                  <a:lnTo>
                    <a:pt x="7935850" y="238506"/>
                  </a:lnTo>
                  <a:lnTo>
                    <a:pt x="7935850" y="1337120"/>
                  </a:lnTo>
                  <a:lnTo>
                    <a:pt x="7699248" y="1337120"/>
                  </a:lnTo>
                  <a:lnTo>
                    <a:pt x="7699248" y="238506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2" name="Title 1">
            <a:extLst>
              <a:ext uri="{FF2B5EF4-FFF2-40B4-BE49-F238E27FC236}">
                <a16:creationId xmlns:a16="http://schemas.microsoft.com/office/drawing/2014/main" id="{5B276724-6ECD-0D89-3C1B-ECF21033C6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885927"/>
            <a:ext cx="5083175" cy="732898"/>
          </a:xfrm>
        </p:spPr>
        <p:txBody>
          <a:bodyPr anchor="b"/>
          <a:lstStyle>
            <a:lvl1pPr>
              <a:defRPr sz="5000">
                <a:solidFill>
                  <a:schemeClr val="accent2"/>
                </a:solidFill>
              </a:defRPr>
            </a:lvl1pPr>
          </a:lstStyle>
          <a:p>
            <a:r>
              <a:rPr lang="en-US"/>
              <a:t>Agenda</a:t>
            </a:r>
            <a:endParaRPr lang="en-GB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8793F889-D82E-2B8D-6328-67FD9D0F5E0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3124569"/>
            <a:ext cx="377825" cy="503883"/>
          </a:xfrm>
        </p:spPr>
        <p:txBody>
          <a:bodyPr anchor="t"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2CEF2976-FD91-15D1-7708-85952C22A762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1316384" y="3124569"/>
            <a:ext cx="3667384" cy="503883"/>
          </a:xfrm>
        </p:spPr>
        <p:txBody>
          <a:bodyPr anchor="t"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agenda item</a:t>
            </a: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8B25D7AF-9A0F-36AB-AF98-A03A5543EC8F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1850" y="3811292"/>
            <a:ext cx="377825" cy="503883"/>
          </a:xfrm>
        </p:spPr>
        <p:txBody>
          <a:bodyPr anchor="t"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474CD1DD-A2A3-236E-3078-3C9C5EE91DD5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1316384" y="3811292"/>
            <a:ext cx="3667384" cy="503883"/>
          </a:xfrm>
        </p:spPr>
        <p:txBody>
          <a:bodyPr anchor="t"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agenda item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CBF0250B-D8A2-B809-0248-EA9FAB332E7D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31850" y="4498015"/>
            <a:ext cx="377825" cy="503883"/>
          </a:xfrm>
        </p:spPr>
        <p:txBody>
          <a:bodyPr anchor="t"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4FC64404-C45B-58E9-0038-B6A7BF7568D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1316384" y="4498015"/>
            <a:ext cx="3667384" cy="503883"/>
          </a:xfrm>
        </p:spPr>
        <p:txBody>
          <a:bodyPr anchor="t"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agenda item</a:t>
            </a: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CF0ADF18-A4E7-2119-4D1B-5A8565F666F6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831850" y="5184739"/>
            <a:ext cx="377825" cy="503883"/>
          </a:xfrm>
        </p:spPr>
        <p:txBody>
          <a:bodyPr anchor="t"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C07932A3-8A1E-DCB0-1418-5C5251DA21E7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1316384" y="5184739"/>
            <a:ext cx="3667384" cy="503883"/>
          </a:xfrm>
        </p:spPr>
        <p:txBody>
          <a:bodyPr anchor="t"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agenda item</a:t>
            </a: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8CCF701C-C82D-A124-23E3-0FE6BD230BD3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389563" y="3124569"/>
            <a:ext cx="377825" cy="503883"/>
          </a:xfrm>
        </p:spPr>
        <p:txBody>
          <a:bodyPr anchor="t"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796C8371-3CDE-6A23-902C-717C3BA58DF7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874097" y="3124569"/>
            <a:ext cx="3667384" cy="503883"/>
          </a:xfrm>
        </p:spPr>
        <p:txBody>
          <a:bodyPr anchor="t"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agenda item</a:t>
            </a: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5C886027-D6F6-8F0B-78C9-EB71E17168B1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5389563" y="3811292"/>
            <a:ext cx="377825" cy="503883"/>
          </a:xfrm>
        </p:spPr>
        <p:txBody>
          <a:bodyPr anchor="t"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AB7022C9-562D-BD93-B74E-8621C0D87C8F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5874097" y="3811292"/>
            <a:ext cx="3667384" cy="503883"/>
          </a:xfrm>
        </p:spPr>
        <p:txBody>
          <a:bodyPr anchor="t"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agenda item</a:t>
            </a: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1582B956-F9AF-8999-7E18-5302E0222F77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5389563" y="4498015"/>
            <a:ext cx="377825" cy="503883"/>
          </a:xfrm>
        </p:spPr>
        <p:txBody>
          <a:bodyPr anchor="t"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83A1D4CC-37D7-9D87-09F5-F0730A67A046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5874097" y="4498015"/>
            <a:ext cx="3667384" cy="503883"/>
          </a:xfrm>
        </p:spPr>
        <p:txBody>
          <a:bodyPr anchor="t"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agenda item</a:t>
            </a: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91D0F1D3-D185-E810-2379-17E116AB8E9E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5389563" y="5184739"/>
            <a:ext cx="377825" cy="503883"/>
          </a:xfrm>
        </p:spPr>
        <p:txBody>
          <a:bodyPr anchor="t"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65CAE0DB-8EF3-57D2-321C-8D9B43FEA4C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5874097" y="5184739"/>
            <a:ext cx="3667384" cy="503883"/>
          </a:xfrm>
        </p:spPr>
        <p:txBody>
          <a:bodyPr anchor="t"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agenda item</a:t>
            </a: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C6036F5-2CB4-5EAF-1C4C-948058BB35A7}"/>
              </a:ext>
            </a:extLst>
          </p:cNvPr>
          <p:cNvSpPr/>
          <p:nvPr userDrawn="1"/>
        </p:nvSpPr>
        <p:spPr>
          <a:xfrm>
            <a:off x="10342967" y="1341394"/>
            <a:ext cx="1849033" cy="4175212"/>
          </a:xfrm>
          <a:custGeom>
            <a:avLst/>
            <a:gdLst>
              <a:gd name="connsiteX0" fmla="*/ 1778620 w 1778620"/>
              <a:gd name="connsiteY0" fmla="*/ 0 h 4016216"/>
              <a:gd name="connsiteX1" fmla="*/ 1778620 w 1778620"/>
              <a:gd name="connsiteY1" fmla="*/ 1118110 h 4016216"/>
              <a:gd name="connsiteX2" fmla="*/ 1099791 w 1778620"/>
              <a:gd name="connsiteY2" fmla="*/ 2008109 h 4016216"/>
              <a:gd name="connsiteX3" fmla="*/ 1778620 w 1778620"/>
              <a:gd name="connsiteY3" fmla="*/ 2898106 h 4016216"/>
              <a:gd name="connsiteX4" fmla="*/ 1778620 w 1778620"/>
              <a:gd name="connsiteY4" fmla="*/ 4016216 h 4016216"/>
              <a:gd name="connsiteX5" fmla="*/ 0 w 1778620"/>
              <a:gd name="connsiteY5" fmla="*/ 2008109 h 4016216"/>
              <a:gd name="connsiteX6" fmla="*/ 1778620 w 1778620"/>
              <a:gd name="connsiteY6" fmla="*/ 0 h 4016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8620" h="4016216">
                <a:moveTo>
                  <a:pt x="1778620" y="0"/>
                </a:moveTo>
                <a:lnTo>
                  <a:pt x="1778620" y="1118110"/>
                </a:lnTo>
                <a:cubicBezTo>
                  <a:pt x="1387825" y="1225417"/>
                  <a:pt x="1099791" y="1583703"/>
                  <a:pt x="1099791" y="2008109"/>
                </a:cubicBezTo>
                <a:cubicBezTo>
                  <a:pt x="1099791" y="2432514"/>
                  <a:pt x="1387825" y="2790799"/>
                  <a:pt x="1778620" y="2898106"/>
                </a:cubicBezTo>
                <a:lnTo>
                  <a:pt x="1778620" y="4016216"/>
                </a:lnTo>
                <a:cubicBezTo>
                  <a:pt x="776632" y="3895685"/>
                  <a:pt x="0" y="3042605"/>
                  <a:pt x="0" y="2008109"/>
                </a:cubicBezTo>
                <a:cubicBezTo>
                  <a:pt x="0" y="973612"/>
                  <a:pt x="776632" y="120531"/>
                  <a:pt x="1778620" y="0"/>
                </a:cubicBezTo>
                <a:close/>
              </a:path>
            </a:pathLst>
          </a:custGeom>
          <a:solidFill>
            <a:srgbClr val="96F500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D3B5C62C-C220-5ABA-2850-11AA71AFA117}"/>
              </a:ext>
            </a:extLst>
          </p:cNvPr>
          <p:cNvSpPr/>
          <p:nvPr userDrawn="1"/>
        </p:nvSpPr>
        <p:spPr>
          <a:xfrm>
            <a:off x="11467577" y="2506050"/>
            <a:ext cx="724423" cy="1845903"/>
          </a:xfrm>
          <a:custGeom>
            <a:avLst/>
            <a:gdLst>
              <a:gd name="connsiteX0" fmla="*/ 724423 w 724423"/>
              <a:gd name="connsiteY0" fmla="*/ 0 h 1845903"/>
              <a:gd name="connsiteX1" fmla="*/ 724423 w 724423"/>
              <a:gd name="connsiteY1" fmla="*/ 1845903 h 1845903"/>
              <a:gd name="connsiteX2" fmla="*/ 720556 w 724423"/>
              <a:gd name="connsiteY2" fmla="*/ 1845287 h 1845903"/>
              <a:gd name="connsiteX3" fmla="*/ 0 w 724423"/>
              <a:gd name="connsiteY3" fmla="*/ 922951 h 1845903"/>
              <a:gd name="connsiteX4" fmla="*/ 720556 w 724423"/>
              <a:gd name="connsiteY4" fmla="*/ 615 h 1845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4423" h="1845903">
                <a:moveTo>
                  <a:pt x="724423" y="0"/>
                </a:moveTo>
                <a:lnTo>
                  <a:pt x="724423" y="1845903"/>
                </a:lnTo>
                <a:lnTo>
                  <a:pt x="720556" y="1845287"/>
                </a:lnTo>
                <a:cubicBezTo>
                  <a:pt x="309336" y="1757499"/>
                  <a:pt x="0" y="1377913"/>
                  <a:pt x="0" y="922951"/>
                </a:cubicBezTo>
                <a:cubicBezTo>
                  <a:pt x="0" y="467990"/>
                  <a:pt x="309336" y="88403"/>
                  <a:pt x="720556" y="615"/>
                </a:cubicBezTo>
                <a:close/>
              </a:path>
            </a:pathLst>
          </a:custGeom>
          <a:solidFill>
            <a:srgbClr val="014E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5038871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een background with small circles&#10;&#10;Description automatically generated">
            <a:extLst>
              <a:ext uri="{FF2B5EF4-FFF2-40B4-BE49-F238E27FC236}">
                <a16:creationId xmlns:a16="http://schemas.microsoft.com/office/drawing/2014/main" id="{34BAA052-D118-3473-CEFB-27DB2B86E9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C2B404-9FBA-1E87-C027-2BB6C644C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75" y="4749837"/>
            <a:ext cx="6826250" cy="971831"/>
          </a:xfrm>
        </p:spPr>
        <p:txBody>
          <a:bodyPr anchor="t"/>
          <a:lstStyle>
            <a:lvl1pPr algn="ctr"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en-US"/>
              <a:t>Add section tit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B53587-0701-2BC6-CC8A-7319C380CA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25925" y="588699"/>
            <a:ext cx="3740151" cy="3074025"/>
          </a:xfrm>
        </p:spPr>
        <p:txBody>
          <a:bodyPr/>
          <a:lstStyle>
            <a:lvl1pPr algn="ctr">
              <a:defRPr sz="20000" b="1">
                <a:ln w="19050">
                  <a:solidFill>
                    <a:schemeClr val="bg1"/>
                  </a:solidFill>
                </a:ln>
                <a:noFill/>
                <a:latin typeface="Open Sans Extrabold" pitchFamily="2" charset="0"/>
                <a:ea typeface="Open Sans Extrabold" pitchFamily="2" charset="0"/>
                <a:cs typeface="Open Sans Extrabold" pitchFamily="2" charset="0"/>
              </a:defRPr>
            </a:lvl1pPr>
          </a:lstStyle>
          <a:p>
            <a:pPr lvl="0"/>
            <a:r>
              <a:rPr lang="en-US"/>
              <a:t>00</a:t>
            </a:r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A9A821F-CF39-492F-47BD-20CE48FA9DD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5282" y="0"/>
            <a:ext cx="12202565" cy="4333466"/>
          </a:xfrm>
          <a:custGeom>
            <a:avLst/>
            <a:gdLst>
              <a:gd name="connsiteX0" fmla="*/ 0 w 12202565"/>
              <a:gd name="connsiteY0" fmla="*/ 0 h 4333466"/>
              <a:gd name="connsiteX1" fmla="*/ 12202565 w 12202565"/>
              <a:gd name="connsiteY1" fmla="*/ 0 h 4333466"/>
              <a:gd name="connsiteX2" fmla="*/ 12202565 w 12202565"/>
              <a:gd name="connsiteY2" fmla="*/ 132509 h 4333466"/>
              <a:gd name="connsiteX3" fmla="*/ 12190773 w 12202565"/>
              <a:gd name="connsiteY3" fmla="*/ 177532 h 4333466"/>
              <a:gd name="connsiteX4" fmla="*/ 6101283 w 12202565"/>
              <a:gd name="connsiteY4" fmla="*/ 4333466 h 4333466"/>
              <a:gd name="connsiteX5" fmla="*/ 11793 w 12202565"/>
              <a:gd name="connsiteY5" fmla="*/ 177532 h 4333466"/>
              <a:gd name="connsiteX6" fmla="*/ 0 w 12202565"/>
              <a:gd name="connsiteY6" fmla="*/ 132508 h 4333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2565" h="4333466">
                <a:moveTo>
                  <a:pt x="0" y="0"/>
                </a:moveTo>
                <a:lnTo>
                  <a:pt x="12202565" y="0"/>
                </a:lnTo>
                <a:lnTo>
                  <a:pt x="12202565" y="132509"/>
                </a:lnTo>
                <a:lnTo>
                  <a:pt x="12190773" y="177532"/>
                </a:lnTo>
                <a:cubicBezTo>
                  <a:pt x="11492985" y="2567477"/>
                  <a:pt x="9031166" y="4333466"/>
                  <a:pt x="6101283" y="4333466"/>
                </a:cubicBezTo>
                <a:cubicBezTo>
                  <a:pt x="3171399" y="4333466"/>
                  <a:pt x="709582" y="2567477"/>
                  <a:pt x="11793" y="177532"/>
                </a:cubicBezTo>
                <a:lnTo>
                  <a:pt x="0" y="132508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vert="horz" wrap="square" lIns="0" tIns="0" rIns="0" bIns="1152000" rtlCol="0" anchor="ctr">
            <a:noAutofit/>
          </a:bodyPr>
          <a:lstStyle>
            <a:lvl1pPr>
              <a:defRPr lang="en-GB"/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8CB5667-133F-A00A-84BF-641423DC9FC7}"/>
              </a:ext>
            </a:extLst>
          </p:cNvPr>
          <p:cNvGrpSpPr/>
          <p:nvPr userDrawn="1"/>
        </p:nvGrpSpPr>
        <p:grpSpPr>
          <a:xfrm>
            <a:off x="360363" y="5976938"/>
            <a:ext cx="2108053" cy="519112"/>
            <a:chOff x="13749337" y="746575"/>
            <a:chExt cx="11277504" cy="2777109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7651561-575A-1A02-4053-57C8D0B9C1B5}"/>
                </a:ext>
              </a:extLst>
            </p:cNvPr>
            <p:cNvSpPr/>
            <p:nvPr/>
          </p:nvSpPr>
          <p:spPr>
            <a:xfrm>
              <a:off x="13749337" y="746575"/>
              <a:ext cx="5114450" cy="2777109"/>
            </a:xfrm>
            <a:custGeom>
              <a:avLst/>
              <a:gdLst>
                <a:gd name="connsiteX0" fmla="*/ 5080826 w 5114450"/>
                <a:gd name="connsiteY0" fmla="*/ 664559 h 2777109"/>
                <a:gd name="connsiteX1" fmla="*/ 5114450 w 5114450"/>
                <a:gd name="connsiteY1" fmla="*/ 952786 h 2777109"/>
                <a:gd name="connsiteX2" fmla="*/ 4924234 w 5114450"/>
                <a:gd name="connsiteY2" fmla="*/ 952786 h 2777109"/>
                <a:gd name="connsiteX3" fmla="*/ 4911662 w 5114450"/>
                <a:gd name="connsiteY3" fmla="*/ 812292 h 2777109"/>
                <a:gd name="connsiteX4" fmla="*/ 4562570 w 5114450"/>
                <a:gd name="connsiteY4" fmla="*/ 812292 h 2777109"/>
                <a:gd name="connsiteX5" fmla="*/ 4196906 w 5114450"/>
                <a:gd name="connsiteY5" fmla="*/ 972026 h 2777109"/>
                <a:gd name="connsiteX6" fmla="*/ 4047362 w 5114450"/>
                <a:gd name="connsiteY6" fmla="*/ 952786 h 2777109"/>
                <a:gd name="connsiteX7" fmla="*/ 5080826 w 5114450"/>
                <a:gd name="connsiteY7" fmla="*/ 664559 h 2777109"/>
                <a:gd name="connsiteX8" fmla="*/ 4833462 w 5114450"/>
                <a:gd name="connsiteY8" fmla="*/ 250221 h 2777109"/>
                <a:gd name="connsiteX9" fmla="*/ 5031866 w 5114450"/>
                <a:gd name="connsiteY9" fmla="*/ 250221 h 2777109"/>
                <a:gd name="connsiteX10" fmla="*/ 5076634 w 5114450"/>
                <a:gd name="connsiteY10" fmla="*/ 629697 h 2777109"/>
                <a:gd name="connsiteX11" fmla="*/ 4896516 w 5114450"/>
                <a:gd name="connsiteY11" fmla="*/ 650176 h 2777109"/>
                <a:gd name="connsiteX12" fmla="*/ 4876418 w 5114450"/>
                <a:gd name="connsiteY12" fmla="*/ 423767 h 2777109"/>
                <a:gd name="connsiteX13" fmla="*/ 4658010 w 5114450"/>
                <a:gd name="connsiteY13" fmla="*/ 693610 h 2777109"/>
                <a:gd name="connsiteX14" fmla="*/ 4657914 w 5114450"/>
                <a:gd name="connsiteY14" fmla="*/ 693610 h 2777109"/>
                <a:gd name="connsiteX15" fmla="*/ 4412456 w 5114450"/>
                <a:gd name="connsiteY15" fmla="*/ 758856 h 2777109"/>
                <a:gd name="connsiteX16" fmla="*/ 4833462 w 5114450"/>
                <a:gd name="connsiteY16" fmla="*/ 250221 h 2777109"/>
                <a:gd name="connsiteX17" fmla="*/ 4326922 w 5114450"/>
                <a:gd name="connsiteY17" fmla="*/ 232600 h 2777109"/>
                <a:gd name="connsiteX18" fmla="*/ 4614670 w 5114450"/>
                <a:gd name="connsiteY18" fmla="*/ 329279 h 2777109"/>
                <a:gd name="connsiteX19" fmla="*/ 4508658 w 5114450"/>
                <a:gd name="connsiteY19" fmla="*/ 460438 h 2777109"/>
                <a:gd name="connsiteX20" fmla="*/ 4508658 w 5114450"/>
                <a:gd name="connsiteY20" fmla="*/ 460533 h 2777109"/>
                <a:gd name="connsiteX21" fmla="*/ 4299298 w 5114450"/>
                <a:gd name="connsiteY21" fmla="*/ 376999 h 2777109"/>
                <a:gd name="connsiteX22" fmla="*/ 4010024 w 5114450"/>
                <a:gd name="connsiteY22" fmla="*/ 619887 h 2777109"/>
                <a:gd name="connsiteX23" fmla="*/ 4113466 w 5114450"/>
                <a:gd name="connsiteY23" fmla="*/ 811911 h 2777109"/>
                <a:gd name="connsiteX24" fmla="*/ 4215670 w 5114450"/>
                <a:gd name="connsiteY24" fmla="*/ 826484 h 2777109"/>
                <a:gd name="connsiteX25" fmla="*/ 3928300 w 5114450"/>
                <a:gd name="connsiteY25" fmla="*/ 952881 h 2777109"/>
                <a:gd name="connsiteX26" fmla="*/ 3206400 w 5114450"/>
                <a:gd name="connsiteY26" fmla="*/ 952881 h 2777109"/>
                <a:gd name="connsiteX27" fmla="*/ 3454336 w 5114450"/>
                <a:gd name="connsiteY27" fmla="*/ 250317 h 2777109"/>
                <a:gd name="connsiteX28" fmla="*/ 3987164 w 5114450"/>
                <a:gd name="connsiteY28" fmla="*/ 250317 h 2777109"/>
                <a:gd name="connsiteX29" fmla="*/ 3871626 w 5114450"/>
                <a:gd name="connsiteY29" fmla="*/ 390810 h 2777109"/>
                <a:gd name="connsiteX30" fmla="*/ 3587590 w 5114450"/>
                <a:gd name="connsiteY30" fmla="*/ 390810 h 2777109"/>
                <a:gd name="connsiteX31" fmla="*/ 3544156 w 5114450"/>
                <a:gd name="connsiteY31" fmla="*/ 513683 h 2777109"/>
                <a:gd name="connsiteX32" fmla="*/ 3770470 w 5114450"/>
                <a:gd name="connsiteY32" fmla="*/ 513683 h 2777109"/>
                <a:gd name="connsiteX33" fmla="*/ 3655122 w 5114450"/>
                <a:gd name="connsiteY33" fmla="*/ 653796 h 2777109"/>
                <a:gd name="connsiteX34" fmla="*/ 3494722 w 5114450"/>
                <a:gd name="connsiteY34" fmla="*/ 653796 h 2777109"/>
                <a:gd name="connsiteX35" fmla="*/ 3438810 w 5114450"/>
                <a:gd name="connsiteY35" fmla="*/ 812101 h 2777109"/>
                <a:gd name="connsiteX36" fmla="*/ 3873530 w 5114450"/>
                <a:gd name="connsiteY36" fmla="*/ 812101 h 2777109"/>
                <a:gd name="connsiteX37" fmla="*/ 3829430 w 5114450"/>
                <a:gd name="connsiteY37" fmla="*/ 629793 h 2777109"/>
                <a:gd name="connsiteX38" fmla="*/ 4326922 w 5114450"/>
                <a:gd name="connsiteY38" fmla="*/ 232600 h 2777109"/>
                <a:gd name="connsiteX39" fmla="*/ 1567529 w 5114450"/>
                <a:gd name="connsiteY39" fmla="*/ 0 h 2777109"/>
                <a:gd name="connsiteX40" fmla="*/ 2797397 w 5114450"/>
                <a:gd name="connsiteY40" fmla="*/ 1388555 h 2777109"/>
                <a:gd name="connsiteX41" fmla="*/ 1567529 w 5114450"/>
                <a:gd name="connsiteY41" fmla="*/ 2777109 h 2777109"/>
                <a:gd name="connsiteX42" fmla="*/ 1567529 w 5114450"/>
                <a:gd name="connsiteY42" fmla="*/ 2003965 h 2777109"/>
                <a:gd name="connsiteX43" fmla="*/ 2036921 w 5114450"/>
                <a:gd name="connsiteY43" fmla="*/ 1388555 h 2777109"/>
                <a:gd name="connsiteX44" fmla="*/ 1567529 w 5114450"/>
                <a:gd name="connsiteY44" fmla="*/ 773144 h 2777109"/>
                <a:gd name="connsiteX45" fmla="*/ 1229868 w 5114450"/>
                <a:gd name="connsiteY45" fmla="*/ 0 h 2777109"/>
                <a:gd name="connsiteX46" fmla="*/ 1229868 w 5114450"/>
                <a:gd name="connsiteY46" fmla="*/ 773144 h 2777109"/>
                <a:gd name="connsiteX47" fmla="*/ 760476 w 5114450"/>
                <a:gd name="connsiteY47" fmla="*/ 1388555 h 2777109"/>
                <a:gd name="connsiteX48" fmla="*/ 1229868 w 5114450"/>
                <a:gd name="connsiteY48" fmla="*/ 2003965 h 2777109"/>
                <a:gd name="connsiteX49" fmla="*/ 1229868 w 5114450"/>
                <a:gd name="connsiteY49" fmla="*/ 2777109 h 2777109"/>
                <a:gd name="connsiteX50" fmla="*/ 0 w 5114450"/>
                <a:gd name="connsiteY50" fmla="*/ 1388555 h 2777109"/>
                <a:gd name="connsiteX51" fmla="*/ 1229868 w 5114450"/>
                <a:gd name="connsiteY51" fmla="*/ 0 h 2777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114450" h="2777109">
                  <a:moveTo>
                    <a:pt x="5080826" y="664559"/>
                  </a:moveTo>
                  <a:lnTo>
                    <a:pt x="5114450" y="952786"/>
                  </a:lnTo>
                  <a:lnTo>
                    <a:pt x="4924234" y="952786"/>
                  </a:lnTo>
                  <a:cubicBezTo>
                    <a:pt x="4924234" y="952786"/>
                    <a:pt x="4911662" y="812292"/>
                    <a:pt x="4911662" y="812292"/>
                  </a:cubicBezTo>
                  <a:lnTo>
                    <a:pt x="4562570" y="812292"/>
                  </a:lnTo>
                  <a:cubicBezTo>
                    <a:pt x="4448746" y="938022"/>
                    <a:pt x="4354162" y="972026"/>
                    <a:pt x="4196906" y="972026"/>
                  </a:cubicBezTo>
                  <a:cubicBezTo>
                    <a:pt x="4140136" y="972026"/>
                    <a:pt x="4086892" y="965549"/>
                    <a:pt x="4047362" y="952786"/>
                  </a:cubicBezTo>
                  <a:cubicBezTo>
                    <a:pt x="4047362" y="952786"/>
                    <a:pt x="4500562" y="719233"/>
                    <a:pt x="5080826" y="664559"/>
                  </a:cubicBezTo>
                  <a:close/>
                  <a:moveTo>
                    <a:pt x="4833462" y="250221"/>
                  </a:moveTo>
                  <a:lnTo>
                    <a:pt x="5031866" y="250221"/>
                  </a:lnTo>
                  <a:lnTo>
                    <a:pt x="5076634" y="629697"/>
                  </a:lnTo>
                  <a:cubicBezTo>
                    <a:pt x="5016626" y="636079"/>
                    <a:pt x="4955094" y="641127"/>
                    <a:pt x="4896516" y="650176"/>
                  </a:cubicBezTo>
                  <a:lnTo>
                    <a:pt x="4876418" y="423767"/>
                  </a:lnTo>
                  <a:lnTo>
                    <a:pt x="4658010" y="693610"/>
                  </a:lnTo>
                  <a:lnTo>
                    <a:pt x="4657914" y="693610"/>
                  </a:lnTo>
                  <a:cubicBezTo>
                    <a:pt x="4574094" y="712470"/>
                    <a:pt x="4492274" y="734282"/>
                    <a:pt x="4412456" y="758856"/>
                  </a:cubicBezTo>
                  <a:cubicBezTo>
                    <a:pt x="4412456" y="758856"/>
                    <a:pt x="4833462" y="250221"/>
                    <a:pt x="4833462" y="250221"/>
                  </a:cubicBezTo>
                  <a:close/>
                  <a:moveTo>
                    <a:pt x="4326922" y="232600"/>
                  </a:moveTo>
                  <a:cubicBezTo>
                    <a:pt x="4449222" y="232600"/>
                    <a:pt x="4548090" y="269271"/>
                    <a:pt x="4614670" y="329279"/>
                  </a:cubicBezTo>
                  <a:lnTo>
                    <a:pt x="4508658" y="460438"/>
                  </a:lnTo>
                  <a:lnTo>
                    <a:pt x="4508658" y="460533"/>
                  </a:lnTo>
                  <a:cubicBezTo>
                    <a:pt x="4467130" y="414051"/>
                    <a:pt x="4383498" y="376999"/>
                    <a:pt x="4299298" y="376999"/>
                  </a:cubicBezTo>
                  <a:cubicBezTo>
                    <a:pt x="4128706" y="376999"/>
                    <a:pt x="4021930" y="498538"/>
                    <a:pt x="4010024" y="619887"/>
                  </a:cubicBezTo>
                  <a:cubicBezTo>
                    <a:pt x="3999928" y="723042"/>
                    <a:pt x="4035838" y="785241"/>
                    <a:pt x="4113466" y="811911"/>
                  </a:cubicBezTo>
                  <a:cubicBezTo>
                    <a:pt x="4156518" y="822769"/>
                    <a:pt x="4180902" y="825246"/>
                    <a:pt x="4215670" y="826484"/>
                  </a:cubicBezTo>
                  <a:cubicBezTo>
                    <a:pt x="4030408" y="898017"/>
                    <a:pt x="3928300" y="952881"/>
                    <a:pt x="3928300" y="952881"/>
                  </a:cubicBezTo>
                  <a:lnTo>
                    <a:pt x="3206400" y="952881"/>
                  </a:lnTo>
                  <a:cubicBezTo>
                    <a:pt x="3206400" y="952881"/>
                    <a:pt x="3454336" y="250317"/>
                    <a:pt x="3454336" y="250317"/>
                  </a:cubicBezTo>
                  <a:lnTo>
                    <a:pt x="3987164" y="250317"/>
                  </a:lnTo>
                  <a:cubicBezTo>
                    <a:pt x="3987164" y="250317"/>
                    <a:pt x="3871626" y="390810"/>
                    <a:pt x="3871626" y="390810"/>
                  </a:cubicBezTo>
                  <a:lnTo>
                    <a:pt x="3587590" y="390810"/>
                  </a:lnTo>
                  <a:cubicBezTo>
                    <a:pt x="3587590" y="390810"/>
                    <a:pt x="3544156" y="513683"/>
                    <a:pt x="3544156" y="513683"/>
                  </a:cubicBezTo>
                  <a:lnTo>
                    <a:pt x="3770470" y="513683"/>
                  </a:lnTo>
                  <a:cubicBezTo>
                    <a:pt x="3770470" y="513683"/>
                    <a:pt x="3655122" y="653796"/>
                    <a:pt x="3655122" y="653796"/>
                  </a:cubicBezTo>
                  <a:lnTo>
                    <a:pt x="3494722" y="653796"/>
                  </a:lnTo>
                  <a:cubicBezTo>
                    <a:pt x="3494722" y="653796"/>
                    <a:pt x="3438810" y="812101"/>
                    <a:pt x="3438810" y="812101"/>
                  </a:cubicBezTo>
                  <a:lnTo>
                    <a:pt x="3873530" y="812101"/>
                  </a:lnTo>
                  <a:cubicBezTo>
                    <a:pt x="3837336" y="752284"/>
                    <a:pt x="3826192" y="691610"/>
                    <a:pt x="3829430" y="629793"/>
                  </a:cubicBezTo>
                  <a:cubicBezTo>
                    <a:pt x="3840290" y="425481"/>
                    <a:pt x="4007454" y="232600"/>
                    <a:pt x="4326922" y="232600"/>
                  </a:cubicBezTo>
                  <a:close/>
                  <a:moveTo>
                    <a:pt x="1567529" y="0"/>
                  </a:moveTo>
                  <a:cubicBezTo>
                    <a:pt x="2260473" y="83344"/>
                    <a:pt x="2797397" y="673227"/>
                    <a:pt x="2797397" y="1388555"/>
                  </a:cubicBezTo>
                  <a:cubicBezTo>
                    <a:pt x="2797397" y="2103882"/>
                    <a:pt x="2260378" y="2693765"/>
                    <a:pt x="1567529" y="2777109"/>
                  </a:cubicBezTo>
                  <a:lnTo>
                    <a:pt x="1567529" y="2003965"/>
                  </a:lnTo>
                  <a:cubicBezTo>
                    <a:pt x="1837754" y="1929765"/>
                    <a:pt x="2036921" y="1682020"/>
                    <a:pt x="2036921" y="1388555"/>
                  </a:cubicBezTo>
                  <a:cubicBezTo>
                    <a:pt x="2036921" y="1095089"/>
                    <a:pt x="1837754" y="847344"/>
                    <a:pt x="1567529" y="773144"/>
                  </a:cubicBezTo>
                  <a:close/>
                  <a:moveTo>
                    <a:pt x="1229868" y="0"/>
                  </a:moveTo>
                  <a:lnTo>
                    <a:pt x="1229868" y="773144"/>
                  </a:lnTo>
                  <a:cubicBezTo>
                    <a:pt x="959644" y="847344"/>
                    <a:pt x="760476" y="1095089"/>
                    <a:pt x="760476" y="1388555"/>
                  </a:cubicBezTo>
                  <a:cubicBezTo>
                    <a:pt x="760476" y="1682020"/>
                    <a:pt x="959644" y="1929765"/>
                    <a:pt x="1229868" y="2003965"/>
                  </a:cubicBezTo>
                  <a:lnTo>
                    <a:pt x="1229868" y="2777109"/>
                  </a:lnTo>
                  <a:cubicBezTo>
                    <a:pt x="537020" y="2693765"/>
                    <a:pt x="0" y="2103882"/>
                    <a:pt x="0" y="1388555"/>
                  </a:cubicBezTo>
                  <a:cubicBezTo>
                    <a:pt x="0" y="673227"/>
                    <a:pt x="537020" y="83344"/>
                    <a:pt x="1229868" y="0"/>
                  </a:cubicBez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4F1401A-B3F4-AE03-B087-47195A8CDCC5}"/>
                </a:ext>
              </a:extLst>
            </p:cNvPr>
            <p:cNvSpPr/>
            <p:nvPr/>
          </p:nvSpPr>
          <p:spPr>
            <a:xfrm>
              <a:off x="16955738" y="1931294"/>
              <a:ext cx="8071103" cy="1359693"/>
            </a:xfrm>
            <a:custGeom>
              <a:avLst/>
              <a:gdLst>
                <a:gd name="connsiteX0" fmla="*/ 0 w 8071103"/>
                <a:gd name="connsiteY0" fmla="*/ 1074230 h 1359693"/>
                <a:gd name="connsiteX1" fmla="*/ 0 w 8071103"/>
                <a:gd name="connsiteY1" fmla="*/ 283559 h 1359693"/>
                <a:gd name="connsiteX2" fmla="*/ 308038 w 8071103"/>
                <a:gd name="connsiteY2" fmla="*/ 0 h 1359693"/>
                <a:gd name="connsiteX3" fmla="*/ 616077 w 8071103"/>
                <a:gd name="connsiteY3" fmla="*/ 283559 h 1359693"/>
                <a:gd name="connsiteX4" fmla="*/ 616077 w 8071103"/>
                <a:gd name="connsiteY4" fmla="*/ 557784 h 1359693"/>
                <a:gd name="connsiteX5" fmla="*/ 379476 w 8071103"/>
                <a:gd name="connsiteY5" fmla="*/ 557784 h 1359693"/>
                <a:gd name="connsiteX6" fmla="*/ 379476 w 8071103"/>
                <a:gd name="connsiteY6" fmla="*/ 285464 h 1359693"/>
                <a:gd name="connsiteX7" fmla="*/ 308134 w 8071103"/>
                <a:gd name="connsiteY7" fmla="*/ 215932 h 1359693"/>
                <a:gd name="connsiteX8" fmla="*/ 236791 w 8071103"/>
                <a:gd name="connsiteY8" fmla="*/ 285464 h 1359693"/>
                <a:gd name="connsiteX9" fmla="*/ 236791 w 8071103"/>
                <a:gd name="connsiteY9" fmla="*/ 1074230 h 1359693"/>
                <a:gd name="connsiteX10" fmla="*/ 308134 w 8071103"/>
                <a:gd name="connsiteY10" fmla="*/ 1143667 h 1359693"/>
                <a:gd name="connsiteX11" fmla="*/ 379476 w 8071103"/>
                <a:gd name="connsiteY11" fmla="*/ 1074230 h 1359693"/>
                <a:gd name="connsiteX12" fmla="*/ 379476 w 8071103"/>
                <a:gd name="connsiteY12" fmla="*/ 783146 h 1359693"/>
                <a:gd name="connsiteX13" fmla="*/ 616077 w 8071103"/>
                <a:gd name="connsiteY13" fmla="*/ 783146 h 1359693"/>
                <a:gd name="connsiteX14" fmla="*/ 616077 w 8071103"/>
                <a:gd name="connsiteY14" fmla="*/ 1074230 h 1359693"/>
                <a:gd name="connsiteX15" fmla="*/ 308038 w 8071103"/>
                <a:gd name="connsiteY15" fmla="*/ 1359694 h 1359693"/>
                <a:gd name="connsiteX16" fmla="*/ 0 w 8071103"/>
                <a:gd name="connsiteY16" fmla="*/ 1074230 h 1359693"/>
                <a:gd name="connsiteX17" fmla="*/ 762476 w 8071103"/>
                <a:gd name="connsiteY17" fmla="*/ 22574 h 1359693"/>
                <a:gd name="connsiteX18" fmla="*/ 999077 w 8071103"/>
                <a:gd name="connsiteY18" fmla="*/ 22574 h 1359693"/>
                <a:gd name="connsiteX19" fmla="*/ 999077 w 8071103"/>
                <a:gd name="connsiteY19" fmla="*/ 1121283 h 1359693"/>
                <a:gd name="connsiteX20" fmla="*/ 1198150 w 8071103"/>
                <a:gd name="connsiteY20" fmla="*/ 1121283 h 1359693"/>
                <a:gd name="connsiteX21" fmla="*/ 1198150 w 8071103"/>
                <a:gd name="connsiteY21" fmla="*/ 1337215 h 1359693"/>
                <a:gd name="connsiteX22" fmla="*/ 762476 w 8071103"/>
                <a:gd name="connsiteY22" fmla="*/ 1337215 h 1359693"/>
                <a:gd name="connsiteX23" fmla="*/ 762476 w 8071103"/>
                <a:gd name="connsiteY23" fmla="*/ 22574 h 1359693"/>
                <a:gd name="connsiteX24" fmla="*/ 1293971 w 8071103"/>
                <a:gd name="connsiteY24" fmla="*/ 1074230 h 1359693"/>
                <a:gd name="connsiteX25" fmla="*/ 1293971 w 8071103"/>
                <a:gd name="connsiteY25" fmla="*/ 22479 h 1359693"/>
                <a:gd name="connsiteX26" fmla="*/ 1530572 w 8071103"/>
                <a:gd name="connsiteY26" fmla="*/ 22479 h 1359693"/>
                <a:gd name="connsiteX27" fmla="*/ 1530572 w 8071103"/>
                <a:gd name="connsiteY27" fmla="*/ 1074230 h 1359693"/>
                <a:gd name="connsiteX28" fmla="*/ 1600105 w 8071103"/>
                <a:gd name="connsiteY28" fmla="*/ 1143667 h 1359693"/>
                <a:gd name="connsiteX29" fmla="*/ 1671447 w 8071103"/>
                <a:gd name="connsiteY29" fmla="*/ 1074230 h 1359693"/>
                <a:gd name="connsiteX30" fmla="*/ 1671447 w 8071103"/>
                <a:gd name="connsiteY30" fmla="*/ 22479 h 1359693"/>
                <a:gd name="connsiteX31" fmla="*/ 1908048 w 8071103"/>
                <a:gd name="connsiteY31" fmla="*/ 22479 h 1359693"/>
                <a:gd name="connsiteX32" fmla="*/ 1908048 w 8071103"/>
                <a:gd name="connsiteY32" fmla="*/ 1074230 h 1359693"/>
                <a:gd name="connsiteX33" fmla="*/ 1600009 w 8071103"/>
                <a:gd name="connsiteY33" fmla="*/ 1359694 h 1359693"/>
                <a:gd name="connsiteX34" fmla="*/ 1293876 w 8071103"/>
                <a:gd name="connsiteY34" fmla="*/ 1074230 h 1359693"/>
                <a:gd name="connsiteX35" fmla="*/ 2060162 w 8071103"/>
                <a:gd name="connsiteY35" fmla="*/ 22574 h 1359693"/>
                <a:gd name="connsiteX36" fmla="*/ 2394490 w 8071103"/>
                <a:gd name="connsiteY36" fmla="*/ 22574 h 1359693"/>
                <a:gd name="connsiteX37" fmla="*/ 2674335 w 8071103"/>
                <a:gd name="connsiteY37" fmla="*/ 279844 h 1359693"/>
                <a:gd name="connsiteX38" fmla="*/ 2674335 w 8071103"/>
                <a:gd name="connsiteY38" fmla="*/ 458248 h 1359693"/>
                <a:gd name="connsiteX39" fmla="*/ 2565369 w 8071103"/>
                <a:gd name="connsiteY39" fmla="*/ 651701 h 1359693"/>
                <a:gd name="connsiteX40" fmla="*/ 2565369 w 8071103"/>
                <a:gd name="connsiteY40" fmla="*/ 662940 h 1359693"/>
                <a:gd name="connsiteX41" fmla="*/ 2685574 w 8071103"/>
                <a:gd name="connsiteY41" fmla="*/ 865727 h 1359693"/>
                <a:gd name="connsiteX42" fmla="*/ 2685574 w 8071103"/>
                <a:gd name="connsiteY42" fmla="*/ 1079849 h 1359693"/>
                <a:gd name="connsiteX43" fmla="*/ 2405729 w 8071103"/>
                <a:gd name="connsiteY43" fmla="*/ 1337120 h 1359693"/>
                <a:gd name="connsiteX44" fmla="*/ 2060162 w 8071103"/>
                <a:gd name="connsiteY44" fmla="*/ 1337120 h 1359693"/>
                <a:gd name="connsiteX45" fmla="*/ 2060162 w 8071103"/>
                <a:gd name="connsiteY45" fmla="*/ 22574 h 1359693"/>
                <a:gd name="connsiteX46" fmla="*/ 2296763 w 8071103"/>
                <a:gd name="connsiteY46" fmla="*/ 238506 h 1359693"/>
                <a:gd name="connsiteX47" fmla="*/ 2296763 w 8071103"/>
                <a:gd name="connsiteY47" fmla="*/ 569024 h 1359693"/>
                <a:gd name="connsiteX48" fmla="*/ 2366296 w 8071103"/>
                <a:gd name="connsiteY48" fmla="*/ 569024 h 1359693"/>
                <a:gd name="connsiteX49" fmla="*/ 2437638 w 8071103"/>
                <a:gd name="connsiteY49" fmla="*/ 497681 h 1359693"/>
                <a:gd name="connsiteX50" fmla="*/ 2437638 w 8071103"/>
                <a:gd name="connsiteY50" fmla="*/ 307943 h 1359693"/>
                <a:gd name="connsiteX51" fmla="*/ 2366296 w 8071103"/>
                <a:gd name="connsiteY51" fmla="*/ 238506 h 1359693"/>
                <a:gd name="connsiteX52" fmla="*/ 2296763 w 8071103"/>
                <a:gd name="connsiteY52" fmla="*/ 238506 h 1359693"/>
                <a:gd name="connsiteX53" fmla="*/ 2296763 w 8071103"/>
                <a:gd name="connsiteY53" fmla="*/ 770001 h 1359693"/>
                <a:gd name="connsiteX54" fmla="*/ 2296763 w 8071103"/>
                <a:gd name="connsiteY54" fmla="*/ 1121188 h 1359693"/>
                <a:gd name="connsiteX55" fmla="*/ 2379440 w 8071103"/>
                <a:gd name="connsiteY55" fmla="*/ 1121188 h 1359693"/>
                <a:gd name="connsiteX56" fmla="*/ 2448973 w 8071103"/>
                <a:gd name="connsiteY56" fmla="*/ 1051655 h 1359693"/>
                <a:gd name="connsiteX57" fmla="*/ 2448973 w 8071103"/>
                <a:gd name="connsiteY57" fmla="*/ 841343 h 1359693"/>
                <a:gd name="connsiteX58" fmla="*/ 2379440 w 8071103"/>
                <a:gd name="connsiteY58" fmla="*/ 770001 h 1359693"/>
                <a:gd name="connsiteX59" fmla="*/ 2296763 w 8071103"/>
                <a:gd name="connsiteY59" fmla="*/ 770001 h 1359693"/>
                <a:gd name="connsiteX60" fmla="*/ 3094482 w 8071103"/>
                <a:gd name="connsiteY60" fmla="*/ 1074230 h 1359693"/>
                <a:gd name="connsiteX61" fmla="*/ 3094482 w 8071103"/>
                <a:gd name="connsiteY61" fmla="*/ 283559 h 1359693"/>
                <a:gd name="connsiteX62" fmla="*/ 3402520 w 8071103"/>
                <a:gd name="connsiteY62" fmla="*/ 0 h 1359693"/>
                <a:gd name="connsiteX63" fmla="*/ 3710559 w 8071103"/>
                <a:gd name="connsiteY63" fmla="*/ 283559 h 1359693"/>
                <a:gd name="connsiteX64" fmla="*/ 3710559 w 8071103"/>
                <a:gd name="connsiteY64" fmla="*/ 557784 h 1359693"/>
                <a:gd name="connsiteX65" fmla="*/ 3473958 w 8071103"/>
                <a:gd name="connsiteY65" fmla="*/ 557784 h 1359693"/>
                <a:gd name="connsiteX66" fmla="*/ 3473958 w 8071103"/>
                <a:gd name="connsiteY66" fmla="*/ 285464 h 1359693"/>
                <a:gd name="connsiteX67" fmla="*/ 3402616 w 8071103"/>
                <a:gd name="connsiteY67" fmla="*/ 215932 h 1359693"/>
                <a:gd name="connsiteX68" fmla="*/ 3331274 w 8071103"/>
                <a:gd name="connsiteY68" fmla="*/ 285464 h 1359693"/>
                <a:gd name="connsiteX69" fmla="*/ 3331274 w 8071103"/>
                <a:gd name="connsiteY69" fmla="*/ 1074230 h 1359693"/>
                <a:gd name="connsiteX70" fmla="*/ 3402616 w 8071103"/>
                <a:gd name="connsiteY70" fmla="*/ 1143667 h 1359693"/>
                <a:gd name="connsiteX71" fmla="*/ 3473958 w 8071103"/>
                <a:gd name="connsiteY71" fmla="*/ 1074230 h 1359693"/>
                <a:gd name="connsiteX72" fmla="*/ 3473958 w 8071103"/>
                <a:gd name="connsiteY72" fmla="*/ 783146 h 1359693"/>
                <a:gd name="connsiteX73" fmla="*/ 3710559 w 8071103"/>
                <a:gd name="connsiteY73" fmla="*/ 783146 h 1359693"/>
                <a:gd name="connsiteX74" fmla="*/ 3710559 w 8071103"/>
                <a:gd name="connsiteY74" fmla="*/ 1074230 h 1359693"/>
                <a:gd name="connsiteX75" fmla="*/ 3402520 w 8071103"/>
                <a:gd name="connsiteY75" fmla="*/ 1359694 h 1359693"/>
                <a:gd name="connsiteX76" fmla="*/ 3094482 w 8071103"/>
                <a:gd name="connsiteY76" fmla="*/ 1074230 h 1359693"/>
                <a:gd name="connsiteX77" fmla="*/ 3849434 w 8071103"/>
                <a:gd name="connsiteY77" fmla="*/ 1074230 h 1359693"/>
                <a:gd name="connsiteX78" fmla="*/ 3849434 w 8071103"/>
                <a:gd name="connsiteY78" fmla="*/ 283559 h 1359693"/>
                <a:gd name="connsiteX79" fmla="*/ 4157472 w 8071103"/>
                <a:gd name="connsiteY79" fmla="*/ 0 h 1359693"/>
                <a:gd name="connsiteX80" fmla="*/ 4465511 w 8071103"/>
                <a:gd name="connsiteY80" fmla="*/ 283559 h 1359693"/>
                <a:gd name="connsiteX81" fmla="*/ 4465511 w 8071103"/>
                <a:gd name="connsiteY81" fmla="*/ 1074230 h 1359693"/>
                <a:gd name="connsiteX82" fmla="*/ 4157472 w 8071103"/>
                <a:gd name="connsiteY82" fmla="*/ 1359694 h 1359693"/>
                <a:gd name="connsiteX83" fmla="*/ 3849434 w 8071103"/>
                <a:gd name="connsiteY83" fmla="*/ 1074230 h 1359693"/>
                <a:gd name="connsiteX84" fmla="*/ 4228814 w 8071103"/>
                <a:gd name="connsiteY84" fmla="*/ 1074230 h 1359693"/>
                <a:gd name="connsiteX85" fmla="*/ 4228814 w 8071103"/>
                <a:gd name="connsiteY85" fmla="*/ 285464 h 1359693"/>
                <a:gd name="connsiteX86" fmla="*/ 4157472 w 8071103"/>
                <a:gd name="connsiteY86" fmla="*/ 215932 h 1359693"/>
                <a:gd name="connsiteX87" fmla="*/ 4086130 w 8071103"/>
                <a:gd name="connsiteY87" fmla="*/ 285464 h 1359693"/>
                <a:gd name="connsiteX88" fmla="*/ 4086130 w 8071103"/>
                <a:gd name="connsiteY88" fmla="*/ 1074230 h 1359693"/>
                <a:gd name="connsiteX89" fmla="*/ 4157472 w 8071103"/>
                <a:gd name="connsiteY89" fmla="*/ 1143667 h 1359693"/>
                <a:gd name="connsiteX90" fmla="*/ 4228814 w 8071103"/>
                <a:gd name="connsiteY90" fmla="*/ 1074230 h 1359693"/>
                <a:gd name="connsiteX91" fmla="*/ 4613720 w 8071103"/>
                <a:gd name="connsiteY91" fmla="*/ 22574 h 1359693"/>
                <a:gd name="connsiteX92" fmla="*/ 4886039 w 8071103"/>
                <a:gd name="connsiteY92" fmla="*/ 22574 h 1359693"/>
                <a:gd name="connsiteX93" fmla="*/ 5021294 w 8071103"/>
                <a:gd name="connsiteY93" fmla="*/ 646081 h 1359693"/>
                <a:gd name="connsiteX94" fmla="*/ 5040059 w 8071103"/>
                <a:gd name="connsiteY94" fmla="*/ 811340 h 1359693"/>
                <a:gd name="connsiteX95" fmla="*/ 5071967 w 8071103"/>
                <a:gd name="connsiteY95" fmla="*/ 811340 h 1359693"/>
                <a:gd name="connsiteX96" fmla="*/ 5051298 w 8071103"/>
                <a:gd name="connsiteY96" fmla="*/ 646081 h 1359693"/>
                <a:gd name="connsiteX97" fmla="*/ 5051298 w 8071103"/>
                <a:gd name="connsiteY97" fmla="*/ 22574 h 1359693"/>
                <a:gd name="connsiteX98" fmla="*/ 5287899 w 8071103"/>
                <a:gd name="connsiteY98" fmla="*/ 22574 h 1359693"/>
                <a:gd name="connsiteX99" fmla="*/ 5287899 w 8071103"/>
                <a:gd name="connsiteY99" fmla="*/ 1337215 h 1359693"/>
                <a:gd name="connsiteX100" fmla="*/ 5017485 w 8071103"/>
                <a:gd name="connsiteY100" fmla="*/ 1337215 h 1359693"/>
                <a:gd name="connsiteX101" fmla="*/ 4882230 w 8071103"/>
                <a:gd name="connsiteY101" fmla="*/ 713708 h 1359693"/>
                <a:gd name="connsiteX102" fmla="*/ 4861560 w 8071103"/>
                <a:gd name="connsiteY102" fmla="*/ 548450 h 1359693"/>
                <a:gd name="connsiteX103" fmla="*/ 4829651 w 8071103"/>
                <a:gd name="connsiteY103" fmla="*/ 548450 h 1359693"/>
                <a:gd name="connsiteX104" fmla="*/ 4850320 w 8071103"/>
                <a:gd name="connsiteY104" fmla="*/ 713708 h 1359693"/>
                <a:gd name="connsiteX105" fmla="*/ 4850320 w 8071103"/>
                <a:gd name="connsiteY105" fmla="*/ 1337215 h 1359693"/>
                <a:gd name="connsiteX106" fmla="*/ 4613720 w 8071103"/>
                <a:gd name="connsiteY106" fmla="*/ 1337215 h 1359693"/>
                <a:gd name="connsiteX107" fmla="*/ 4613720 w 8071103"/>
                <a:gd name="connsiteY107" fmla="*/ 22574 h 1359693"/>
                <a:gd name="connsiteX108" fmla="*/ 5443823 w 8071103"/>
                <a:gd name="connsiteY108" fmla="*/ 22574 h 1359693"/>
                <a:gd name="connsiteX109" fmla="*/ 5716143 w 8071103"/>
                <a:gd name="connsiteY109" fmla="*/ 22574 h 1359693"/>
                <a:gd name="connsiteX110" fmla="*/ 5851398 w 8071103"/>
                <a:gd name="connsiteY110" fmla="*/ 646081 h 1359693"/>
                <a:gd name="connsiteX111" fmla="*/ 5870162 w 8071103"/>
                <a:gd name="connsiteY111" fmla="*/ 811340 h 1359693"/>
                <a:gd name="connsiteX112" fmla="*/ 5902071 w 8071103"/>
                <a:gd name="connsiteY112" fmla="*/ 811340 h 1359693"/>
                <a:gd name="connsiteX113" fmla="*/ 5881402 w 8071103"/>
                <a:gd name="connsiteY113" fmla="*/ 646081 h 1359693"/>
                <a:gd name="connsiteX114" fmla="*/ 5881402 w 8071103"/>
                <a:gd name="connsiteY114" fmla="*/ 22574 h 1359693"/>
                <a:gd name="connsiteX115" fmla="*/ 6118003 w 8071103"/>
                <a:gd name="connsiteY115" fmla="*/ 22574 h 1359693"/>
                <a:gd name="connsiteX116" fmla="*/ 6118003 w 8071103"/>
                <a:gd name="connsiteY116" fmla="*/ 1337215 h 1359693"/>
                <a:gd name="connsiteX117" fmla="*/ 5847588 w 8071103"/>
                <a:gd name="connsiteY117" fmla="*/ 1337215 h 1359693"/>
                <a:gd name="connsiteX118" fmla="*/ 5712333 w 8071103"/>
                <a:gd name="connsiteY118" fmla="*/ 713708 h 1359693"/>
                <a:gd name="connsiteX119" fmla="*/ 5691664 w 8071103"/>
                <a:gd name="connsiteY119" fmla="*/ 548450 h 1359693"/>
                <a:gd name="connsiteX120" fmla="*/ 5659755 w 8071103"/>
                <a:gd name="connsiteY120" fmla="*/ 548450 h 1359693"/>
                <a:gd name="connsiteX121" fmla="*/ 5680424 w 8071103"/>
                <a:gd name="connsiteY121" fmla="*/ 713708 h 1359693"/>
                <a:gd name="connsiteX122" fmla="*/ 5680424 w 8071103"/>
                <a:gd name="connsiteY122" fmla="*/ 1337215 h 1359693"/>
                <a:gd name="connsiteX123" fmla="*/ 5443823 w 8071103"/>
                <a:gd name="connsiteY123" fmla="*/ 1337215 h 1359693"/>
                <a:gd name="connsiteX124" fmla="*/ 5443823 w 8071103"/>
                <a:gd name="connsiteY124" fmla="*/ 22574 h 1359693"/>
                <a:gd name="connsiteX125" fmla="*/ 6273832 w 8071103"/>
                <a:gd name="connsiteY125" fmla="*/ 22574 h 1359693"/>
                <a:gd name="connsiteX126" fmla="*/ 6720840 w 8071103"/>
                <a:gd name="connsiteY126" fmla="*/ 22574 h 1359693"/>
                <a:gd name="connsiteX127" fmla="*/ 6720840 w 8071103"/>
                <a:gd name="connsiteY127" fmla="*/ 238601 h 1359693"/>
                <a:gd name="connsiteX128" fmla="*/ 6510528 w 8071103"/>
                <a:gd name="connsiteY128" fmla="*/ 238601 h 1359693"/>
                <a:gd name="connsiteX129" fmla="*/ 6510528 w 8071103"/>
                <a:gd name="connsiteY129" fmla="*/ 565404 h 1359693"/>
                <a:gd name="connsiteX130" fmla="*/ 6700172 w 8071103"/>
                <a:gd name="connsiteY130" fmla="*/ 565404 h 1359693"/>
                <a:gd name="connsiteX131" fmla="*/ 6700172 w 8071103"/>
                <a:gd name="connsiteY131" fmla="*/ 775716 h 1359693"/>
                <a:gd name="connsiteX132" fmla="*/ 6510528 w 8071103"/>
                <a:gd name="connsiteY132" fmla="*/ 775716 h 1359693"/>
                <a:gd name="connsiteX133" fmla="*/ 6510528 w 8071103"/>
                <a:gd name="connsiteY133" fmla="*/ 1121283 h 1359693"/>
                <a:gd name="connsiteX134" fmla="*/ 6720840 w 8071103"/>
                <a:gd name="connsiteY134" fmla="*/ 1121283 h 1359693"/>
                <a:gd name="connsiteX135" fmla="*/ 6720840 w 8071103"/>
                <a:gd name="connsiteY135" fmla="*/ 1337215 h 1359693"/>
                <a:gd name="connsiteX136" fmla="*/ 6273832 w 8071103"/>
                <a:gd name="connsiteY136" fmla="*/ 1337215 h 1359693"/>
                <a:gd name="connsiteX137" fmla="*/ 6273832 w 8071103"/>
                <a:gd name="connsiteY137" fmla="*/ 22574 h 1359693"/>
                <a:gd name="connsiteX138" fmla="*/ 6846665 w 8071103"/>
                <a:gd name="connsiteY138" fmla="*/ 1074230 h 1359693"/>
                <a:gd name="connsiteX139" fmla="*/ 6846665 w 8071103"/>
                <a:gd name="connsiteY139" fmla="*/ 283559 h 1359693"/>
                <a:gd name="connsiteX140" fmla="*/ 7154704 w 8071103"/>
                <a:gd name="connsiteY140" fmla="*/ 0 h 1359693"/>
                <a:gd name="connsiteX141" fmla="*/ 7462742 w 8071103"/>
                <a:gd name="connsiteY141" fmla="*/ 283559 h 1359693"/>
                <a:gd name="connsiteX142" fmla="*/ 7462742 w 8071103"/>
                <a:gd name="connsiteY142" fmla="*/ 557784 h 1359693"/>
                <a:gd name="connsiteX143" fmla="*/ 7226142 w 8071103"/>
                <a:gd name="connsiteY143" fmla="*/ 557784 h 1359693"/>
                <a:gd name="connsiteX144" fmla="*/ 7226142 w 8071103"/>
                <a:gd name="connsiteY144" fmla="*/ 285464 h 1359693"/>
                <a:gd name="connsiteX145" fmla="*/ 7154800 w 8071103"/>
                <a:gd name="connsiteY145" fmla="*/ 215932 h 1359693"/>
                <a:gd name="connsiteX146" fmla="*/ 7083457 w 8071103"/>
                <a:gd name="connsiteY146" fmla="*/ 285464 h 1359693"/>
                <a:gd name="connsiteX147" fmla="*/ 7083457 w 8071103"/>
                <a:gd name="connsiteY147" fmla="*/ 1074230 h 1359693"/>
                <a:gd name="connsiteX148" fmla="*/ 7154800 w 8071103"/>
                <a:gd name="connsiteY148" fmla="*/ 1143667 h 1359693"/>
                <a:gd name="connsiteX149" fmla="*/ 7226142 w 8071103"/>
                <a:gd name="connsiteY149" fmla="*/ 1074230 h 1359693"/>
                <a:gd name="connsiteX150" fmla="*/ 7226142 w 8071103"/>
                <a:gd name="connsiteY150" fmla="*/ 783146 h 1359693"/>
                <a:gd name="connsiteX151" fmla="*/ 7462742 w 8071103"/>
                <a:gd name="connsiteY151" fmla="*/ 783146 h 1359693"/>
                <a:gd name="connsiteX152" fmla="*/ 7462742 w 8071103"/>
                <a:gd name="connsiteY152" fmla="*/ 1074230 h 1359693"/>
                <a:gd name="connsiteX153" fmla="*/ 7154704 w 8071103"/>
                <a:gd name="connsiteY153" fmla="*/ 1359694 h 1359693"/>
                <a:gd name="connsiteX154" fmla="*/ 6846665 w 8071103"/>
                <a:gd name="connsiteY154" fmla="*/ 1074230 h 1359693"/>
                <a:gd name="connsiteX155" fmla="*/ 7699248 w 8071103"/>
                <a:gd name="connsiteY155" fmla="*/ 238506 h 1359693"/>
                <a:gd name="connsiteX156" fmla="*/ 7563993 w 8071103"/>
                <a:gd name="connsiteY156" fmla="*/ 238506 h 1359693"/>
                <a:gd name="connsiteX157" fmla="*/ 7563993 w 8071103"/>
                <a:gd name="connsiteY157" fmla="*/ 22479 h 1359693"/>
                <a:gd name="connsiteX158" fmla="*/ 8071104 w 8071103"/>
                <a:gd name="connsiteY158" fmla="*/ 22479 h 1359693"/>
                <a:gd name="connsiteX159" fmla="*/ 8071104 w 8071103"/>
                <a:gd name="connsiteY159" fmla="*/ 238506 h 1359693"/>
                <a:gd name="connsiteX160" fmla="*/ 7935850 w 8071103"/>
                <a:gd name="connsiteY160" fmla="*/ 238506 h 1359693"/>
                <a:gd name="connsiteX161" fmla="*/ 7935850 w 8071103"/>
                <a:gd name="connsiteY161" fmla="*/ 1337120 h 1359693"/>
                <a:gd name="connsiteX162" fmla="*/ 7699248 w 8071103"/>
                <a:gd name="connsiteY162" fmla="*/ 1337120 h 1359693"/>
                <a:gd name="connsiteX163" fmla="*/ 7699248 w 8071103"/>
                <a:gd name="connsiteY163" fmla="*/ 238506 h 1359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8071103" h="1359693">
                  <a:moveTo>
                    <a:pt x="0" y="1074230"/>
                  </a:moveTo>
                  <a:lnTo>
                    <a:pt x="0" y="283559"/>
                  </a:lnTo>
                  <a:cubicBezTo>
                    <a:pt x="0" y="114490"/>
                    <a:pt x="123920" y="0"/>
                    <a:pt x="308038" y="0"/>
                  </a:cubicBezTo>
                  <a:cubicBezTo>
                    <a:pt x="492157" y="0"/>
                    <a:pt x="616077" y="114586"/>
                    <a:pt x="616077" y="283559"/>
                  </a:cubicBezTo>
                  <a:lnTo>
                    <a:pt x="616077" y="557784"/>
                  </a:lnTo>
                  <a:lnTo>
                    <a:pt x="379476" y="557784"/>
                  </a:lnTo>
                  <a:lnTo>
                    <a:pt x="379476" y="285464"/>
                  </a:lnTo>
                  <a:cubicBezTo>
                    <a:pt x="379476" y="242316"/>
                    <a:pt x="351282" y="215932"/>
                    <a:pt x="308134" y="215932"/>
                  </a:cubicBezTo>
                  <a:cubicBezTo>
                    <a:pt x="264986" y="215932"/>
                    <a:pt x="236791" y="242221"/>
                    <a:pt x="236791" y="285464"/>
                  </a:cubicBezTo>
                  <a:lnTo>
                    <a:pt x="236791" y="1074230"/>
                  </a:lnTo>
                  <a:cubicBezTo>
                    <a:pt x="236791" y="1117378"/>
                    <a:pt x="264986" y="1143667"/>
                    <a:pt x="308134" y="1143667"/>
                  </a:cubicBezTo>
                  <a:cubicBezTo>
                    <a:pt x="351282" y="1143667"/>
                    <a:pt x="379476" y="1117378"/>
                    <a:pt x="379476" y="1074230"/>
                  </a:cubicBezTo>
                  <a:lnTo>
                    <a:pt x="379476" y="783146"/>
                  </a:lnTo>
                  <a:lnTo>
                    <a:pt x="616077" y="783146"/>
                  </a:lnTo>
                  <a:lnTo>
                    <a:pt x="616077" y="1074230"/>
                  </a:lnTo>
                  <a:cubicBezTo>
                    <a:pt x="616077" y="1245108"/>
                    <a:pt x="492157" y="1359694"/>
                    <a:pt x="308038" y="1359694"/>
                  </a:cubicBezTo>
                  <a:cubicBezTo>
                    <a:pt x="123920" y="1359694"/>
                    <a:pt x="0" y="1245108"/>
                    <a:pt x="0" y="1074230"/>
                  </a:cubicBezTo>
                  <a:close/>
                  <a:moveTo>
                    <a:pt x="762476" y="22574"/>
                  </a:moveTo>
                  <a:lnTo>
                    <a:pt x="999077" y="22574"/>
                  </a:lnTo>
                  <a:lnTo>
                    <a:pt x="999077" y="1121283"/>
                  </a:lnTo>
                  <a:lnTo>
                    <a:pt x="1198150" y="1121283"/>
                  </a:lnTo>
                  <a:lnTo>
                    <a:pt x="1198150" y="1337215"/>
                  </a:lnTo>
                  <a:lnTo>
                    <a:pt x="762476" y="1337215"/>
                  </a:lnTo>
                  <a:lnTo>
                    <a:pt x="762476" y="22574"/>
                  </a:lnTo>
                  <a:close/>
                  <a:moveTo>
                    <a:pt x="1293971" y="1074230"/>
                  </a:moveTo>
                  <a:lnTo>
                    <a:pt x="1293971" y="22479"/>
                  </a:lnTo>
                  <a:lnTo>
                    <a:pt x="1530572" y="22479"/>
                  </a:lnTo>
                  <a:lnTo>
                    <a:pt x="1530572" y="1074230"/>
                  </a:lnTo>
                  <a:cubicBezTo>
                    <a:pt x="1530572" y="1117378"/>
                    <a:pt x="1558766" y="1143667"/>
                    <a:pt x="1600105" y="1143667"/>
                  </a:cubicBezTo>
                  <a:cubicBezTo>
                    <a:pt x="1641443" y="1143667"/>
                    <a:pt x="1671447" y="1117378"/>
                    <a:pt x="1671447" y="1074230"/>
                  </a:cubicBezTo>
                  <a:lnTo>
                    <a:pt x="1671447" y="22479"/>
                  </a:lnTo>
                  <a:lnTo>
                    <a:pt x="1908048" y="22479"/>
                  </a:lnTo>
                  <a:lnTo>
                    <a:pt x="1908048" y="1074230"/>
                  </a:lnTo>
                  <a:cubicBezTo>
                    <a:pt x="1908048" y="1245108"/>
                    <a:pt x="1784128" y="1359694"/>
                    <a:pt x="1600009" y="1359694"/>
                  </a:cubicBezTo>
                  <a:cubicBezTo>
                    <a:pt x="1415891" y="1359694"/>
                    <a:pt x="1293876" y="1245108"/>
                    <a:pt x="1293876" y="1074230"/>
                  </a:cubicBezTo>
                  <a:close/>
                  <a:moveTo>
                    <a:pt x="2060162" y="22574"/>
                  </a:moveTo>
                  <a:lnTo>
                    <a:pt x="2394490" y="22574"/>
                  </a:lnTo>
                  <a:cubicBezTo>
                    <a:pt x="2561654" y="22574"/>
                    <a:pt x="2674335" y="125921"/>
                    <a:pt x="2674335" y="279844"/>
                  </a:cubicBezTo>
                  <a:lnTo>
                    <a:pt x="2674335" y="458248"/>
                  </a:lnTo>
                  <a:cubicBezTo>
                    <a:pt x="2674335" y="537115"/>
                    <a:pt x="2638616" y="617887"/>
                    <a:pt x="2565369" y="651701"/>
                  </a:cubicBezTo>
                  <a:lnTo>
                    <a:pt x="2565369" y="662940"/>
                  </a:lnTo>
                  <a:cubicBezTo>
                    <a:pt x="2644235" y="696754"/>
                    <a:pt x="2685574" y="781240"/>
                    <a:pt x="2685574" y="865727"/>
                  </a:cubicBezTo>
                  <a:lnTo>
                    <a:pt x="2685574" y="1079849"/>
                  </a:lnTo>
                  <a:cubicBezTo>
                    <a:pt x="2685574" y="1233869"/>
                    <a:pt x="2574798" y="1337120"/>
                    <a:pt x="2405729" y="1337120"/>
                  </a:cubicBezTo>
                  <a:lnTo>
                    <a:pt x="2060162" y="1337120"/>
                  </a:lnTo>
                  <a:lnTo>
                    <a:pt x="2060162" y="22574"/>
                  </a:lnTo>
                  <a:close/>
                  <a:moveTo>
                    <a:pt x="2296763" y="238506"/>
                  </a:moveTo>
                  <a:lnTo>
                    <a:pt x="2296763" y="569024"/>
                  </a:lnTo>
                  <a:lnTo>
                    <a:pt x="2366296" y="569024"/>
                  </a:lnTo>
                  <a:cubicBezTo>
                    <a:pt x="2409444" y="569024"/>
                    <a:pt x="2437638" y="540830"/>
                    <a:pt x="2437638" y="497681"/>
                  </a:cubicBezTo>
                  <a:lnTo>
                    <a:pt x="2437638" y="307943"/>
                  </a:lnTo>
                  <a:cubicBezTo>
                    <a:pt x="2437638" y="264795"/>
                    <a:pt x="2409444" y="238506"/>
                    <a:pt x="2366296" y="238506"/>
                  </a:cubicBezTo>
                  <a:lnTo>
                    <a:pt x="2296763" y="238506"/>
                  </a:lnTo>
                  <a:close/>
                  <a:moveTo>
                    <a:pt x="2296763" y="770001"/>
                  </a:moveTo>
                  <a:lnTo>
                    <a:pt x="2296763" y="1121188"/>
                  </a:lnTo>
                  <a:lnTo>
                    <a:pt x="2379440" y="1121188"/>
                  </a:lnTo>
                  <a:cubicBezTo>
                    <a:pt x="2420779" y="1121188"/>
                    <a:pt x="2448973" y="1094899"/>
                    <a:pt x="2448973" y="1051655"/>
                  </a:cubicBezTo>
                  <a:lnTo>
                    <a:pt x="2448973" y="841343"/>
                  </a:lnTo>
                  <a:cubicBezTo>
                    <a:pt x="2448973" y="798195"/>
                    <a:pt x="2420779" y="770001"/>
                    <a:pt x="2379440" y="770001"/>
                  </a:cubicBezTo>
                  <a:lnTo>
                    <a:pt x="2296763" y="770001"/>
                  </a:lnTo>
                  <a:close/>
                  <a:moveTo>
                    <a:pt x="3094482" y="1074230"/>
                  </a:moveTo>
                  <a:lnTo>
                    <a:pt x="3094482" y="283559"/>
                  </a:lnTo>
                  <a:cubicBezTo>
                    <a:pt x="3094482" y="114490"/>
                    <a:pt x="3218403" y="0"/>
                    <a:pt x="3402520" y="0"/>
                  </a:cubicBezTo>
                  <a:cubicBezTo>
                    <a:pt x="3586639" y="0"/>
                    <a:pt x="3710559" y="114586"/>
                    <a:pt x="3710559" y="283559"/>
                  </a:cubicBezTo>
                  <a:lnTo>
                    <a:pt x="3710559" y="557784"/>
                  </a:lnTo>
                  <a:lnTo>
                    <a:pt x="3473958" y="557784"/>
                  </a:lnTo>
                  <a:lnTo>
                    <a:pt x="3473958" y="285464"/>
                  </a:lnTo>
                  <a:cubicBezTo>
                    <a:pt x="3473958" y="242316"/>
                    <a:pt x="3445764" y="215932"/>
                    <a:pt x="3402616" y="215932"/>
                  </a:cubicBezTo>
                  <a:cubicBezTo>
                    <a:pt x="3359468" y="215932"/>
                    <a:pt x="3331274" y="242221"/>
                    <a:pt x="3331274" y="285464"/>
                  </a:cubicBezTo>
                  <a:lnTo>
                    <a:pt x="3331274" y="1074230"/>
                  </a:lnTo>
                  <a:cubicBezTo>
                    <a:pt x="3331274" y="1117378"/>
                    <a:pt x="3359468" y="1143667"/>
                    <a:pt x="3402616" y="1143667"/>
                  </a:cubicBezTo>
                  <a:cubicBezTo>
                    <a:pt x="3445764" y="1143667"/>
                    <a:pt x="3473958" y="1117378"/>
                    <a:pt x="3473958" y="1074230"/>
                  </a:cubicBezTo>
                  <a:lnTo>
                    <a:pt x="3473958" y="783146"/>
                  </a:lnTo>
                  <a:lnTo>
                    <a:pt x="3710559" y="783146"/>
                  </a:lnTo>
                  <a:lnTo>
                    <a:pt x="3710559" y="1074230"/>
                  </a:lnTo>
                  <a:cubicBezTo>
                    <a:pt x="3710559" y="1245108"/>
                    <a:pt x="3586639" y="1359694"/>
                    <a:pt x="3402520" y="1359694"/>
                  </a:cubicBezTo>
                  <a:cubicBezTo>
                    <a:pt x="3218403" y="1359694"/>
                    <a:pt x="3094482" y="1245108"/>
                    <a:pt x="3094482" y="1074230"/>
                  </a:cubicBezTo>
                  <a:close/>
                  <a:moveTo>
                    <a:pt x="3849434" y="1074230"/>
                  </a:moveTo>
                  <a:lnTo>
                    <a:pt x="3849434" y="283559"/>
                  </a:lnTo>
                  <a:cubicBezTo>
                    <a:pt x="3849434" y="114490"/>
                    <a:pt x="3973354" y="0"/>
                    <a:pt x="4157472" y="0"/>
                  </a:cubicBezTo>
                  <a:cubicBezTo>
                    <a:pt x="4341590" y="0"/>
                    <a:pt x="4465511" y="114586"/>
                    <a:pt x="4465511" y="283559"/>
                  </a:cubicBezTo>
                  <a:lnTo>
                    <a:pt x="4465511" y="1074230"/>
                  </a:lnTo>
                  <a:cubicBezTo>
                    <a:pt x="4465511" y="1245108"/>
                    <a:pt x="4341590" y="1359694"/>
                    <a:pt x="4157472" y="1359694"/>
                  </a:cubicBezTo>
                  <a:cubicBezTo>
                    <a:pt x="3973354" y="1359694"/>
                    <a:pt x="3849434" y="1245108"/>
                    <a:pt x="3849434" y="1074230"/>
                  </a:cubicBezTo>
                  <a:close/>
                  <a:moveTo>
                    <a:pt x="4228814" y="1074230"/>
                  </a:moveTo>
                  <a:lnTo>
                    <a:pt x="4228814" y="285464"/>
                  </a:lnTo>
                  <a:cubicBezTo>
                    <a:pt x="4228814" y="242316"/>
                    <a:pt x="4200621" y="215932"/>
                    <a:pt x="4157472" y="215932"/>
                  </a:cubicBezTo>
                  <a:cubicBezTo>
                    <a:pt x="4114324" y="215932"/>
                    <a:pt x="4086130" y="242221"/>
                    <a:pt x="4086130" y="285464"/>
                  </a:cubicBezTo>
                  <a:lnTo>
                    <a:pt x="4086130" y="1074230"/>
                  </a:lnTo>
                  <a:cubicBezTo>
                    <a:pt x="4086130" y="1117378"/>
                    <a:pt x="4114324" y="1143667"/>
                    <a:pt x="4157472" y="1143667"/>
                  </a:cubicBezTo>
                  <a:cubicBezTo>
                    <a:pt x="4200621" y="1143667"/>
                    <a:pt x="4228814" y="1117378"/>
                    <a:pt x="4228814" y="1074230"/>
                  </a:cubicBezTo>
                  <a:close/>
                  <a:moveTo>
                    <a:pt x="4613720" y="22574"/>
                  </a:moveTo>
                  <a:lnTo>
                    <a:pt x="4886039" y="22574"/>
                  </a:lnTo>
                  <a:lnTo>
                    <a:pt x="5021294" y="646081"/>
                  </a:lnTo>
                  <a:lnTo>
                    <a:pt x="5040059" y="811340"/>
                  </a:lnTo>
                  <a:lnTo>
                    <a:pt x="5071967" y="811340"/>
                  </a:lnTo>
                  <a:lnTo>
                    <a:pt x="5051298" y="646081"/>
                  </a:lnTo>
                  <a:lnTo>
                    <a:pt x="5051298" y="22574"/>
                  </a:lnTo>
                  <a:lnTo>
                    <a:pt x="5287899" y="22574"/>
                  </a:lnTo>
                  <a:lnTo>
                    <a:pt x="5287899" y="1337215"/>
                  </a:lnTo>
                  <a:lnTo>
                    <a:pt x="5017485" y="1337215"/>
                  </a:lnTo>
                  <a:lnTo>
                    <a:pt x="4882230" y="713708"/>
                  </a:lnTo>
                  <a:lnTo>
                    <a:pt x="4861560" y="548450"/>
                  </a:lnTo>
                  <a:lnTo>
                    <a:pt x="4829651" y="548450"/>
                  </a:lnTo>
                  <a:lnTo>
                    <a:pt x="4850320" y="713708"/>
                  </a:lnTo>
                  <a:lnTo>
                    <a:pt x="4850320" y="1337215"/>
                  </a:lnTo>
                  <a:lnTo>
                    <a:pt x="4613720" y="1337215"/>
                  </a:lnTo>
                  <a:lnTo>
                    <a:pt x="4613720" y="22574"/>
                  </a:lnTo>
                  <a:close/>
                  <a:moveTo>
                    <a:pt x="5443823" y="22574"/>
                  </a:moveTo>
                  <a:lnTo>
                    <a:pt x="5716143" y="22574"/>
                  </a:lnTo>
                  <a:lnTo>
                    <a:pt x="5851398" y="646081"/>
                  </a:lnTo>
                  <a:lnTo>
                    <a:pt x="5870162" y="811340"/>
                  </a:lnTo>
                  <a:lnTo>
                    <a:pt x="5902071" y="811340"/>
                  </a:lnTo>
                  <a:lnTo>
                    <a:pt x="5881402" y="646081"/>
                  </a:lnTo>
                  <a:lnTo>
                    <a:pt x="5881402" y="22574"/>
                  </a:lnTo>
                  <a:lnTo>
                    <a:pt x="6118003" y="22574"/>
                  </a:lnTo>
                  <a:lnTo>
                    <a:pt x="6118003" y="1337215"/>
                  </a:lnTo>
                  <a:lnTo>
                    <a:pt x="5847588" y="1337215"/>
                  </a:lnTo>
                  <a:lnTo>
                    <a:pt x="5712333" y="713708"/>
                  </a:lnTo>
                  <a:lnTo>
                    <a:pt x="5691664" y="548450"/>
                  </a:lnTo>
                  <a:lnTo>
                    <a:pt x="5659755" y="548450"/>
                  </a:lnTo>
                  <a:lnTo>
                    <a:pt x="5680424" y="713708"/>
                  </a:lnTo>
                  <a:lnTo>
                    <a:pt x="5680424" y="1337215"/>
                  </a:lnTo>
                  <a:lnTo>
                    <a:pt x="5443823" y="1337215"/>
                  </a:lnTo>
                  <a:lnTo>
                    <a:pt x="5443823" y="22574"/>
                  </a:lnTo>
                  <a:close/>
                  <a:moveTo>
                    <a:pt x="6273832" y="22574"/>
                  </a:moveTo>
                  <a:lnTo>
                    <a:pt x="6720840" y="22574"/>
                  </a:lnTo>
                  <a:lnTo>
                    <a:pt x="6720840" y="238601"/>
                  </a:lnTo>
                  <a:lnTo>
                    <a:pt x="6510528" y="238601"/>
                  </a:lnTo>
                  <a:lnTo>
                    <a:pt x="6510528" y="565404"/>
                  </a:lnTo>
                  <a:lnTo>
                    <a:pt x="6700172" y="565404"/>
                  </a:lnTo>
                  <a:lnTo>
                    <a:pt x="6700172" y="775716"/>
                  </a:lnTo>
                  <a:lnTo>
                    <a:pt x="6510528" y="775716"/>
                  </a:lnTo>
                  <a:lnTo>
                    <a:pt x="6510528" y="1121283"/>
                  </a:lnTo>
                  <a:lnTo>
                    <a:pt x="6720840" y="1121283"/>
                  </a:lnTo>
                  <a:lnTo>
                    <a:pt x="6720840" y="1337215"/>
                  </a:lnTo>
                  <a:lnTo>
                    <a:pt x="6273832" y="1337215"/>
                  </a:lnTo>
                  <a:lnTo>
                    <a:pt x="6273832" y="22574"/>
                  </a:lnTo>
                  <a:close/>
                  <a:moveTo>
                    <a:pt x="6846665" y="1074230"/>
                  </a:moveTo>
                  <a:lnTo>
                    <a:pt x="6846665" y="283559"/>
                  </a:lnTo>
                  <a:cubicBezTo>
                    <a:pt x="6846665" y="114490"/>
                    <a:pt x="6970585" y="0"/>
                    <a:pt x="7154704" y="0"/>
                  </a:cubicBezTo>
                  <a:cubicBezTo>
                    <a:pt x="7338822" y="0"/>
                    <a:pt x="7462742" y="114586"/>
                    <a:pt x="7462742" y="283559"/>
                  </a:cubicBezTo>
                  <a:lnTo>
                    <a:pt x="7462742" y="557784"/>
                  </a:lnTo>
                  <a:lnTo>
                    <a:pt x="7226142" y="557784"/>
                  </a:lnTo>
                  <a:lnTo>
                    <a:pt x="7226142" y="285464"/>
                  </a:lnTo>
                  <a:cubicBezTo>
                    <a:pt x="7226142" y="242316"/>
                    <a:pt x="7197947" y="215932"/>
                    <a:pt x="7154800" y="215932"/>
                  </a:cubicBezTo>
                  <a:cubicBezTo>
                    <a:pt x="7111651" y="215932"/>
                    <a:pt x="7083457" y="242221"/>
                    <a:pt x="7083457" y="285464"/>
                  </a:cubicBezTo>
                  <a:lnTo>
                    <a:pt x="7083457" y="1074230"/>
                  </a:lnTo>
                  <a:cubicBezTo>
                    <a:pt x="7083457" y="1117378"/>
                    <a:pt x="7111651" y="1143667"/>
                    <a:pt x="7154800" y="1143667"/>
                  </a:cubicBezTo>
                  <a:cubicBezTo>
                    <a:pt x="7197947" y="1143667"/>
                    <a:pt x="7226142" y="1117378"/>
                    <a:pt x="7226142" y="1074230"/>
                  </a:cubicBezTo>
                  <a:lnTo>
                    <a:pt x="7226142" y="783146"/>
                  </a:lnTo>
                  <a:lnTo>
                    <a:pt x="7462742" y="783146"/>
                  </a:lnTo>
                  <a:lnTo>
                    <a:pt x="7462742" y="1074230"/>
                  </a:lnTo>
                  <a:cubicBezTo>
                    <a:pt x="7462742" y="1245108"/>
                    <a:pt x="7338822" y="1359694"/>
                    <a:pt x="7154704" y="1359694"/>
                  </a:cubicBezTo>
                  <a:cubicBezTo>
                    <a:pt x="6970585" y="1359694"/>
                    <a:pt x="6846665" y="1245108"/>
                    <a:pt x="6846665" y="1074230"/>
                  </a:cubicBezTo>
                  <a:close/>
                  <a:moveTo>
                    <a:pt x="7699248" y="238506"/>
                  </a:moveTo>
                  <a:lnTo>
                    <a:pt x="7563993" y="238506"/>
                  </a:lnTo>
                  <a:lnTo>
                    <a:pt x="7563993" y="22479"/>
                  </a:lnTo>
                  <a:lnTo>
                    <a:pt x="8071104" y="22479"/>
                  </a:lnTo>
                  <a:lnTo>
                    <a:pt x="8071104" y="238506"/>
                  </a:lnTo>
                  <a:lnTo>
                    <a:pt x="7935850" y="238506"/>
                  </a:lnTo>
                  <a:lnTo>
                    <a:pt x="7935850" y="1337120"/>
                  </a:lnTo>
                  <a:lnTo>
                    <a:pt x="7699248" y="1337120"/>
                  </a:lnTo>
                  <a:lnTo>
                    <a:pt x="7699248" y="238506"/>
                  </a:lnTo>
                  <a:close/>
                </a:path>
              </a:pathLst>
            </a:custGeom>
            <a:solidFill>
              <a:schemeClr val="accent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937181069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een background with a black background&#10;&#10;Description automatically generated">
            <a:extLst>
              <a:ext uri="{FF2B5EF4-FFF2-40B4-BE49-F238E27FC236}">
                <a16:creationId xmlns:a16="http://schemas.microsoft.com/office/drawing/2014/main" id="{70F1871C-D4C8-CB95-A687-486B6D8159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0" y="1106"/>
            <a:ext cx="12192000" cy="685689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C2B404-9FBA-1E87-C027-2BB6C644C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75" y="2943084"/>
            <a:ext cx="6826250" cy="971831"/>
          </a:xfrm>
        </p:spPr>
        <p:txBody>
          <a:bodyPr anchor="t"/>
          <a:lstStyle>
            <a:lvl1pPr algn="ctr">
              <a:defRPr sz="5000">
                <a:solidFill>
                  <a:schemeClr val="accent2"/>
                </a:solidFill>
              </a:defRPr>
            </a:lvl1pPr>
          </a:lstStyle>
          <a:p>
            <a:r>
              <a:rPr lang="en-US"/>
              <a:t>Add section tit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8598D-4FA6-4246-6447-7B759D632FD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682875" y="3959641"/>
            <a:ext cx="6826250" cy="34727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optional subtitl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C9DE493-19BE-781E-B1C8-E5D9F24953AA}"/>
              </a:ext>
            </a:extLst>
          </p:cNvPr>
          <p:cNvGrpSpPr/>
          <p:nvPr userDrawn="1"/>
        </p:nvGrpSpPr>
        <p:grpSpPr>
          <a:xfrm>
            <a:off x="360363" y="357188"/>
            <a:ext cx="2108053" cy="519112"/>
            <a:chOff x="13749337" y="746575"/>
            <a:chExt cx="11277504" cy="2777109"/>
          </a:xfrm>
          <a:solidFill>
            <a:schemeClr val="accent2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3B6C57D9-53F3-885F-BAFB-314A87784E8C}"/>
                </a:ext>
              </a:extLst>
            </p:cNvPr>
            <p:cNvSpPr/>
            <p:nvPr/>
          </p:nvSpPr>
          <p:spPr>
            <a:xfrm>
              <a:off x="13749337" y="746575"/>
              <a:ext cx="5114450" cy="2777109"/>
            </a:xfrm>
            <a:custGeom>
              <a:avLst/>
              <a:gdLst>
                <a:gd name="connsiteX0" fmla="*/ 5080826 w 5114450"/>
                <a:gd name="connsiteY0" fmla="*/ 664559 h 2777109"/>
                <a:gd name="connsiteX1" fmla="*/ 5114450 w 5114450"/>
                <a:gd name="connsiteY1" fmla="*/ 952786 h 2777109"/>
                <a:gd name="connsiteX2" fmla="*/ 4924234 w 5114450"/>
                <a:gd name="connsiteY2" fmla="*/ 952786 h 2777109"/>
                <a:gd name="connsiteX3" fmla="*/ 4911662 w 5114450"/>
                <a:gd name="connsiteY3" fmla="*/ 812292 h 2777109"/>
                <a:gd name="connsiteX4" fmla="*/ 4562570 w 5114450"/>
                <a:gd name="connsiteY4" fmla="*/ 812292 h 2777109"/>
                <a:gd name="connsiteX5" fmla="*/ 4196906 w 5114450"/>
                <a:gd name="connsiteY5" fmla="*/ 972026 h 2777109"/>
                <a:gd name="connsiteX6" fmla="*/ 4047362 w 5114450"/>
                <a:gd name="connsiteY6" fmla="*/ 952786 h 2777109"/>
                <a:gd name="connsiteX7" fmla="*/ 5080826 w 5114450"/>
                <a:gd name="connsiteY7" fmla="*/ 664559 h 2777109"/>
                <a:gd name="connsiteX8" fmla="*/ 4833462 w 5114450"/>
                <a:gd name="connsiteY8" fmla="*/ 250221 h 2777109"/>
                <a:gd name="connsiteX9" fmla="*/ 5031866 w 5114450"/>
                <a:gd name="connsiteY9" fmla="*/ 250221 h 2777109"/>
                <a:gd name="connsiteX10" fmla="*/ 5076634 w 5114450"/>
                <a:gd name="connsiteY10" fmla="*/ 629697 h 2777109"/>
                <a:gd name="connsiteX11" fmla="*/ 4896516 w 5114450"/>
                <a:gd name="connsiteY11" fmla="*/ 650176 h 2777109"/>
                <a:gd name="connsiteX12" fmla="*/ 4876418 w 5114450"/>
                <a:gd name="connsiteY12" fmla="*/ 423767 h 2777109"/>
                <a:gd name="connsiteX13" fmla="*/ 4658010 w 5114450"/>
                <a:gd name="connsiteY13" fmla="*/ 693610 h 2777109"/>
                <a:gd name="connsiteX14" fmla="*/ 4657914 w 5114450"/>
                <a:gd name="connsiteY14" fmla="*/ 693610 h 2777109"/>
                <a:gd name="connsiteX15" fmla="*/ 4412456 w 5114450"/>
                <a:gd name="connsiteY15" fmla="*/ 758856 h 2777109"/>
                <a:gd name="connsiteX16" fmla="*/ 4833462 w 5114450"/>
                <a:gd name="connsiteY16" fmla="*/ 250221 h 2777109"/>
                <a:gd name="connsiteX17" fmla="*/ 4326922 w 5114450"/>
                <a:gd name="connsiteY17" fmla="*/ 232600 h 2777109"/>
                <a:gd name="connsiteX18" fmla="*/ 4614670 w 5114450"/>
                <a:gd name="connsiteY18" fmla="*/ 329279 h 2777109"/>
                <a:gd name="connsiteX19" fmla="*/ 4508658 w 5114450"/>
                <a:gd name="connsiteY19" fmla="*/ 460438 h 2777109"/>
                <a:gd name="connsiteX20" fmla="*/ 4508658 w 5114450"/>
                <a:gd name="connsiteY20" fmla="*/ 460533 h 2777109"/>
                <a:gd name="connsiteX21" fmla="*/ 4299298 w 5114450"/>
                <a:gd name="connsiteY21" fmla="*/ 376999 h 2777109"/>
                <a:gd name="connsiteX22" fmla="*/ 4010024 w 5114450"/>
                <a:gd name="connsiteY22" fmla="*/ 619887 h 2777109"/>
                <a:gd name="connsiteX23" fmla="*/ 4113466 w 5114450"/>
                <a:gd name="connsiteY23" fmla="*/ 811911 h 2777109"/>
                <a:gd name="connsiteX24" fmla="*/ 4215670 w 5114450"/>
                <a:gd name="connsiteY24" fmla="*/ 826484 h 2777109"/>
                <a:gd name="connsiteX25" fmla="*/ 3928300 w 5114450"/>
                <a:gd name="connsiteY25" fmla="*/ 952881 h 2777109"/>
                <a:gd name="connsiteX26" fmla="*/ 3206400 w 5114450"/>
                <a:gd name="connsiteY26" fmla="*/ 952881 h 2777109"/>
                <a:gd name="connsiteX27" fmla="*/ 3454336 w 5114450"/>
                <a:gd name="connsiteY27" fmla="*/ 250317 h 2777109"/>
                <a:gd name="connsiteX28" fmla="*/ 3987164 w 5114450"/>
                <a:gd name="connsiteY28" fmla="*/ 250317 h 2777109"/>
                <a:gd name="connsiteX29" fmla="*/ 3871626 w 5114450"/>
                <a:gd name="connsiteY29" fmla="*/ 390810 h 2777109"/>
                <a:gd name="connsiteX30" fmla="*/ 3587590 w 5114450"/>
                <a:gd name="connsiteY30" fmla="*/ 390810 h 2777109"/>
                <a:gd name="connsiteX31" fmla="*/ 3544156 w 5114450"/>
                <a:gd name="connsiteY31" fmla="*/ 513683 h 2777109"/>
                <a:gd name="connsiteX32" fmla="*/ 3770470 w 5114450"/>
                <a:gd name="connsiteY32" fmla="*/ 513683 h 2777109"/>
                <a:gd name="connsiteX33" fmla="*/ 3655122 w 5114450"/>
                <a:gd name="connsiteY33" fmla="*/ 653796 h 2777109"/>
                <a:gd name="connsiteX34" fmla="*/ 3494722 w 5114450"/>
                <a:gd name="connsiteY34" fmla="*/ 653796 h 2777109"/>
                <a:gd name="connsiteX35" fmla="*/ 3438810 w 5114450"/>
                <a:gd name="connsiteY35" fmla="*/ 812101 h 2777109"/>
                <a:gd name="connsiteX36" fmla="*/ 3873530 w 5114450"/>
                <a:gd name="connsiteY36" fmla="*/ 812101 h 2777109"/>
                <a:gd name="connsiteX37" fmla="*/ 3829430 w 5114450"/>
                <a:gd name="connsiteY37" fmla="*/ 629793 h 2777109"/>
                <a:gd name="connsiteX38" fmla="*/ 4326922 w 5114450"/>
                <a:gd name="connsiteY38" fmla="*/ 232600 h 2777109"/>
                <a:gd name="connsiteX39" fmla="*/ 1567529 w 5114450"/>
                <a:gd name="connsiteY39" fmla="*/ 0 h 2777109"/>
                <a:gd name="connsiteX40" fmla="*/ 2797397 w 5114450"/>
                <a:gd name="connsiteY40" fmla="*/ 1388555 h 2777109"/>
                <a:gd name="connsiteX41" fmla="*/ 1567529 w 5114450"/>
                <a:gd name="connsiteY41" fmla="*/ 2777109 h 2777109"/>
                <a:gd name="connsiteX42" fmla="*/ 1567529 w 5114450"/>
                <a:gd name="connsiteY42" fmla="*/ 2003965 h 2777109"/>
                <a:gd name="connsiteX43" fmla="*/ 2036921 w 5114450"/>
                <a:gd name="connsiteY43" fmla="*/ 1388555 h 2777109"/>
                <a:gd name="connsiteX44" fmla="*/ 1567529 w 5114450"/>
                <a:gd name="connsiteY44" fmla="*/ 773144 h 2777109"/>
                <a:gd name="connsiteX45" fmla="*/ 1229868 w 5114450"/>
                <a:gd name="connsiteY45" fmla="*/ 0 h 2777109"/>
                <a:gd name="connsiteX46" fmla="*/ 1229868 w 5114450"/>
                <a:gd name="connsiteY46" fmla="*/ 773144 h 2777109"/>
                <a:gd name="connsiteX47" fmla="*/ 760476 w 5114450"/>
                <a:gd name="connsiteY47" fmla="*/ 1388555 h 2777109"/>
                <a:gd name="connsiteX48" fmla="*/ 1229868 w 5114450"/>
                <a:gd name="connsiteY48" fmla="*/ 2003965 h 2777109"/>
                <a:gd name="connsiteX49" fmla="*/ 1229868 w 5114450"/>
                <a:gd name="connsiteY49" fmla="*/ 2777109 h 2777109"/>
                <a:gd name="connsiteX50" fmla="*/ 0 w 5114450"/>
                <a:gd name="connsiteY50" fmla="*/ 1388555 h 2777109"/>
                <a:gd name="connsiteX51" fmla="*/ 1229868 w 5114450"/>
                <a:gd name="connsiteY51" fmla="*/ 0 h 2777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114450" h="2777109">
                  <a:moveTo>
                    <a:pt x="5080826" y="664559"/>
                  </a:moveTo>
                  <a:lnTo>
                    <a:pt x="5114450" y="952786"/>
                  </a:lnTo>
                  <a:lnTo>
                    <a:pt x="4924234" y="952786"/>
                  </a:lnTo>
                  <a:cubicBezTo>
                    <a:pt x="4924234" y="952786"/>
                    <a:pt x="4911662" y="812292"/>
                    <a:pt x="4911662" y="812292"/>
                  </a:cubicBezTo>
                  <a:lnTo>
                    <a:pt x="4562570" y="812292"/>
                  </a:lnTo>
                  <a:cubicBezTo>
                    <a:pt x="4448746" y="938022"/>
                    <a:pt x="4354162" y="972026"/>
                    <a:pt x="4196906" y="972026"/>
                  </a:cubicBezTo>
                  <a:cubicBezTo>
                    <a:pt x="4140136" y="972026"/>
                    <a:pt x="4086892" y="965549"/>
                    <a:pt x="4047362" y="952786"/>
                  </a:cubicBezTo>
                  <a:cubicBezTo>
                    <a:pt x="4047362" y="952786"/>
                    <a:pt x="4500562" y="719233"/>
                    <a:pt x="5080826" y="664559"/>
                  </a:cubicBezTo>
                  <a:close/>
                  <a:moveTo>
                    <a:pt x="4833462" y="250221"/>
                  </a:moveTo>
                  <a:lnTo>
                    <a:pt x="5031866" y="250221"/>
                  </a:lnTo>
                  <a:lnTo>
                    <a:pt x="5076634" y="629697"/>
                  </a:lnTo>
                  <a:cubicBezTo>
                    <a:pt x="5016626" y="636079"/>
                    <a:pt x="4955094" y="641127"/>
                    <a:pt x="4896516" y="650176"/>
                  </a:cubicBezTo>
                  <a:lnTo>
                    <a:pt x="4876418" y="423767"/>
                  </a:lnTo>
                  <a:lnTo>
                    <a:pt x="4658010" y="693610"/>
                  </a:lnTo>
                  <a:lnTo>
                    <a:pt x="4657914" y="693610"/>
                  </a:lnTo>
                  <a:cubicBezTo>
                    <a:pt x="4574094" y="712470"/>
                    <a:pt x="4492274" y="734282"/>
                    <a:pt x="4412456" y="758856"/>
                  </a:cubicBezTo>
                  <a:cubicBezTo>
                    <a:pt x="4412456" y="758856"/>
                    <a:pt x="4833462" y="250221"/>
                    <a:pt x="4833462" y="250221"/>
                  </a:cubicBezTo>
                  <a:close/>
                  <a:moveTo>
                    <a:pt x="4326922" y="232600"/>
                  </a:moveTo>
                  <a:cubicBezTo>
                    <a:pt x="4449222" y="232600"/>
                    <a:pt x="4548090" y="269271"/>
                    <a:pt x="4614670" y="329279"/>
                  </a:cubicBezTo>
                  <a:lnTo>
                    <a:pt x="4508658" y="460438"/>
                  </a:lnTo>
                  <a:lnTo>
                    <a:pt x="4508658" y="460533"/>
                  </a:lnTo>
                  <a:cubicBezTo>
                    <a:pt x="4467130" y="414051"/>
                    <a:pt x="4383498" y="376999"/>
                    <a:pt x="4299298" y="376999"/>
                  </a:cubicBezTo>
                  <a:cubicBezTo>
                    <a:pt x="4128706" y="376999"/>
                    <a:pt x="4021930" y="498538"/>
                    <a:pt x="4010024" y="619887"/>
                  </a:cubicBezTo>
                  <a:cubicBezTo>
                    <a:pt x="3999928" y="723042"/>
                    <a:pt x="4035838" y="785241"/>
                    <a:pt x="4113466" y="811911"/>
                  </a:cubicBezTo>
                  <a:cubicBezTo>
                    <a:pt x="4156518" y="822769"/>
                    <a:pt x="4180902" y="825246"/>
                    <a:pt x="4215670" y="826484"/>
                  </a:cubicBezTo>
                  <a:cubicBezTo>
                    <a:pt x="4030408" y="898017"/>
                    <a:pt x="3928300" y="952881"/>
                    <a:pt x="3928300" y="952881"/>
                  </a:cubicBezTo>
                  <a:lnTo>
                    <a:pt x="3206400" y="952881"/>
                  </a:lnTo>
                  <a:cubicBezTo>
                    <a:pt x="3206400" y="952881"/>
                    <a:pt x="3454336" y="250317"/>
                    <a:pt x="3454336" y="250317"/>
                  </a:cubicBezTo>
                  <a:lnTo>
                    <a:pt x="3987164" y="250317"/>
                  </a:lnTo>
                  <a:cubicBezTo>
                    <a:pt x="3987164" y="250317"/>
                    <a:pt x="3871626" y="390810"/>
                    <a:pt x="3871626" y="390810"/>
                  </a:cubicBezTo>
                  <a:lnTo>
                    <a:pt x="3587590" y="390810"/>
                  </a:lnTo>
                  <a:cubicBezTo>
                    <a:pt x="3587590" y="390810"/>
                    <a:pt x="3544156" y="513683"/>
                    <a:pt x="3544156" y="513683"/>
                  </a:cubicBezTo>
                  <a:lnTo>
                    <a:pt x="3770470" y="513683"/>
                  </a:lnTo>
                  <a:cubicBezTo>
                    <a:pt x="3770470" y="513683"/>
                    <a:pt x="3655122" y="653796"/>
                    <a:pt x="3655122" y="653796"/>
                  </a:cubicBezTo>
                  <a:lnTo>
                    <a:pt x="3494722" y="653796"/>
                  </a:lnTo>
                  <a:cubicBezTo>
                    <a:pt x="3494722" y="653796"/>
                    <a:pt x="3438810" y="812101"/>
                    <a:pt x="3438810" y="812101"/>
                  </a:cubicBezTo>
                  <a:lnTo>
                    <a:pt x="3873530" y="812101"/>
                  </a:lnTo>
                  <a:cubicBezTo>
                    <a:pt x="3837336" y="752284"/>
                    <a:pt x="3826192" y="691610"/>
                    <a:pt x="3829430" y="629793"/>
                  </a:cubicBezTo>
                  <a:cubicBezTo>
                    <a:pt x="3840290" y="425481"/>
                    <a:pt x="4007454" y="232600"/>
                    <a:pt x="4326922" y="232600"/>
                  </a:cubicBezTo>
                  <a:close/>
                  <a:moveTo>
                    <a:pt x="1567529" y="0"/>
                  </a:moveTo>
                  <a:cubicBezTo>
                    <a:pt x="2260473" y="83344"/>
                    <a:pt x="2797397" y="673227"/>
                    <a:pt x="2797397" y="1388555"/>
                  </a:cubicBezTo>
                  <a:cubicBezTo>
                    <a:pt x="2797397" y="2103882"/>
                    <a:pt x="2260378" y="2693765"/>
                    <a:pt x="1567529" y="2777109"/>
                  </a:cubicBezTo>
                  <a:lnTo>
                    <a:pt x="1567529" y="2003965"/>
                  </a:lnTo>
                  <a:cubicBezTo>
                    <a:pt x="1837754" y="1929765"/>
                    <a:pt x="2036921" y="1682020"/>
                    <a:pt x="2036921" y="1388555"/>
                  </a:cubicBezTo>
                  <a:cubicBezTo>
                    <a:pt x="2036921" y="1095089"/>
                    <a:pt x="1837754" y="847344"/>
                    <a:pt x="1567529" y="773144"/>
                  </a:cubicBezTo>
                  <a:close/>
                  <a:moveTo>
                    <a:pt x="1229868" y="0"/>
                  </a:moveTo>
                  <a:lnTo>
                    <a:pt x="1229868" y="773144"/>
                  </a:lnTo>
                  <a:cubicBezTo>
                    <a:pt x="959644" y="847344"/>
                    <a:pt x="760476" y="1095089"/>
                    <a:pt x="760476" y="1388555"/>
                  </a:cubicBezTo>
                  <a:cubicBezTo>
                    <a:pt x="760476" y="1682020"/>
                    <a:pt x="959644" y="1929765"/>
                    <a:pt x="1229868" y="2003965"/>
                  </a:cubicBezTo>
                  <a:lnTo>
                    <a:pt x="1229868" y="2777109"/>
                  </a:lnTo>
                  <a:cubicBezTo>
                    <a:pt x="537020" y="2693765"/>
                    <a:pt x="0" y="2103882"/>
                    <a:pt x="0" y="1388555"/>
                  </a:cubicBezTo>
                  <a:cubicBezTo>
                    <a:pt x="0" y="673227"/>
                    <a:pt x="537020" y="83344"/>
                    <a:pt x="1229868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F312AC7-FF5D-9321-A693-18044263CF5B}"/>
                </a:ext>
              </a:extLst>
            </p:cNvPr>
            <p:cNvSpPr/>
            <p:nvPr/>
          </p:nvSpPr>
          <p:spPr>
            <a:xfrm>
              <a:off x="16955738" y="1931294"/>
              <a:ext cx="8071103" cy="1359693"/>
            </a:xfrm>
            <a:custGeom>
              <a:avLst/>
              <a:gdLst>
                <a:gd name="connsiteX0" fmla="*/ 0 w 8071103"/>
                <a:gd name="connsiteY0" fmla="*/ 1074230 h 1359693"/>
                <a:gd name="connsiteX1" fmla="*/ 0 w 8071103"/>
                <a:gd name="connsiteY1" fmla="*/ 283559 h 1359693"/>
                <a:gd name="connsiteX2" fmla="*/ 308038 w 8071103"/>
                <a:gd name="connsiteY2" fmla="*/ 0 h 1359693"/>
                <a:gd name="connsiteX3" fmla="*/ 616077 w 8071103"/>
                <a:gd name="connsiteY3" fmla="*/ 283559 h 1359693"/>
                <a:gd name="connsiteX4" fmla="*/ 616077 w 8071103"/>
                <a:gd name="connsiteY4" fmla="*/ 557784 h 1359693"/>
                <a:gd name="connsiteX5" fmla="*/ 379476 w 8071103"/>
                <a:gd name="connsiteY5" fmla="*/ 557784 h 1359693"/>
                <a:gd name="connsiteX6" fmla="*/ 379476 w 8071103"/>
                <a:gd name="connsiteY6" fmla="*/ 285464 h 1359693"/>
                <a:gd name="connsiteX7" fmla="*/ 308134 w 8071103"/>
                <a:gd name="connsiteY7" fmla="*/ 215932 h 1359693"/>
                <a:gd name="connsiteX8" fmla="*/ 236791 w 8071103"/>
                <a:gd name="connsiteY8" fmla="*/ 285464 h 1359693"/>
                <a:gd name="connsiteX9" fmla="*/ 236791 w 8071103"/>
                <a:gd name="connsiteY9" fmla="*/ 1074230 h 1359693"/>
                <a:gd name="connsiteX10" fmla="*/ 308134 w 8071103"/>
                <a:gd name="connsiteY10" fmla="*/ 1143667 h 1359693"/>
                <a:gd name="connsiteX11" fmla="*/ 379476 w 8071103"/>
                <a:gd name="connsiteY11" fmla="*/ 1074230 h 1359693"/>
                <a:gd name="connsiteX12" fmla="*/ 379476 w 8071103"/>
                <a:gd name="connsiteY12" fmla="*/ 783146 h 1359693"/>
                <a:gd name="connsiteX13" fmla="*/ 616077 w 8071103"/>
                <a:gd name="connsiteY13" fmla="*/ 783146 h 1359693"/>
                <a:gd name="connsiteX14" fmla="*/ 616077 w 8071103"/>
                <a:gd name="connsiteY14" fmla="*/ 1074230 h 1359693"/>
                <a:gd name="connsiteX15" fmla="*/ 308038 w 8071103"/>
                <a:gd name="connsiteY15" fmla="*/ 1359694 h 1359693"/>
                <a:gd name="connsiteX16" fmla="*/ 0 w 8071103"/>
                <a:gd name="connsiteY16" fmla="*/ 1074230 h 1359693"/>
                <a:gd name="connsiteX17" fmla="*/ 762476 w 8071103"/>
                <a:gd name="connsiteY17" fmla="*/ 22574 h 1359693"/>
                <a:gd name="connsiteX18" fmla="*/ 999077 w 8071103"/>
                <a:gd name="connsiteY18" fmla="*/ 22574 h 1359693"/>
                <a:gd name="connsiteX19" fmla="*/ 999077 w 8071103"/>
                <a:gd name="connsiteY19" fmla="*/ 1121283 h 1359693"/>
                <a:gd name="connsiteX20" fmla="*/ 1198150 w 8071103"/>
                <a:gd name="connsiteY20" fmla="*/ 1121283 h 1359693"/>
                <a:gd name="connsiteX21" fmla="*/ 1198150 w 8071103"/>
                <a:gd name="connsiteY21" fmla="*/ 1337215 h 1359693"/>
                <a:gd name="connsiteX22" fmla="*/ 762476 w 8071103"/>
                <a:gd name="connsiteY22" fmla="*/ 1337215 h 1359693"/>
                <a:gd name="connsiteX23" fmla="*/ 762476 w 8071103"/>
                <a:gd name="connsiteY23" fmla="*/ 22574 h 1359693"/>
                <a:gd name="connsiteX24" fmla="*/ 1293971 w 8071103"/>
                <a:gd name="connsiteY24" fmla="*/ 1074230 h 1359693"/>
                <a:gd name="connsiteX25" fmla="*/ 1293971 w 8071103"/>
                <a:gd name="connsiteY25" fmla="*/ 22479 h 1359693"/>
                <a:gd name="connsiteX26" fmla="*/ 1530572 w 8071103"/>
                <a:gd name="connsiteY26" fmla="*/ 22479 h 1359693"/>
                <a:gd name="connsiteX27" fmla="*/ 1530572 w 8071103"/>
                <a:gd name="connsiteY27" fmla="*/ 1074230 h 1359693"/>
                <a:gd name="connsiteX28" fmla="*/ 1600105 w 8071103"/>
                <a:gd name="connsiteY28" fmla="*/ 1143667 h 1359693"/>
                <a:gd name="connsiteX29" fmla="*/ 1671447 w 8071103"/>
                <a:gd name="connsiteY29" fmla="*/ 1074230 h 1359693"/>
                <a:gd name="connsiteX30" fmla="*/ 1671447 w 8071103"/>
                <a:gd name="connsiteY30" fmla="*/ 22479 h 1359693"/>
                <a:gd name="connsiteX31" fmla="*/ 1908048 w 8071103"/>
                <a:gd name="connsiteY31" fmla="*/ 22479 h 1359693"/>
                <a:gd name="connsiteX32" fmla="*/ 1908048 w 8071103"/>
                <a:gd name="connsiteY32" fmla="*/ 1074230 h 1359693"/>
                <a:gd name="connsiteX33" fmla="*/ 1600009 w 8071103"/>
                <a:gd name="connsiteY33" fmla="*/ 1359694 h 1359693"/>
                <a:gd name="connsiteX34" fmla="*/ 1293876 w 8071103"/>
                <a:gd name="connsiteY34" fmla="*/ 1074230 h 1359693"/>
                <a:gd name="connsiteX35" fmla="*/ 2060162 w 8071103"/>
                <a:gd name="connsiteY35" fmla="*/ 22574 h 1359693"/>
                <a:gd name="connsiteX36" fmla="*/ 2394490 w 8071103"/>
                <a:gd name="connsiteY36" fmla="*/ 22574 h 1359693"/>
                <a:gd name="connsiteX37" fmla="*/ 2674335 w 8071103"/>
                <a:gd name="connsiteY37" fmla="*/ 279844 h 1359693"/>
                <a:gd name="connsiteX38" fmla="*/ 2674335 w 8071103"/>
                <a:gd name="connsiteY38" fmla="*/ 458248 h 1359693"/>
                <a:gd name="connsiteX39" fmla="*/ 2565369 w 8071103"/>
                <a:gd name="connsiteY39" fmla="*/ 651701 h 1359693"/>
                <a:gd name="connsiteX40" fmla="*/ 2565369 w 8071103"/>
                <a:gd name="connsiteY40" fmla="*/ 662940 h 1359693"/>
                <a:gd name="connsiteX41" fmla="*/ 2685574 w 8071103"/>
                <a:gd name="connsiteY41" fmla="*/ 865727 h 1359693"/>
                <a:gd name="connsiteX42" fmla="*/ 2685574 w 8071103"/>
                <a:gd name="connsiteY42" fmla="*/ 1079849 h 1359693"/>
                <a:gd name="connsiteX43" fmla="*/ 2405729 w 8071103"/>
                <a:gd name="connsiteY43" fmla="*/ 1337120 h 1359693"/>
                <a:gd name="connsiteX44" fmla="*/ 2060162 w 8071103"/>
                <a:gd name="connsiteY44" fmla="*/ 1337120 h 1359693"/>
                <a:gd name="connsiteX45" fmla="*/ 2060162 w 8071103"/>
                <a:gd name="connsiteY45" fmla="*/ 22574 h 1359693"/>
                <a:gd name="connsiteX46" fmla="*/ 2296763 w 8071103"/>
                <a:gd name="connsiteY46" fmla="*/ 238506 h 1359693"/>
                <a:gd name="connsiteX47" fmla="*/ 2296763 w 8071103"/>
                <a:gd name="connsiteY47" fmla="*/ 569024 h 1359693"/>
                <a:gd name="connsiteX48" fmla="*/ 2366296 w 8071103"/>
                <a:gd name="connsiteY48" fmla="*/ 569024 h 1359693"/>
                <a:gd name="connsiteX49" fmla="*/ 2437638 w 8071103"/>
                <a:gd name="connsiteY49" fmla="*/ 497681 h 1359693"/>
                <a:gd name="connsiteX50" fmla="*/ 2437638 w 8071103"/>
                <a:gd name="connsiteY50" fmla="*/ 307943 h 1359693"/>
                <a:gd name="connsiteX51" fmla="*/ 2366296 w 8071103"/>
                <a:gd name="connsiteY51" fmla="*/ 238506 h 1359693"/>
                <a:gd name="connsiteX52" fmla="*/ 2296763 w 8071103"/>
                <a:gd name="connsiteY52" fmla="*/ 238506 h 1359693"/>
                <a:gd name="connsiteX53" fmla="*/ 2296763 w 8071103"/>
                <a:gd name="connsiteY53" fmla="*/ 770001 h 1359693"/>
                <a:gd name="connsiteX54" fmla="*/ 2296763 w 8071103"/>
                <a:gd name="connsiteY54" fmla="*/ 1121188 h 1359693"/>
                <a:gd name="connsiteX55" fmla="*/ 2379440 w 8071103"/>
                <a:gd name="connsiteY55" fmla="*/ 1121188 h 1359693"/>
                <a:gd name="connsiteX56" fmla="*/ 2448973 w 8071103"/>
                <a:gd name="connsiteY56" fmla="*/ 1051655 h 1359693"/>
                <a:gd name="connsiteX57" fmla="*/ 2448973 w 8071103"/>
                <a:gd name="connsiteY57" fmla="*/ 841343 h 1359693"/>
                <a:gd name="connsiteX58" fmla="*/ 2379440 w 8071103"/>
                <a:gd name="connsiteY58" fmla="*/ 770001 h 1359693"/>
                <a:gd name="connsiteX59" fmla="*/ 2296763 w 8071103"/>
                <a:gd name="connsiteY59" fmla="*/ 770001 h 1359693"/>
                <a:gd name="connsiteX60" fmla="*/ 3094482 w 8071103"/>
                <a:gd name="connsiteY60" fmla="*/ 1074230 h 1359693"/>
                <a:gd name="connsiteX61" fmla="*/ 3094482 w 8071103"/>
                <a:gd name="connsiteY61" fmla="*/ 283559 h 1359693"/>
                <a:gd name="connsiteX62" fmla="*/ 3402520 w 8071103"/>
                <a:gd name="connsiteY62" fmla="*/ 0 h 1359693"/>
                <a:gd name="connsiteX63" fmla="*/ 3710559 w 8071103"/>
                <a:gd name="connsiteY63" fmla="*/ 283559 h 1359693"/>
                <a:gd name="connsiteX64" fmla="*/ 3710559 w 8071103"/>
                <a:gd name="connsiteY64" fmla="*/ 557784 h 1359693"/>
                <a:gd name="connsiteX65" fmla="*/ 3473958 w 8071103"/>
                <a:gd name="connsiteY65" fmla="*/ 557784 h 1359693"/>
                <a:gd name="connsiteX66" fmla="*/ 3473958 w 8071103"/>
                <a:gd name="connsiteY66" fmla="*/ 285464 h 1359693"/>
                <a:gd name="connsiteX67" fmla="*/ 3402616 w 8071103"/>
                <a:gd name="connsiteY67" fmla="*/ 215932 h 1359693"/>
                <a:gd name="connsiteX68" fmla="*/ 3331274 w 8071103"/>
                <a:gd name="connsiteY68" fmla="*/ 285464 h 1359693"/>
                <a:gd name="connsiteX69" fmla="*/ 3331274 w 8071103"/>
                <a:gd name="connsiteY69" fmla="*/ 1074230 h 1359693"/>
                <a:gd name="connsiteX70" fmla="*/ 3402616 w 8071103"/>
                <a:gd name="connsiteY70" fmla="*/ 1143667 h 1359693"/>
                <a:gd name="connsiteX71" fmla="*/ 3473958 w 8071103"/>
                <a:gd name="connsiteY71" fmla="*/ 1074230 h 1359693"/>
                <a:gd name="connsiteX72" fmla="*/ 3473958 w 8071103"/>
                <a:gd name="connsiteY72" fmla="*/ 783146 h 1359693"/>
                <a:gd name="connsiteX73" fmla="*/ 3710559 w 8071103"/>
                <a:gd name="connsiteY73" fmla="*/ 783146 h 1359693"/>
                <a:gd name="connsiteX74" fmla="*/ 3710559 w 8071103"/>
                <a:gd name="connsiteY74" fmla="*/ 1074230 h 1359693"/>
                <a:gd name="connsiteX75" fmla="*/ 3402520 w 8071103"/>
                <a:gd name="connsiteY75" fmla="*/ 1359694 h 1359693"/>
                <a:gd name="connsiteX76" fmla="*/ 3094482 w 8071103"/>
                <a:gd name="connsiteY76" fmla="*/ 1074230 h 1359693"/>
                <a:gd name="connsiteX77" fmla="*/ 3849434 w 8071103"/>
                <a:gd name="connsiteY77" fmla="*/ 1074230 h 1359693"/>
                <a:gd name="connsiteX78" fmla="*/ 3849434 w 8071103"/>
                <a:gd name="connsiteY78" fmla="*/ 283559 h 1359693"/>
                <a:gd name="connsiteX79" fmla="*/ 4157472 w 8071103"/>
                <a:gd name="connsiteY79" fmla="*/ 0 h 1359693"/>
                <a:gd name="connsiteX80" fmla="*/ 4465511 w 8071103"/>
                <a:gd name="connsiteY80" fmla="*/ 283559 h 1359693"/>
                <a:gd name="connsiteX81" fmla="*/ 4465511 w 8071103"/>
                <a:gd name="connsiteY81" fmla="*/ 1074230 h 1359693"/>
                <a:gd name="connsiteX82" fmla="*/ 4157472 w 8071103"/>
                <a:gd name="connsiteY82" fmla="*/ 1359694 h 1359693"/>
                <a:gd name="connsiteX83" fmla="*/ 3849434 w 8071103"/>
                <a:gd name="connsiteY83" fmla="*/ 1074230 h 1359693"/>
                <a:gd name="connsiteX84" fmla="*/ 4228814 w 8071103"/>
                <a:gd name="connsiteY84" fmla="*/ 1074230 h 1359693"/>
                <a:gd name="connsiteX85" fmla="*/ 4228814 w 8071103"/>
                <a:gd name="connsiteY85" fmla="*/ 285464 h 1359693"/>
                <a:gd name="connsiteX86" fmla="*/ 4157472 w 8071103"/>
                <a:gd name="connsiteY86" fmla="*/ 215932 h 1359693"/>
                <a:gd name="connsiteX87" fmla="*/ 4086130 w 8071103"/>
                <a:gd name="connsiteY87" fmla="*/ 285464 h 1359693"/>
                <a:gd name="connsiteX88" fmla="*/ 4086130 w 8071103"/>
                <a:gd name="connsiteY88" fmla="*/ 1074230 h 1359693"/>
                <a:gd name="connsiteX89" fmla="*/ 4157472 w 8071103"/>
                <a:gd name="connsiteY89" fmla="*/ 1143667 h 1359693"/>
                <a:gd name="connsiteX90" fmla="*/ 4228814 w 8071103"/>
                <a:gd name="connsiteY90" fmla="*/ 1074230 h 1359693"/>
                <a:gd name="connsiteX91" fmla="*/ 4613720 w 8071103"/>
                <a:gd name="connsiteY91" fmla="*/ 22574 h 1359693"/>
                <a:gd name="connsiteX92" fmla="*/ 4886039 w 8071103"/>
                <a:gd name="connsiteY92" fmla="*/ 22574 h 1359693"/>
                <a:gd name="connsiteX93" fmla="*/ 5021294 w 8071103"/>
                <a:gd name="connsiteY93" fmla="*/ 646081 h 1359693"/>
                <a:gd name="connsiteX94" fmla="*/ 5040059 w 8071103"/>
                <a:gd name="connsiteY94" fmla="*/ 811340 h 1359693"/>
                <a:gd name="connsiteX95" fmla="*/ 5071967 w 8071103"/>
                <a:gd name="connsiteY95" fmla="*/ 811340 h 1359693"/>
                <a:gd name="connsiteX96" fmla="*/ 5051298 w 8071103"/>
                <a:gd name="connsiteY96" fmla="*/ 646081 h 1359693"/>
                <a:gd name="connsiteX97" fmla="*/ 5051298 w 8071103"/>
                <a:gd name="connsiteY97" fmla="*/ 22574 h 1359693"/>
                <a:gd name="connsiteX98" fmla="*/ 5287899 w 8071103"/>
                <a:gd name="connsiteY98" fmla="*/ 22574 h 1359693"/>
                <a:gd name="connsiteX99" fmla="*/ 5287899 w 8071103"/>
                <a:gd name="connsiteY99" fmla="*/ 1337215 h 1359693"/>
                <a:gd name="connsiteX100" fmla="*/ 5017485 w 8071103"/>
                <a:gd name="connsiteY100" fmla="*/ 1337215 h 1359693"/>
                <a:gd name="connsiteX101" fmla="*/ 4882230 w 8071103"/>
                <a:gd name="connsiteY101" fmla="*/ 713708 h 1359693"/>
                <a:gd name="connsiteX102" fmla="*/ 4861560 w 8071103"/>
                <a:gd name="connsiteY102" fmla="*/ 548450 h 1359693"/>
                <a:gd name="connsiteX103" fmla="*/ 4829651 w 8071103"/>
                <a:gd name="connsiteY103" fmla="*/ 548450 h 1359693"/>
                <a:gd name="connsiteX104" fmla="*/ 4850320 w 8071103"/>
                <a:gd name="connsiteY104" fmla="*/ 713708 h 1359693"/>
                <a:gd name="connsiteX105" fmla="*/ 4850320 w 8071103"/>
                <a:gd name="connsiteY105" fmla="*/ 1337215 h 1359693"/>
                <a:gd name="connsiteX106" fmla="*/ 4613720 w 8071103"/>
                <a:gd name="connsiteY106" fmla="*/ 1337215 h 1359693"/>
                <a:gd name="connsiteX107" fmla="*/ 4613720 w 8071103"/>
                <a:gd name="connsiteY107" fmla="*/ 22574 h 1359693"/>
                <a:gd name="connsiteX108" fmla="*/ 5443823 w 8071103"/>
                <a:gd name="connsiteY108" fmla="*/ 22574 h 1359693"/>
                <a:gd name="connsiteX109" fmla="*/ 5716143 w 8071103"/>
                <a:gd name="connsiteY109" fmla="*/ 22574 h 1359693"/>
                <a:gd name="connsiteX110" fmla="*/ 5851398 w 8071103"/>
                <a:gd name="connsiteY110" fmla="*/ 646081 h 1359693"/>
                <a:gd name="connsiteX111" fmla="*/ 5870162 w 8071103"/>
                <a:gd name="connsiteY111" fmla="*/ 811340 h 1359693"/>
                <a:gd name="connsiteX112" fmla="*/ 5902071 w 8071103"/>
                <a:gd name="connsiteY112" fmla="*/ 811340 h 1359693"/>
                <a:gd name="connsiteX113" fmla="*/ 5881402 w 8071103"/>
                <a:gd name="connsiteY113" fmla="*/ 646081 h 1359693"/>
                <a:gd name="connsiteX114" fmla="*/ 5881402 w 8071103"/>
                <a:gd name="connsiteY114" fmla="*/ 22574 h 1359693"/>
                <a:gd name="connsiteX115" fmla="*/ 6118003 w 8071103"/>
                <a:gd name="connsiteY115" fmla="*/ 22574 h 1359693"/>
                <a:gd name="connsiteX116" fmla="*/ 6118003 w 8071103"/>
                <a:gd name="connsiteY116" fmla="*/ 1337215 h 1359693"/>
                <a:gd name="connsiteX117" fmla="*/ 5847588 w 8071103"/>
                <a:gd name="connsiteY117" fmla="*/ 1337215 h 1359693"/>
                <a:gd name="connsiteX118" fmla="*/ 5712333 w 8071103"/>
                <a:gd name="connsiteY118" fmla="*/ 713708 h 1359693"/>
                <a:gd name="connsiteX119" fmla="*/ 5691664 w 8071103"/>
                <a:gd name="connsiteY119" fmla="*/ 548450 h 1359693"/>
                <a:gd name="connsiteX120" fmla="*/ 5659755 w 8071103"/>
                <a:gd name="connsiteY120" fmla="*/ 548450 h 1359693"/>
                <a:gd name="connsiteX121" fmla="*/ 5680424 w 8071103"/>
                <a:gd name="connsiteY121" fmla="*/ 713708 h 1359693"/>
                <a:gd name="connsiteX122" fmla="*/ 5680424 w 8071103"/>
                <a:gd name="connsiteY122" fmla="*/ 1337215 h 1359693"/>
                <a:gd name="connsiteX123" fmla="*/ 5443823 w 8071103"/>
                <a:gd name="connsiteY123" fmla="*/ 1337215 h 1359693"/>
                <a:gd name="connsiteX124" fmla="*/ 5443823 w 8071103"/>
                <a:gd name="connsiteY124" fmla="*/ 22574 h 1359693"/>
                <a:gd name="connsiteX125" fmla="*/ 6273832 w 8071103"/>
                <a:gd name="connsiteY125" fmla="*/ 22574 h 1359693"/>
                <a:gd name="connsiteX126" fmla="*/ 6720840 w 8071103"/>
                <a:gd name="connsiteY126" fmla="*/ 22574 h 1359693"/>
                <a:gd name="connsiteX127" fmla="*/ 6720840 w 8071103"/>
                <a:gd name="connsiteY127" fmla="*/ 238601 h 1359693"/>
                <a:gd name="connsiteX128" fmla="*/ 6510528 w 8071103"/>
                <a:gd name="connsiteY128" fmla="*/ 238601 h 1359693"/>
                <a:gd name="connsiteX129" fmla="*/ 6510528 w 8071103"/>
                <a:gd name="connsiteY129" fmla="*/ 565404 h 1359693"/>
                <a:gd name="connsiteX130" fmla="*/ 6700172 w 8071103"/>
                <a:gd name="connsiteY130" fmla="*/ 565404 h 1359693"/>
                <a:gd name="connsiteX131" fmla="*/ 6700172 w 8071103"/>
                <a:gd name="connsiteY131" fmla="*/ 775716 h 1359693"/>
                <a:gd name="connsiteX132" fmla="*/ 6510528 w 8071103"/>
                <a:gd name="connsiteY132" fmla="*/ 775716 h 1359693"/>
                <a:gd name="connsiteX133" fmla="*/ 6510528 w 8071103"/>
                <a:gd name="connsiteY133" fmla="*/ 1121283 h 1359693"/>
                <a:gd name="connsiteX134" fmla="*/ 6720840 w 8071103"/>
                <a:gd name="connsiteY134" fmla="*/ 1121283 h 1359693"/>
                <a:gd name="connsiteX135" fmla="*/ 6720840 w 8071103"/>
                <a:gd name="connsiteY135" fmla="*/ 1337215 h 1359693"/>
                <a:gd name="connsiteX136" fmla="*/ 6273832 w 8071103"/>
                <a:gd name="connsiteY136" fmla="*/ 1337215 h 1359693"/>
                <a:gd name="connsiteX137" fmla="*/ 6273832 w 8071103"/>
                <a:gd name="connsiteY137" fmla="*/ 22574 h 1359693"/>
                <a:gd name="connsiteX138" fmla="*/ 6846665 w 8071103"/>
                <a:gd name="connsiteY138" fmla="*/ 1074230 h 1359693"/>
                <a:gd name="connsiteX139" fmla="*/ 6846665 w 8071103"/>
                <a:gd name="connsiteY139" fmla="*/ 283559 h 1359693"/>
                <a:gd name="connsiteX140" fmla="*/ 7154704 w 8071103"/>
                <a:gd name="connsiteY140" fmla="*/ 0 h 1359693"/>
                <a:gd name="connsiteX141" fmla="*/ 7462742 w 8071103"/>
                <a:gd name="connsiteY141" fmla="*/ 283559 h 1359693"/>
                <a:gd name="connsiteX142" fmla="*/ 7462742 w 8071103"/>
                <a:gd name="connsiteY142" fmla="*/ 557784 h 1359693"/>
                <a:gd name="connsiteX143" fmla="*/ 7226142 w 8071103"/>
                <a:gd name="connsiteY143" fmla="*/ 557784 h 1359693"/>
                <a:gd name="connsiteX144" fmla="*/ 7226142 w 8071103"/>
                <a:gd name="connsiteY144" fmla="*/ 285464 h 1359693"/>
                <a:gd name="connsiteX145" fmla="*/ 7154800 w 8071103"/>
                <a:gd name="connsiteY145" fmla="*/ 215932 h 1359693"/>
                <a:gd name="connsiteX146" fmla="*/ 7083457 w 8071103"/>
                <a:gd name="connsiteY146" fmla="*/ 285464 h 1359693"/>
                <a:gd name="connsiteX147" fmla="*/ 7083457 w 8071103"/>
                <a:gd name="connsiteY147" fmla="*/ 1074230 h 1359693"/>
                <a:gd name="connsiteX148" fmla="*/ 7154800 w 8071103"/>
                <a:gd name="connsiteY148" fmla="*/ 1143667 h 1359693"/>
                <a:gd name="connsiteX149" fmla="*/ 7226142 w 8071103"/>
                <a:gd name="connsiteY149" fmla="*/ 1074230 h 1359693"/>
                <a:gd name="connsiteX150" fmla="*/ 7226142 w 8071103"/>
                <a:gd name="connsiteY150" fmla="*/ 783146 h 1359693"/>
                <a:gd name="connsiteX151" fmla="*/ 7462742 w 8071103"/>
                <a:gd name="connsiteY151" fmla="*/ 783146 h 1359693"/>
                <a:gd name="connsiteX152" fmla="*/ 7462742 w 8071103"/>
                <a:gd name="connsiteY152" fmla="*/ 1074230 h 1359693"/>
                <a:gd name="connsiteX153" fmla="*/ 7154704 w 8071103"/>
                <a:gd name="connsiteY153" fmla="*/ 1359694 h 1359693"/>
                <a:gd name="connsiteX154" fmla="*/ 6846665 w 8071103"/>
                <a:gd name="connsiteY154" fmla="*/ 1074230 h 1359693"/>
                <a:gd name="connsiteX155" fmla="*/ 7699248 w 8071103"/>
                <a:gd name="connsiteY155" fmla="*/ 238506 h 1359693"/>
                <a:gd name="connsiteX156" fmla="*/ 7563993 w 8071103"/>
                <a:gd name="connsiteY156" fmla="*/ 238506 h 1359693"/>
                <a:gd name="connsiteX157" fmla="*/ 7563993 w 8071103"/>
                <a:gd name="connsiteY157" fmla="*/ 22479 h 1359693"/>
                <a:gd name="connsiteX158" fmla="*/ 8071104 w 8071103"/>
                <a:gd name="connsiteY158" fmla="*/ 22479 h 1359693"/>
                <a:gd name="connsiteX159" fmla="*/ 8071104 w 8071103"/>
                <a:gd name="connsiteY159" fmla="*/ 238506 h 1359693"/>
                <a:gd name="connsiteX160" fmla="*/ 7935850 w 8071103"/>
                <a:gd name="connsiteY160" fmla="*/ 238506 h 1359693"/>
                <a:gd name="connsiteX161" fmla="*/ 7935850 w 8071103"/>
                <a:gd name="connsiteY161" fmla="*/ 1337120 h 1359693"/>
                <a:gd name="connsiteX162" fmla="*/ 7699248 w 8071103"/>
                <a:gd name="connsiteY162" fmla="*/ 1337120 h 1359693"/>
                <a:gd name="connsiteX163" fmla="*/ 7699248 w 8071103"/>
                <a:gd name="connsiteY163" fmla="*/ 238506 h 1359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8071103" h="1359693">
                  <a:moveTo>
                    <a:pt x="0" y="1074230"/>
                  </a:moveTo>
                  <a:lnTo>
                    <a:pt x="0" y="283559"/>
                  </a:lnTo>
                  <a:cubicBezTo>
                    <a:pt x="0" y="114490"/>
                    <a:pt x="123920" y="0"/>
                    <a:pt x="308038" y="0"/>
                  </a:cubicBezTo>
                  <a:cubicBezTo>
                    <a:pt x="492157" y="0"/>
                    <a:pt x="616077" y="114586"/>
                    <a:pt x="616077" y="283559"/>
                  </a:cubicBezTo>
                  <a:lnTo>
                    <a:pt x="616077" y="557784"/>
                  </a:lnTo>
                  <a:lnTo>
                    <a:pt x="379476" y="557784"/>
                  </a:lnTo>
                  <a:lnTo>
                    <a:pt x="379476" y="285464"/>
                  </a:lnTo>
                  <a:cubicBezTo>
                    <a:pt x="379476" y="242316"/>
                    <a:pt x="351282" y="215932"/>
                    <a:pt x="308134" y="215932"/>
                  </a:cubicBezTo>
                  <a:cubicBezTo>
                    <a:pt x="264986" y="215932"/>
                    <a:pt x="236791" y="242221"/>
                    <a:pt x="236791" y="285464"/>
                  </a:cubicBezTo>
                  <a:lnTo>
                    <a:pt x="236791" y="1074230"/>
                  </a:lnTo>
                  <a:cubicBezTo>
                    <a:pt x="236791" y="1117378"/>
                    <a:pt x="264986" y="1143667"/>
                    <a:pt x="308134" y="1143667"/>
                  </a:cubicBezTo>
                  <a:cubicBezTo>
                    <a:pt x="351282" y="1143667"/>
                    <a:pt x="379476" y="1117378"/>
                    <a:pt x="379476" y="1074230"/>
                  </a:cubicBezTo>
                  <a:lnTo>
                    <a:pt x="379476" y="783146"/>
                  </a:lnTo>
                  <a:lnTo>
                    <a:pt x="616077" y="783146"/>
                  </a:lnTo>
                  <a:lnTo>
                    <a:pt x="616077" y="1074230"/>
                  </a:lnTo>
                  <a:cubicBezTo>
                    <a:pt x="616077" y="1245108"/>
                    <a:pt x="492157" y="1359694"/>
                    <a:pt x="308038" y="1359694"/>
                  </a:cubicBezTo>
                  <a:cubicBezTo>
                    <a:pt x="123920" y="1359694"/>
                    <a:pt x="0" y="1245108"/>
                    <a:pt x="0" y="1074230"/>
                  </a:cubicBezTo>
                  <a:close/>
                  <a:moveTo>
                    <a:pt x="762476" y="22574"/>
                  </a:moveTo>
                  <a:lnTo>
                    <a:pt x="999077" y="22574"/>
                  </a:lnTo>
                  <a:lnTo>
                    <a:pt x="999077" y="1121283"/>
                  </a:lnTo>
                  <a:lnTo>
                    <a:pt x="1198150" y="1121283"/>
                  </a:lnTo>
                  <a:lnTo>
                    <a:pt x="1198150" y="1337215"/>
                  </a:lnTo>
                  <a:lnTo>
                    <a:pt x="762476" y="1337215"/>
                  </a:lnTo>
                  <a:lnTo>
                    <a:pt x="762476" y="22574"/>
                  </a:lnTo>
                  <a:close/>
                  <a:moveTo>
                    <a:pt x="1293971" y="1074230"/>
                  </a:moveTo>
                  <a:lnTo>
                    <a:pt x="1293971" y="22479"/>
                  </a:lnTo>
                  <a:lnTo>
                    <a:pt x="1530572" y="22479"/>
                  </a:lnTo>
                  <a:lnTo>
                    <a:pt x="1530572" y="1074230"/>
                  </a:lnTo>
                  <a:cubicBezTo>
                    <a:pt x="1530572" y="1117378"/>
                    <a:pt x="1558766" y="1143667"/>
                    <a:pt x="1600105" y="1143667"/>
                  </a:cubicBezTo>
                  <a:cubicBezTo>
                    <a:pt x="1641443" y="1143667"/>
                    <a:pt x="1671447" y="1117378"/>
                    <a:pt x="1671447" y="1074230"/>
                  </a:cubicBezTo>
                  <a:lnTo>
                    <a:pt x="1671447" y="22479"/>
                  </a:lnTo>
                  <a:lnTo>
                    <a:pt x="1908048" y="22479"/>
                  </a:lnTo>
                  <a:lnTo>
                    <a:pt x="1908048" y="1074230"/>
                  </a:lnTo>
                  <a:cubicBezTo>
                    <a:pt x="1908048" y="1245108"/>
                    <a:pt x="1784128" y="1359694"/>
                    <a:pt x="1600009" y="1359694"/>
                  </a:cubicBezTo>
                  <a:cubicBezTo>
                    <a:pt x="1415891" y="1359694"/>
                    <a:pt x="1293876" y="1245108"/>
                    <a:pt x="1293876" y="1074230"/>
                  </a:cubicBezTo>
                  <a:close/>
                  <a:moveTo>
                    <a:pt x="2060162" y="22574"/>
                  </a:moveTo>
                  <a:lnTo>
                    <a:pt x="2394490" y="22574"/>
                  </a:lnTo>
                  <a:cubicBezTo>
                    <a:pt x="2561654" y="22574"/>
                    <a:pt x="2674335" y="125921"/>
                    <a:pt x="2674335" y="279844"/>
                  </a:cubicBezTo>
                  <a:lnTo>
                    <a:pt x="2674335" y="458248"/>
                  </a:lnTo>
                  <a:cubicBezTo>
                    <a:pt x="2674335" y="537115"/>
                    <a:pt x="2638616" y="617887"/>
                    <a:pt x="2565369" y="651701"/>
                  </a:cubicBezTo>
                  <a:lnTo>
                    <a:pt x="2565369" y="662940"/>
                  </a:lnTo>
                  <a:cubicBezTo>
                    <a:pt x="2644235" y="696754"/>
                    <a:pt x="2685574" y="781240"/>
                    <a:pt x="2685574" y="865727"/>
                  </a:cubicBezTo>
                  <a:lnTo>
                    <a:pt x="2685574" y="1079849"/>
                  </a:lnTo>
                  <a:cubicBezTo>
                    <a:pt x="2685574" y="1233869"/>
                    <a:pt x="2574798" y="1337120"/>
                    <a:pt x="2405729" y="1337120"/>
                  </a:cubicBezTo>
                  <a:lnTo>
                    <a:pt x="2060162" y="1337120"/>
                  </a:lnTo>
                  <a:lnTo>
                    <a:pt x="2060162" y="22574"/>
                  </a:lnTo>
                  <a:close/>
                  <a:moveTo>
                    <a:pt x="2296763" y="238506"/>
                  </a:moveTo>
                  <a:lnTo>
                    <a:pt x="2296763" y="569024"/>
                  </a:lnTo>
                  <a:lnTo>
                    <a:pt x="2366296" y="569024"/>
                  </a:lnTo>
                  <a:cubicBezTo>
                    <a:pt x="2409444" y="569024"/>
                    <a:pt x="2437638" y="540830"/>
                    <a:pt x="2437638" y="497681"/>
                  </a:cubicBezTo>
                  <a:lnTo>
                    <a:pt x="2437638" y="307943"/>
                  </a:lnTo>
                  <a:cubicBezTo>
                    <a:pt x="2437638" y="264795"/>
                    <a:pt x="2409444" y="238506"/>
                    <a:pt x="2366296" y="238506"/>
                  </a:cubicBezTo>
                  <a:lnTo>
                    <a:pt x="2296763" y="238506"/>
                  </a:lnTo>
                  <a:close/>
                  <a:moveTo>
                    <a:pt x="2296763" y="770001"/>
                  </a:moveTo>
                  <a:lnTo>
                    <a:pt x="2296763" y="1121188"/>
                  </a:lnTo>
                  <a:lnTo>
                    <a:pt x="2379440" y="1121188"/>
                  </a:lnTo>
                  <a:cubicBezTo>
                    <a:pt x="2420779" y="1121188"/>
                    <a:pt x="2448973" y="1094899"/>
                    <a:pt x="2448973" y="1051655"/>
                  </a:cubicBezTo>
                  <a:lnTo>
                    <a:pt x="2448973" y="841343"/>
                  </a:lnTo>
                  <a:cubicBezTo>
                    <a:pt x="2448973" y="798195"/>
                    <a:pt x="2420779" y="770001"/>
                    <a:pt x="2379440" y="770001"/>
                  </a:cubicBezTo>
                  <a:lnTo>
                    <a:pt x="2296763" y="770001"/>
                  </a:lnTo>
                  <a:close/>
                  <a:moveTo>
                    <a:pt x="3094482" y="1074230"/>
                  </a:moveTo>
                  <a:lnTo>
                    <a:pt x="3094482" y="283559"/>
                  </a:lnTo>
                  <a:cubicBezTo>
                    <a:pt x="3094482" y="114490"/>
                    <a:pt x="3218403" y="0"/>
                    <a:pt x="3402520" y="0"/>
                  </a:cubicBezTo>
                  <a:cubicBezTo>
                    <a:pt x="3586639" y="0"/>
                    <a:pt x="3710559" y="114586"/>
                    <a:pt x="3710559" y="283559"/>
                  </a:cubicBezTo>
                  <a:lnTo>
                    <a:pt x="3710559" y="557784"/>
                  </a:lnTo>
                  <a:lnTo>
                    <a:pt x="3473958" y="557784"/>
                  </a:lnTo>
                  <a:lnTo>
                    <a:pt x="3473958" y="285464"/>
                  </a:lnTo>
                  <a:cubicBezTo>
                    <a:pt x="3473958" y="242316"/>
                    <a:pt x="3445764" y="215932"/>
                    <a:pt x="3402616" y="215932"/>
                  </a:cubicBezTo>
                  <a:cubicBezTo>
                    <a:pt x="3359468" y="215932"/>
                    <a:pt x="3331274" y="242221"/>
                    <a:pt x="3331274" y="285464"/>
                  </a:cubicBezTo>
                  <a:lnTo>
                    <a:pt x="3331274" y="1074230"/>
                  </a:lnTo>
                  <a:cubicBezTo>
                    <a:pt x="3331274" y="1117378"/>
                    <a:pt x="3359468" y="1143667"/>
                    <a:pt x="3402616" y="1143667"/>
                  </a:cubicBezTo>
                  <a:cubicBezTo>
                    <a:pt x="3445764" y="1143667"/>
                    <a:pt x="3473958" y="1117378"/>
                    <a:pt x="3473958" y="1074230"/>
                  </a:cubicBezTo>
                  <a:lnTo>
                    <a:pt x="3473958" y="783146"/>
                  </a:lnTo>
                  <a:lnTo>
                    <a:pt x="3710559" y="783146"/>
                  </a:lnTo>
                  <a:lnTo>
                    <a:pt x="3710559" y="1074230"/>
                  </a:lnTo>
                  <a:cubicBezTo>
                    <a:pt x="3710559" y="1245108"/>
                    <a:pt x="3586639" y="1359694"/>
                    <a:pt x="3402520" y="1359694"/>
                  </a:cubicBezTo>
                  <a:cubicBezTo>
                    <a:pt x="3218403" y="1359694"/>
                    <a:pt x="3094482" y="1245108"/>
                    <a:pt x="3094482" y="1074230"/>
                  </a:cubicBezTo>
                  <a:close/>
                  <a:moveTo>
                    <a:pt x="3849434" y="1074230"/>
                  </a:moveTo>
                  <a:lnTo>
                    <a:pt x="3849434" y="283559"/>
                  </a:lnTo>
                  <a:cubicBezTo>
                    <a:pt x="3849434" y="114490"/>
                    <a:pt x="3973354" y="0"/>
                    <a:pt x="4157472" y="0"/>
                  </a:cubicBezTo>
                  <a:cubicBezTo>
                    <a:pt x="4341590" y="0"/>
                    <a:pt x="4465511" y="114586"/>
                    <a:pt x="4465511" y="283559"/>
                  </a:cubicBezTo>
                  <a:lnTo>
                    <a:pt x="4465511" y="1074230"/>
                  </a:lnTo>
                  <a:cubicBezTo>
                    <a:pt x="4465511" y="1245108"/>
                    <a:pt x="4341590" y="1359694"/>
                    <a:pt x="4157472" y="1359694"/>
                  </a:cubicBezTo>
                  <a:cubicBezTo>
                    <a:pt x="3973354" y="1359694"/>
                    <a:pt x="3849434" y="1245108"/>
                    <a:pt x="3849434" y="1074230"/>
                  </a:cubicBezTo>
                  <a:close/>
                  <a:moveTo>
                    <a:pt x="4228814" y="1074230"/>
                  </a:moveTo>
                  <a:lnTo>
                    <a:pt x="4228814" y="285464"/>
                  </a:lnTo>
                  <a:cubicBezTo>
                    <a:pt x="4228814" y="242316"/>
                    <a:pt x="4200621" y="215932"/>
                    <a:pt x="4157472" y="215932"/>
                  </a:cubicBezTo>
                  <a:cubicBezTo>
                    <a:pt x="4114324" y="215932"/>
                    <a:pt x="4086130" y="242221"/>
                    <a:pt x="4086130" y="285464"/>
                  </a:cubicBezTo>
                  <a:lnTo>
                    <a:pt x="4086130" y="1074230"/>
                  </a:lnTo>
                  <a:cubicBezTo>
                    <a:pt x="4086130" y="1117378"/>
                    <a:pt x="4114324" y="1143667"/>
                    <a:pt x="4157472" y="1143667"/>
                  </a:cubicBezTo>
                  <a:cubicBezTo>
                    <a:pt x="4200621" y="1143667"/>
                    <a:pt x="4228814" y="1117378"/>
                    <a:pt x="4228814" y="1074230"/>
                  </a:cubicBezTo>
                  <a:close/>
                  <a:moveTo>
                    <a:pt x="4613720" y="22574"/>
                  </a:moveTo>
                  <a:lnTo>
                    <a:pt x="4886039" y="22574"/>
                  </a:lnTo>
                  <a:lnTo>
                    <a:pt x="5021294" y="646081"/>
                  </a:lnTo>
                  <a:lnTo>
                    <a:pt x="5040059" y="811340"/>
                  </a:lnTo>
                  <a:lnTo>
                    <a:pt x="5071967" y="811340"/>
                  </a:lnTo>
                  <a:lnTo>
                    <a:pt x="5051298" y="646081"/>
                  </a:lnTo>
                  <a:lnTo>
                    <a:pt x="5051298" y="22574"/>
                  </a:lnTo>
                  <a:lnTo>
                    <a:pt x="5287899" y="22574"/>
                  </a:lnTo>
                  <a:lnTo>
                    <a:pt x="5287899" y="1337215"/>
                  </a:lnTo>
                  <a:lnTo>
                    <a:pt x="5017485" y="1337215"/>
                  </a:lnTo>
                  <a:lnTo>
                    <a:pt x="4882230" y="713708"/>
                  </a:lnTo>
                  <a:lnTo>
                    <a:pt x="4861560" y="548450"/>
                  </a:lnTo>
                  <a:lnTo>
                    <a:pt x="4829651" y="548450"/>
                  </a:lnTo>
                  <a:lnTo>
                    <a:pt x="4850320" y="713708"/>
                  </a:lnTo>
                  <a:lnTo>
                    <a:pt x="4850320" y="1337215"/>
                  </a:lnTo>
                  <a:lnTo>
                    <a:pt x="4613720" y="1337215"/>
                  </a:lnTo>
                  <a:lnTo>
                    <a:pt x="4613720" y="22574"/>
                  </a:lnTo>
                  <a:close/>
                  <a:moveTo>
                    <a:pt x="5443823" y="22574"/>
                  </a:moveTo>
                  <a:lnTo>
                    <a:pt x="5716143" y="22574"/>
                  </a:lnTo>
                  <a:lnTo>
                    <a:pt x="5851398" y="646081"/>
                  </a:lnTo>
                  <a:lnTo>
                    <a:pt x="5870162" y="811340"/>
                  </a:lnTo>
                  <a:lnTo>
                    <a:pt x="5902071" y="811340"/>
                  </a:lnTo>
                  <a:lnTo>
                    <a:pt x="5881402" y="646081"/>
                  </a:lnTo>
                  <a:lnTo>
                    <a:pt x="5881402" y="22574"/>
                  </a:lnTo>
                  <a:lnTo>
                    <a:pt x="6118003" y="22574"/>
                  </a:lnTo>
                  <a:lnTo>
                    <a:pt x="6118003" y="1337215"/>
                  </a:lnTo>
                  <a:lnTo>
                    <a:pt x="5847588" y="1337215"/>
                  </a:lnTo>
                  <a:lnTo>
                    <a:pt x="5712333" y="713708"/>
                  </a:lnTo>
                  <a:lnTo>
                    <a:pt x="5691664" y="548450"/>
                  </a:lnTo>
                  <a:lnTo>
                    <a:pt x="5659755" y="548450"/>
                  </a:lnTo>
                  <a:lnTo>
                    <a:pt x="5680424" y="713708"/>
                  </a:lnTo>
                  <a:lnTo>
                    <a:pt x="5680424" y="1337215"/>
                  </a:lnTo>
                  <a:lnTo>
                    <a:pt x="5443823" y="1337215"/>
                  </a:lnTo>
                  <a:lnTo>
                    <a:pt x="5443823" y="22574"/>
                  </a:lnTo>
                  <a:close/>
                  <a:moveTo>
                    <a:pt x="6273832" y="22574"/>
                  </a:moveTo>
                  <a:lnTo>
                    <a:pt x="6720840" y="22574"/>
                  </a:lnTo>
                  <a:lnTo>
                    <a:pt x="6720840" y="238601"/>
                  </a:lnTo>
                  <a:lnTo>
                    <a:pt x="6510528" y="238601"/>
                  </a:lnTo>
                  <a:lnTo>
                    <a:pt x="6510528" y="565404"/>
                  </a:lnTo>
                  <a:lnTo>
                    <a:pt x="6700172" y="565404"/>
                  </a:lnTo>
                  <a:lnTo>
                    <a:pt x="6700172" y="775716"/>
                  </a:lnTo>
                  <a:lnTo>
                    <a:pt x="6510528" y="775716"/>
                  </a:lnTo>
                  <a:lnTo>
                    <a:pt x="6510528" y="1121283"/>
                  </a:lnTo>
                  <a:lnTo>
                    <a:pt x="6720840" y="1121283"/>
                  </a:lnTo>
                  <a:lnTo>
                    <a:pt x="6720840" y="1337215"/>
                  </a:lnTo>
                  <a:lnTo>
                    <a:pt x="6273832" y="1337215"/>
                  </a:lnTo>
                  <a:lnTo>
                    <a:pt x="6273832" y="22574"/>
                  </a:lnTo>
                  <a:close/>
                  <a:moveTo>
                    <a:pt x="6846665" y="1074230"/>
                  </a:moveTo>
                  <a:lnTo>
                    <a:pt x="6846665" y="283559"/>
                  </a:lnTo>
                  <a:cubicBezTo>
                    <a:pt x="6846665" y="114490"/>
                    <a:pt x="6970585" y="0"/>
                    <a:pt x="7154704" y="0"/>
                  </a:cubicBezTo>
                  <a:cubicBezTo>
                    <a:pt x="7338822" y="0"/>
                    <a:pt x="7462742" y="114586"/>
                    <a:pt x="7462742" y="283559"/>
                  </a:cubicBezTo>
                  <a:lnTo>
                    <a:pt x="7462742" y="557784"/>
                  </a:lnTo>
                  <a:lnTo>
                    <a:pt x="7226142" y="557784"/>
                  </a:lnTo>
                  <a:lnTo>
                    <a:pt x="7226142" y="285464"/>
                  </a:lnTo>
                  <a:cubicBezTo>
                    <a:pt x="7226142" y="242316"/>
                    <a:pt x="7197947" y="215932"/>
                    <a:pt x="7154800" y="215932"/>
                  </a:cubicBezTo>
                  <a:cubicBezTo>
                    <a:pt x="7111651" y="215932"/>
                    <a:pt x="7083457" y="242221"/>
                    <a:pt x="7083457" y="285464"/>
                  </a:cubicBezTo>
                  <a:lnTo>
                    <a:pt x="7083457" y="1074230"/>
                  </a:lnTo>
                  <a:cubicBezTo>
                    <a:pt x="7083457" y="1117378"/>
                    <a:pt x="7111651" y="1143667"/>
                    <a:pt x="7154800" y="1143667"/>
                  </a:cubicBezTo>
                  <a:cubicBezTo>
                    <a:pt x="7197947" y="1143667"/>
                    <a:pt x="7226142" y="1117378"/>
                    <a:pt x="7226142" y="1074230"/>
                  </a:cubicBezTo>
                  <a:lnTo>
                    <a:pt x="7226142" y="783146"/>
                  </a:lnTo>
                  <a:lnTo>
                    <a:pt x="7462742" y="783146"/>
                  </a:lnTo>
                  <a:lnTo>
                    <a:pt x="7462742" y="1074230"/>
                  </a:lnTo>
                  <a:cubicBezTo>
                    <a:pt x="7462742" y="1245108"/>
                    <a:pt x="7338822" y="1359694"/>
                    <a:pt x="7154704" y="1359694"/>
                  </a:cubicBezTo>
                  <a:cubicBezTo>
                    <a:pt x="6970585" y="1359694"/>
                    <a:pt x="6846665" y="1245108"/>
                    <a:pt x="6846665" y="1074230"/>
                  </a:cubicBezTo>
                  <a:close/>
                  <a:moveTo>
                    <a:pt x="7699248" y="238506"/>
                  </a:moveTo>
                  <a:lnTo>
                    <a:pt x="7563993" y="238506"/>
                  </a:lnTo>
                  <a:lnTo>
                    <a:pt x="7563993" y="22479"/>
                  </a:lnTo>
                  <a:lnTo>
                    <a:pt x="8071104" y="22479"/>
                  </a:lnTo>
                  <a:lnTo>
                    <a:pt x="8071104" y="238506"/>
                  </a:lnTo>
                  <a:lnTo>
                    <a:pt x="7935850" y="238506"/>
                  </a:lnTo>
                  <a:lnTo>
                    <a:pt x="7935850" y="1337120"/>
                  </a:lnTo>
                  <a:lnTo>
                    <a:pt x="7699248" y="1337120"/>
                  </a:lnTo>
                  <a:lnTo>
                    <a:pt x="7699248" y="238506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63501484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een background with a black background&#10;&#10;Description automatically generated">
            <a:extLst>
              <a:ext uri="{FF2B5EF4-FFF2-40B4-BE49-F238E27FC236}">
                <a16:creationId xmlns:a16="http://schemas.microsoft.com/office/drawing/2014/main" id="{70F1871C-D4C8-CB95-A687-486B6D8159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0" y="1106"/>
            <a:ext cx="12192000" cy="685689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C2B404-9FBA-1E87-C027-2BB6C644C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75" y="4550387"/>
            <a:ext cx="6826250" cy="971831"/>
          </a:xfrm>
        </p:spPr>
        <p:txBody>
          <a:bodyPr anchor="t"/>
          <a:lstStyle>
            <a:lvl1pPr algn="ctr">
              <a:defRPr sz="5000">
                <a:solidFill>
                  <a:schemeClr val="accent2"/>
                </a:solidFill>
              </a:defRPr>
            </a:lvl1pPr>
          </a:lstStyle>
          <a:p>
            <a:r>
              <a:rPr lang="en-US"/>
              <a:t>Add section tit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8598D-4FA6-4246-6447-7B759D632FD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682875" y="5566944"/>
            <a:ext cx="6826250" cy="34727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Add optional sub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B53587-0701-2BC6-CC8A-7319C380CA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25925" y="832803"/>
            <a:ext cx="3740151" cy="3074025"/>
          </a:xfrm>
        </p:spPr>
        <p:txBody>
          <a:bodyPr/>
          <a:lstStyle>
            <a:lvl1pPr algn="ctr">
              <a:defRPr sz="20000" b="1">
                <a:ln w="19050">
                  <a:solidFill>
                    <a:schemeClr val="bg1"/>
                  </a:solidFill>
                </a:ln>
                <a:noFill/>
                <a:latin typeface="Open Sans Extrabold" pitchFamily="2" charset="0"/>
                <a:ea typeface="Open Sans Extrabold" pitchFamily="2" charset="0"/>
                <a:cs typeface="Open Sans Extrabold" pitchFamily="2" charset="0"/>
              </a:defRPr>
            </a:lvl1pPr>
          </a:lstStyle>
          <a:p>
            <a:pPr lvl="0"/>
            <a:r>
              <a:rPr lang="en-US"/>
              <a:t>00</a:t>
            </a:r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C9F8768-A2B5-D220-C92A-4777FCEDA7B9}"/>
              </a:ext>
            </a:extLst>
          </p:cNvPr>
          <p:cNvGrpSpPr/>
          <p:nvPr userDrawn="1"/>
        </p:nvGrpSpPr>
        <p:grpSpPr>
          <a:xfrm>
            <a:off x="360363" y="357188"/>
            <a:ext cx="2108053" cy="519112"/>
            <a:chOff x="13749337" y="746575"/>
            <a:chExt cx="11277504" cy="2777109"/>
          </a:xfrm>
          <a:solidFill>
            <a:schemeClr val="accent2"/>
          </a:solidFill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EAEB85DA-4B47-5630-D4E0-117268112021}"/>
                </a:ext>
              </a:extLst>
            </p:cNvPr>
            <p:cNvSpPr/>
            <p:nvPr/>
          </p:nvSpPr>
          <p:spPr>
            <a:xfrm>
              <a:off x="13749337" y="746575"/>
              <a:ext cx="5114450" cy="2777109"/>
            </a:xfrm>
            <a:custGeom>
              <a:avLst/>
              <a:gdLst>
                <a:gd name="connsiteX0" fmla="*/ 5080826 w 5114450"/>
                <a:gd name="connsiteY0" fmla="*/ 664559 h 2777109"/>
                <a:gd name="connsiteX1" fmla="*/ 5114450 w 5114450"/>
                <a:gd name="connsiteY1" fmla="*/ 952786 h 2777109"/>
                <a:gd name="connsiteX2" fmla="*/ 4924234 w 5114450"/>
                <a:gd name="connsiteY2" fmla="*/ 952786 h 2777109"/>
                <a:gd name="connsiteX3" fmla="*/ 4911662 w 5114450"/>
                <a:gd name="connsiteY3" fmla="*/ 812292 h 2777109"/>
                <a:gd name="connsiteX4" fmla="*/ 4562570 w 5114450"/>
                <a:gd name="connsiteY4" fmla="*/ 812292 h 2777109"/>
                <a:gd name="connsiteX5" fmla="*/ 4196906 w 5114450"/>
                <a:gd name="connsiteY5" fmla="*/ 972026 h 2777109"/>
                <a:gd name="connsiteX6" fmla="*/ 4047362 w 5114450"/>
                <a:gd name="connsiteY6" fmla="*/ 952786 h 2777109"/>
                <a:gd name="connsiteX7" fmla="*/ 5080826 w 5114450"/>
                <a:gd name="connsiteY7" fmla="*/ 664559 h 2777109"/>
                <a:gd name="connsiteX8" fmla="*/ 4833462 w 5114450"/>
                <a:gd name="connsiteY8" fmla="*/ 250221 h 2777109"/>
                <a:gd name="connsiteX9" fmla="*/ 5031866 w 5114450"/>
                <a:gd name="connsiteY9" fmla="*/ 250221 h 2777109"/>
                <a:gd name="connsiteX10" fmla="*/ 5076634 w 5114450"/>
                <a:gd name="connsiteY10" fmla="*/ 629697 h 2777109"/>
                <a:gd name="connsiteX11" fmla="*/ 4896516 w 5114450"/>
                <a:gd name="connsiteY11" fmla="*/ 650176 h 2777109"/>
                <a:gd name="connsiteX12" fmla="*/ 4876418 w 5114450"/>
                <a:gd name="connsiteY12" fmla="*/ 423767 h 2777109"/>
                <a:gd name="connsiteX13" fmla="*/ 4658010 w 5114450"/>
                <a:gd name="connsiteY13" fmla="*/ 693610 h 2777109"/>
                <a:gd name="connsiteX14" fmla="*/ 4657914 w 5114450"/>
                <a:gd name="connsiteY14" fmla="*/ 693610 h 2777109"/>
                <a:gd name="connsiteX15" fmla="*/ 4412456 w 5114450"/>
                <a:gd name="connsiteY15" fmla="*/ 758856 h 2777109"/>
                <a:gd name="connsiteX16" fmla="*/ 4833462 w 5114450"/>
                <a:gd name="connsiteY16" fmla="*/ 250221 h 2777109"/>
                <a:gd name="connsiteX17" fmla="*/ 4326922 w 5114450"/>
                <a:gd name="connsiteY17" fmla="*/ 232600 h 2777109"/>
                <a:gd name="connsiteX18" fmla="*/ 4614670 w 5114450"/>
                <a:gd name="connsiteY18" fmla="*/ 329279 h 2777109"/>
                <a:gd name="connsiteX19" fmla="*/ 4508658 w 5114450"/>
                <a:gd name="connsiteY19" fmla="*/ 460438 h 2777109"/>
                <a:gd name="connsiteX20" fmla="*/ 4508658 w 5114450"/>
                <a:gd name="connsiteY20" fmla="*/ 460533 h 2777109"/>
                <a:gd name="connsiteX21" fmla="*/ 4299298 w 5114450"/>
                <a:gd name="connsiteY21" fmla="*/ 376999 h 2777109"/>
                <a:gd name="connsiteX22" fmla="*/ 4010024 w 5114450"/>
                <a:gd name="connsiteY22" fmla="*/ 619887 h 2777109"/>
                <a:gd name="connsiteX23" fmla="*/ 4113466 w 5114450"/>
                <a:gd name="connsiteY23" fmla="*/ 811911 h 2777109"/>
                <a:gd name="connsiteX24" fmla="*/ 4215670 w 5114450"/>
                <a:gd name="connsiteY24" fmla="*/ 826484 h 2777109"/>
                <a:gd name="connsiteX25" fmla="*/ 3928300 w 5114450"/>
                <a:gd name="connsiteY25" fmla="*/ 952881 h 2777109"/>
                <a:gd name="connsiteX26" fmla="*/ 3206400 w 5114450"/>
                <a:gd name="connsiteY26" fmla="*/ 952881 h 2777109"/>
                <a:gd name="connsiteX27" fmla="*/ 3454336 w 5114450"/>
                <a:gd name="connsiteY27" fmla="*/ 250317 h 2777109"/>
                <a:gd name="connsiteX28" fmla="*/ 3987164 w 5114450"/>
                <a:gd name="connsiteY28" fmla="*/ 250317 h 2777109"/>
                <a:gd name="connsiteX29" fmla="*/ 3871626 w 5114450"/>
                <a:gd name="connsiteY29" fmla="*/ 390810 h 2777109"/>
                <a:gd name="connsiteX30" fmla="*/ 3587590 w 5114450"/>
                <a:gd name="connsiteY30" fmla="*/ 390810 h 2777109"/>
                <a:gd name="connsiteX31" fmla="*/ 3544156 w 5114450"/>
                <a:gd name="connsiteY31" fmla="*/ 513683 h 2777109"/>
                <a:gd name="connsiteX32" fmla="*/ 3770470 w 5114450"/>
                <a:gd name="connsiteY32" fmla="*/ 513683 h 2777109"/>
                <a:gd name="connsiteX33" fmla="*/ 3655122 w 5114450"/>
                <a:gd name="connsiteY33" fmla="*/ 653796 h 2777109"/>
                <a:gd name="connsiteX34" fmla="*/ 3494722 w 5114450"/>
                <a:gd name="connsiteY34" fmla="*/ 653796 h 2777109"/>
                <a:gd name="connsiteX35" fmla="*/ 3438810 w 5114450"/>
                <a:gd name="connsiteY35" fmla="*/ 812101 h 2777109"/>
                <a:gd name="connsiteX36" fmla="*/ 3873530 w 5114450"/>
                <a:gd name="connsiteY36" fmla="*/ 812101 h 2777109"/>
                <a:gd name="connsiteX37" fmla="*/ 3829430 w 5114450"/>
                <a:gd name="connsiteY37" fmla="*/ 629793 h 2777109"/>
                <a:gd name="connsiteX38" fmla="*/ 4326922 w 5114450"/>
                <a:gd name="connsiteY38" fmla="*/ 232600 h 2777109"/>
                <a:gd name="connsiteX39" fmla="*/ 1567529 w 5114450"/>
                <a:gd name="connsiteY39" fmla="*/ 0 h 2777109"/>
                <a:gd name="connsiteX40" fmla="*/ 2797397 w 5114450"/>
                <a:gd name="connsiteY40" fmla="*/ 1388555 h 2777109"/>
                <a:gd name="connsiteX41" fmla="*/ 1567529 w 5114450"/>
                <a:gd name="connsiteY41" fmla="*/ 2777109 h 2777109"/>
                <a:gd name="connsiteX42" fmla="*/ 1567529 w 5114450"/>
                <a:gd name="connsiteY42" fmla="*/ 2003965 h 2777109"/>
                <a:gd name="connsiteX43" fmla="*/ 2036921 w 5114450"/>
                <a:gd name="connsiteY43" fmla="*/ 1388555 h 2777109"/>
                <a:gd name="connsiteX44" fmla="*/ 1567529 w 5114450"/>
                <a:gd name="connsiteY44" fmla="*/ 773144 h 2777109"/>
                <a:gd name="connsiteX45" fmla="*/ 1229868 w 5114450"/>
                <a:gd name="connsiteY45" fmla="*/ 0 h 2777109"/>
                <a:gd name="connsiteX46" fmla="*/ 1229868 w 5114450"/>
                <a:gd name="connsiteY46" fmla="*/ 773144 h 2777109"/>
                <a:gd name="connsiteX47" fmla="*/ 760476 w 5114450"/>
                <a:gd name="connsiteY47" fmla="*/ 1388555 h 2777109"/>
                <a:gd name="connsiteX48" fmla="*/ 1229868 w 5114450"/>
                <a:gd name="connsiteY48" fmla="*/ 2003965 h 2777109"/>
                <a:gd name="connsiteX49" fmla="*/ 1229868 w 5114450"/>
                <a:gd name="connsiteY49" fmla="*/ 2777109 h 2777109"/>
                <a:gd name="connsiteX50" fmla="*/ 0 w 5114450"/>
                <a:gd name="connsiteY50" fmla="*/ 1388555 h 2777109"/>
                <a:gd name="connsiteX51" fmla="*/ 1229868 w 5114450"/>
                <a:gd name="connsiteY51" fmla="*/ 0 h 2777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114450" h="2777109">
                  <a:moveTo>
                    <a:pt x="5080826" y="664559"/>
                  </a:moveTo>
                  <a:lnTo>
                    <a:pt x="5114450" y="952786"/>
                  </a:lnTo>
                  <a:lnTo>
                    <a:pt x="4924234" y="952786"/>
                  </a:lnTo>
                  <a:cubicBezTo>
                    <a:pt x="4924234" y="952786"/>
                    <a:pt x="4911662" y="812292"/>
                    <a:pt x="4911662" y="812292"/>
                  </a:cubicBezTo>
                  <a:lnTo>
                    <a:pt x="4562570" y="812292"/>
                  </a:lnTo>
                  <a:cubicBezTo>
                    <a:pt x="4448746" y="938022"/>
                    <a:pt x="4354162" y="972026"/>
                    <a:pt x="4196906" y="972026"/>
                  </a:cubicBezTo>
                  <a:cubicBezTo>
                    <a:pt x="4140136" y="972026"/>
                    <a:pt x="4086892" y="965549"/>
                    <a:pt x="4047362" y="952786"/>
                  </a:cubicBezTo>
                  <a:cubicBezTo>
                    <a:pt x="4047362" y="952786"/>
                    <a:pt x="4500562" y="719233"/>
                    <a:pt x="5080826" y="664559"/>
                  </a:cubicBezTo>
                  <a:close/>
                  <a:moveTo>
                    <a:pt x="4833462" y="250221"/>
                  </a:moveTo>
                  <a:lnTo>
                    <a:pt x="5031866" y="250221"/>
                  </a:lnTo>
                  <a:lnTo>
                    <a:pt x="5076634" y="629697"/>
                  </a:lnTo>
                  <a:cubicBezTo>
                    <a:pt x="5016626" y="636079"/>
                    <a:pt x="4955094" y="641127"/>
                    <a:pt x="4896516" y="650176"/>
                  </a:cubicBezTo>
                  <a:lnTo>
                    <a:pt x="4876418" y="423767"/>
                  </a:lnTo>
                  <a:lnTo>
                    <a:pt x="4658010" y="693610"/>
                  </a:lnTo>
                  <a:lnTo>
                    <a:pt x="4657914" y="693610"/>
                  </a:lnTo>
                  <a:cubicBezTo>
                    <a:pt x="4574094" y="712470"/>
                    <a:pt x="4492274" y="734282"/>
                    <a:pt x="4412456" y="758856"/>
                  </a:cubicBezTo>
                  <a:cubicBezTo>
                    <a:pt x="4412456" y="758856"/>
                    <a:pt x="4833462" y="250221"/>
                    <a:pt x="4833462" y="250221"/>
                  </a:cubicBezTo>
                  <a:close/>
                  <a:moveTo>
                    <a:pt x="4326922" y="232600"/>
                  </a:moveTo>
                  <a:cubicBezTo>
                    <a:pt x="4449222" y="232600"/>
                    <a:pt x="4548090" y="269271"/>
                    <a:pt x="4614670" y="329279"/>
                  </a:cubicBezTo>
                  <a:lnTo>
                    <a:pt x="4508658" y="460438"/>
                  </a:lnTo>
                  <a:lnTo>
                    <a:pt x="4508658" y="460533"/>
                  </a:lnTo>
                  <a:cubicBezTo>
                    <a:pt x="4467130" y="414051"/>
                    <a:pt x="4383498" y="376999"/>
                    <a:pt x="4299298" y="376999"/>
                  </a:cubicBezTo>
                  <a:cubicBezTo>
                    <a:pt x="4128706" y="376999"/>
                    <a:pt x="4021930" y="498538"/>
                    <a:pt x="4010024" y="619887"/>
                  </a:cubicBezTo>
                  <a:cubicBezTo>
                    <a:pt x="3999928" y="723042"/>
                    <a:pt x="4035838" y="785241"/>
                    <a:pt x="4113466" y="811911"/>
                  </a:cubicBezTo>
                  <a:cubicBezTo>
                    <a:pt x="4156518" y="822769"/>
                    <a:pt x="4180902" y="825246"/>
                    <a:pt x="4215670" y="826484"/>
                  </a:cubicBezTo>
                  <a:cubicBezTo>
                    <a:pt x="4030408" y="898017"/>
                    <a:pt x="3928300" y="952881"/>
                    <a:pt x="3928300" y="952881"/>
                  </a:cubicBezTo>
                  <a:lnTo>
                    <a:pt x="3206400" y="952881"/>
                  </a:lnTo>
                  <a:cubicBezTo>
                    <a:pt x="3206400" y="952881"/>
                    <a:pt x="3454336" y="250317"/>
                    <a:pt x="3454336" y="250317"/>
                  </a:cubicBezTo>
                  <a:lnTo>
                    <a:pt x="3987164" y="250317"/>
                  </a:lnTo>
                  <a:cubicBezTo>
                    <a:pt x="3987164" y="250317"/>
                    <a:pt x="3871626" y="390810"/>
                    <a:pt x="3871626" y="390810"/>
                  </a:cubicBezTo>
                  <a:lnTo>
                    <a:pt x="3587590" y="390810"/>
                  </a:lnTo>
                  <a:cubicBezTo>
                    <a:pt x="3587590" y="390810"/>
                    <a:pt x="3544156" y="513683"/>
                    <a:pt x="3544156" y="513683"/>
                  </a:cubicBezTo>
                  <a:lnTo>
                    <a:pt x="3770470" y="513683"/>
                  </a:lnTo>
                  <a:cubicBezTo>
                    <a:pt x="3770470" y="513683"/>
                    <a:pt x="3655122" y="653796"/>
                    <a:pt x="3655122" y="653796"/>
                  </a:cubicBezTo>
                  <a:lnTo>
                    <a:pt x="3494722" y="653796"/>
                  </a:lnTo>
                  <a:cubicBezTo>
                    <a:pt x="3494722" y="653796"/>
                    <a:pt x="3438810" y="812101"/>
                    <a:pt x="3438810" y="812101"/>
                  </a:cubicBezTo>
                  <a:lnTo>
                    <a:pt x="3873530" y="812101"/>
                  </a:lnTo>
                  <a:cubicBezTo>
                    <a:pt x="3837336" y="752284"/>
                    <a:pt x="3826192" y="691610"/>
                    <a:pt x="3829430" y="629793"/>
                  </a:cubicBezTo>
                  <a:cubicBezTo>
                    <a:pt x="3840290" y="425481"/>
                    <a:pt x="4007454" y="232600"/>
                    <a:pt x="4326922" y="232600"/>
                  </a:cubicBezTo>
                  <a:close/>
                  <a:moveTo>
                    <a:pt x="1567529" y="0"/>
                  </a:moveTo>
                  <a:cubicBezTo>
                    <a:pt x="2260473" y="83344"/>
                    <a:pt x="2797397" y="673227"/>
                    <a:pt x="2797397" y="1388555"/>
                  </a:cubicBezTo>
                  <a:cubicBezTo>
                    <a:pt x="2797397" y="2103882"/>
                    <a:pt x="2260378" y="2693765"/>
                    <a:pt x="1567529" y="2777109"/>
                  </a:cubicBezTo>
                  <a:lnTo>
                    <a:pt x="1567529" y="2003965"/>
                  </a:lnTo>
                  <a:cubicBezTo>
                    <a:pt x="1837754" y="1929765"/>
                    <a:pt x="2036921" y="1682020"/>
                    <a:pt x="2036921" y="1388555"/>
                  </a:cubicBezTo>
                  <a:cubicBezTo>
                    <a:pt x="2036921" y="1095089"/>
                    <a:pt x="1837754" y="847344"/>
                    <a:pt x="1567529" y="773144"/>
                  </a:cubicBezTo>
                  <a:close/>
                  <a:moveTo>
                    <a:pt x="1229868" y="0"/>
                  </a:moveTo>
                  <a:lnTo>
                    <a:pt x="1229868" y="773144"/>
                  </a:lnTo>
                  <a:cubicBezTo>
                    <a:pt x="959644" y="847344"/>
                    <a:pt x="760476" y="1095089"/>
                    <a:pt x="760476" y="1388555"/>
                  </a:cubicBezTo>
                  <a:cubicBezTo>
                    <a:pt x="760476" y="1682020"/>
                    <a:pt x="959644" y="1929765"/>
                    <a:pt x="1229868" y="2003965"/>
                  </a:cubicBezTo>
                  <a:lnTo>
                    <a:pt x="1229868" y="2777109"/>
                  </a:lnTo>
                  <a:cubicBezTo>
                    <a:pt x="537020" y="2693765"/>
                    <a:pt x="0" y="2103882"/>
                    <a:pt x="0" y="1388555"/>
                  </a:cubicBezTo>
                  <a:cubicBezTo>
                    <a:pt x="0" y="673227"/>
                    <a:pt x="537020" y="83344"/>
                    <a:pt x="1229868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5E7703D4-CF8D-92A2-BF01-9B54D4272143}"/>
                </a:ext>
              </a:extLst>
            </p:cNvPr>
            <p:cNvSpPr/>
            <p:nvPr/>
          </p:nvSpPr>
          <p:spPr>
            <a:xfrm>
              <a:off x="16955738" y="1931294"/>
              <a:ext cx="8071103" cy="1359693"/>
            </a:xfrm>
            <a:custGeom>
              <a:avLst/>
              <a:gdLst>
                <a:gd name="connsiteX0" fmla="*/ 0 w 8071103"/>
                <a:gd name="connsiteY0" fmla="*/ 1074230 h 1359693"/>
                <a:gd name="connsiteX1" fmla="*/ 0 w 8071103"/>
                <a:gd name="connsiteY1" fmla="*/ 283559 h 1359693"/>
                <a:gd name="connsiteX2" fmla="*/ 308038 w 8071103"/>
                <a:gd name="connsiteY2" fmla="*/ 0 h 1359693"/>
                <a:gd name="connsiteX3" fmla="*/ 616077 w 8071103"/>
                <a:gd name="connsiteY3" fmla="*/ 283559 h 1359693"/>
                <a:gd name="connsiteX4" fmla="*/ 616077 w 8071103"/>
                <a:gd name="connsiteY4" fmla="*/ 557784 h 1359693"/>
                <a:gd name="connsiteX5" fmla="*/ 379476 w 8071103"/>
                <a:gd name="connsiteY5" fmla="*/ 557784 h 1359693"/>
                <a:gd name="connsiteX6" fmla="*/ 379476 w 8071103"/>
                <a:gd name="connsiteY6" fmla="*/ 285464 h 1359693"/>
                <a:gd name="connsiteX7" fmla="*/ 308134 w 8071103"/>
                <a:gd name="connsiteY7" fmla="*/ 215932 h 1359693"/>
                <a:gd name="connsiteX8" fmla="*/ 236791 w 8071103"/>
                <a:gd name="connsiteY8" fmla="*/ 285464 h 1359693"/>
                <a:gd name="connsiteX9" fmla="*/ 236791 w 8071103"/>
                <a:gd name="connsiteY9" fmla="*/ 1074230 h 1359693"/>
                <a:gd name="connsiteX10" fmla="*/ 308134 w 8071103"/>
                <a:gd name="connsiteY10" fmla="*/ 1143667 h 1359693"/>
                <a:gd name="connsiteX11" fmla="*/ 379476 w 8071103"/>
                <a:gd name="connsiteY11" fmla="*/ 1074230 h 1359693"/>
                <a:gd name="connsiteX12" fmla="*/ 379476 w 8071103"/>
                <a:gd name="connsiteY12" fmla="*/ 783146 h 1359693"/>
                <a:gd name="connsiteX13" fmla="*/ 616077 w 8071103"/>
                <a:gd name="connsiteY13" fmla="*/ 783146 h 1359693"/>
                <a:gd name="connsiteX14" fmla="*/ 616077 w 8071103"/>
                <a:gd name="connsiteY14" fmla="*/ 1074230 h 1359693"/>
                <a:gd name="connsiteX15" fmla="*/ 308038 w 8071103"/>
                <a:gd name="connsiteY15" fmla="*/ 1359694 h 1359693"/>
                <a:gd name="connsiteX16" fmla="*/ 0 w 8071103"/>
                <a:gd name="connsiteY16" fmla="*/ 1074230 h 1359693"/>
                <a:gd name="connsiteX17" fmla="*/ 762476 w 8071103"/>
                <a:gd name="connsiteY17" fmla="*/ 22574 h 1359693"/>
                <a:gd name="connsiteX18" fmla="*/ 999077 w 8071103"/>
                <a:gd name="connsiteY18" fmla="*/ 22574 h 1359693"/>
                <a:gd name="connsiteX19" fmla="*/ 999077 w 8071103"/>
                <a:gd name="connsiteY19" fmla="*/ 1121283 h 1359693"/>
                <a:gd name="connsiteX20" fmla="*/ 1198150 w 8071103"/>
                <a:gd name="connsiteY20" fmla="*/ 1121283 h 1359693"/>
                <a:gd name="connsiteX21" fmla="*/ 1198150 w 8071103"/>
                <a:gd name="connsiteY21" fmla="*/ 1337215 h 1359693"/>
                <a:gd name="connsiteX22" fmla="*/ 762476 w 8071103"/>
                <a:gd name="connsiteY22" fmla="*/ 1337215 h 1359693"/>
                <a:gd name="connsiteX23" fmla="*/ 762476 w 8071103"/>
                <a:gd name="connsiteY23" fmla="*/ 22574 h 1359693"/>
                <a:gd name="connsiteX24" fmla="*/ 1293971 w 8071103"/>
                <a:gd name="connsiteY24" fmla="*/ 1074230 h 1359693"/>
                <a:gd name="connsiteX25" fmla="*/ 1293971 w 8071103"/>
                <a:gd name="connsiteY25" fmla="*/ 22479 h 1359693"/>
                <a:gd name="connsiteX26" fmla="*/ 1530572 w 8071103"/>
                <a:gd name="connsiteY26" fmla="*/ 22479 h 1359693"/>
                <a:gd name="connsiteX27" fmla="*/ 1530572 w 8071103"/>
                <a:gd name="connsiteY27" fmla="*/ 1074230 h 1359693"/>
                <a:gd name="connsiteX28" fmla="*/ 1600105 w 8071103"/>
                <a:gd name="connsiteY28" fmla="*/ 1143667 h 1359693"/>
                <a:gd name="connsiteX29" fmla="*/ 1671447 w 8071103"/>
                <a:gd name="connsiteY29" fmla="*/ 1074230 h 1359693"/>
                <a:gd name="connsiteX30" fmla="*/ 1671447 w 8071103"/>
                <a:gd name="connsiteY30" fmla="*/ 22479 h 1359693"/>
                <a:gd name="connsiteX31" fmla="*/ 1908048 w 8071103"/>
                <a:gd name="connsiteY31" fmla="*/ 22479 h 1359693"/>
                <a:gd name="connsiteX32" fmla="*/ 1908048 w 8071103"/>
                <a:gd name="connsiteY32" fmla="*/ 1074230 h 1359693"/>
                <a:gd name="connsiteX33" fmla="*/ 1600009 w 8071103"/>
                <a:gd name="connsiteY33" fmla="*/ 1359694 h 1359693"/>
                <a:gd name="connsiteX34" fmla="*/ 1293876 w 8071103"/>
                <a:gd name="connsiteY34" fmla="*/ 1074230 h 1359693"/>
                <a:gd name="connsiteX35" fmla="*/ 2060162 w 8071103"/>
                <a:gd name="connsiteY35" fmla="*/ 22574 h 1359693"/>
                <a:gd name="connsiteX36" fmla="*/ 2394490 w 8071103"/>
                <a:gd name="connsiteY36" fmla="*/ 22574 h 1359693"/>
                <a:gd name="connsiteX37" fmla="*/ 2674335 w 8071103"/>
                <a:gd name="connsiteY37" fmla="*/ 279844 h 1359693"/>
                <a:gd name="connsiteX38" fmla="*/ 2674335 w 8071103"/>
                <a:gd name="connsiteY38" fmla="*/ 458248 h 1359693"/>
                <a:gd name="connsiteX39" fmla="*/ 2565369 w 8071103"/>
                <a:gd name="connsiteY39" fmla="*/ 651701 h 1359693"/>
                <a:gd name="connsiteX40" fmla="*/ 2565369 w 8071103"/>
                <a:gd name="connsiteY40" fmla="*/ 662940 h 1359693"/>
                <a:gd name="connsiteX41" fmla="*/ 2685574 w 8071103"/>
                <a:gd name="connsiteY41" fmla="*/ 865727 h 1359693"/>
                <a:gd name="connsiteX42" fmla="*/ 2685574 w 8071103"/>
                <a:gd name="connsiteY42" fmla="*/ 1079849 h 1359693"/>
                <a:gd name="connsiteX43" fmla="*/ 2405729 w 8071103"/>
                <a:gd name="connsiteY43" fmla="*/ 1337120 h 1359693"/>
                <a:gd name="connsiteX44" fmla="*/ 2060162 w 8071103"/>
                <a:gd name="connsiteY44" fmla="*/ 1337120 h 1359693"/>
                <a:gd name="connsiteX45" fmla="*/ 2060162 w 8071103"/>
                <a:gd name="connsiteY45" fmla="*/ 22574 h 1359693"/>
                <a:gd name="connsiteX46" fmla="*/ 2296763 w 8071103"/>
                <a:gd name="connsiteY46" fmla="*/ 238506 h 1359693"/>
                <a:gd name="connsiteX47" fmla="*/ 2296763 w 8071103"/>
                <a:gd name="connsiteY47" fmla="*/ 569024 h 1359693"/>
                <a:gd name="connsiteX48" fmla="*/ 2366296 w 8071103"/>
                <a:gd name="connsiteY48" fmla="*/ 569024 h 1359693"/>
                <a:gd name="connsiteX49" fmla="*/ 2437638 w 8071103"/>
                <a:gd name="connsiteY49" fmla="*/ 497681 h 1359693"/>
                <a:gd name="connsiteX50" fmla="*/ 2437638 w 8071103"/>
                <a:gd name="connsiteY50" fmla="*/ 307943 h 1359693"/>
                <a:gd name="connsiteX51" fmla="*/ 2366296 w 8071103"/>
                <a:gd name="connsiteY51" fmla="*/ 238506 h 1359693"/>
                <a:gd name="connsiteX52" fmla="*/ 2296763 w 8071103"/>
                <a:gd name="connsiteY52" fmla="*/ 238506 h 1359693"/>
                <a:gd name="connsiteX53" fmla="*/ 2296763 w 8071103"/>
                <a:gd name="connsiteY53" fmla="*/ 770001 h 1359693"/>
                <a:gd name="connsiteX54" fmla="*/ 2296763 w 8071103"/>
                <a:gd name="connsiteY54" fmla="*/ 1121188 h 1359693"/>
                <a:gd name="connsiteX55" fmla="*/ 2379440 w 8071103"/>
                <a:gd name="connsiteY55" fmla="*/ 1121188 h 1359693"/>
                <a:gd name="connsiteX56" fmla="*/ 2448973 w 8071103"/>
                <a:gd name="connsiteY56" fmla="*/ 1051655 h 1359693"/>
                <a:gd name="connsiteX57" fmla="*/ 2448973 w 8071103"/>
                <a:gd name="connsiteY57" fmla="*/ 841343 h 1359693"/>
                <a:gd name="connsiteX58" fmla="*/ 2379440 w 8071103"/>
                <a:gd name="connsiteY58" fmla="*/ 770001 h 1359693"/>
                <a:gd name="connsiteX59" fmla="*/ 2296763 w 8071103"/>
                <a:gd name="connsiteY59" fmla="*/ 770001 h 1359693"/>
                <a:gd name="connsiteX60" fmla="*/ 3094482 w 8071103"/>
                <a:gd name="connsiteY60" fmla="*/ 1074230 h 1359693"/>
                <a:gd name="connsiteX61" fmla="*/ 3094482 w 8071103"/>
                <a:gd name="connsiteY61" fmla="*/ 283559 h 1359693"/>
                <a:gd name="connsiteX62" fmla="*/ 3402520 w 8071103"/>
                <a:gd name="connsiteY62" fmla="*/ 0 h 1359693"/>
                <a:gd name="connsiteX63" fmla="*/ 3710559 w 8071103"/>
                <a:gd name="connsiteY63" fmla="*/ 283559 h 1359693"/>
                <a:gd name="connsiteX64" fmla="*/ 3710559 w 8071103"/>
                <a:gd name="connsiteY64" fmla="*/ 557784 h 1359693"/>
                <a:gd name="connsiteX65" fmla="*/ 3473958 w 8071103"/>
                <a:gd name="connsiteY65" fmla="*/ 557784 h 1359693"/>
                <a:gd name="connsiteX66" fmla="*/ 3473958 w 8071103"/>
                <a:gd name="connsiteY66" fmla="*/ 285464 h 1359693"/>
                <a:gd name="connsiteX67" fmla="*/ 3402616 w 8071103"/>
                <a:gd name="connsiteY67" fmla="*/ 215932 h 1359693"/>
                <a:gd name="connsiteX68" fmla="*/ 3331274 w 8071103"/>
                <a:gd name="connsiteY68" fmla="*/ 285464 h 1359693"/>
                <a:gd name="connsiteX69" fmla="*/ 3331274 w 8071103"/>
                <a:gd name="connsiteY69" fmla="*/ 1074230 h 1359693"/>
                <a:gd name="connsiteX70" fmla="*/ 3402616 w 8071103"/>
                <a:gd name="connsiteY70" fmla="*/ 1143667 h 1359693"/>
                <a:gd name="connsiteX71" fmla="*/ 3473958 w 8071103"/>
                <a:gd name="connsiteY71" fmla="*/ 1074230 h 1359693"/>
                <a:gd name="connsiteX72" fmla="*/ 3473958 w 8071103"/>
                <a:gd name="connsiteY72" fmla="*/ 783146 h 1359693"/>
                <a:gd name="connsiteX73" fmla="*/ 3710559 w 8071103"/>
                <a:gd name="connsiteY73" fmla="*/ 783146 h 1359693"/>
                <a:gd name="connsiteX74" fmla="*/ 3710559 w 8071103"/>
                <a:gd name="connsiteY74" fmla="*/ 1074230 h 1359693"/>
                <a:gd name="connsiteX75" fmla="*/ 3402520 w 8071103"/>
                <a:gd name="connsiteY75" fmla="*/ 1359694 h 1359693"/>
                <a:gd name="connsiteX76" fmla="*/ 3094482 w 8071103"/>
                <a:gd name="connsiteY76" fmla="*/ 1074230 h 1359693"/>
                <a:gd name="connsiteX77" fmla="*/ 3849434 w 8071103"/>
                <a:gd name="connsiteY77" fmla="*/ 1074230 h 1359693"/>
                <a:gd name="connsiteX78" fmla="*/ 3849434 w 8071103"/>
                <a:gd name="connsiteY78" fmla="*/ 283559 h 1359693"/>
                <a:gd name="connsiteX79" fmla="*/ 4157472 w 8071103"/>
                <a:gd name="connsiteY79" fmla="*/ 0 h 1359693"/>
                <a:gd name="connsiteX80" fmla="*/ 4465511 w 8071103"/>
                <a:gd name="connsiteY80" fmla="*/ 283559 h 1359693"/>
                <a:gd name="connsiteX81" fmla="*/ 4465511 w 8071103"/>
                <a:gd name="connsiteY81" fmla="*/ 1074230 h 1359693"/>
                <a:gd name="connsiteX82" fmla="*/ 4157472 w 8071103"/>
                <a:gd name="connsiteY82" fmla="*/ 1359694 h 1359693"/>
                <a:gd name="connsiteX83" fmla="*/ 3849434 w 8071103"/>
                <a:gd name="connsiteY83" fmla="*/ 1074230 h 1359693"/>
                <a:gd name="connsiteX84" fmla="*/ 4228814 w 8071103"/>
                <a:gd name="connsiteY84" fmla="*/ 1074230 h 1359693"/>
                <a:gd name="connsiteX85" fmla="*/ 4228814 w 8071103"/>
                <a:gd name="connsiteY85" fmla="*/ 285464 h 1359693"/>
                <a:gd name="connsiteX86" fmla="*/ 4157472 w 8071103"/>
                <a:gd name="connsiteY86" fmla="*/ 215932 h 1359693"/>
                <a:gd name="connsiteX87" fmla="*/ 4086130 w 8071103"/>
                <a:gd name="connsiteY87" fmla="*/ 285464 h 1359693"/>
                <a:gd name="connsiteX88" fmla="*/ 4086130 w 8071103"/>
                <a:gd name="connsiteY88" fmla="*/ 1074230 h 1359693"/>
                <a:gd name="connsiteX89" fmla="*/ 4157472 w 8071103"/>
                <a:gd name="connsiteY89" fmla="*/ 1143667 h 1359693"/>
                <a:gd name="connsiteX90" fmla="*/ 4228814 w 8071103"/>
                <a:gd name="connsiteY90" fmla="*/ 1074230 h 1359693"/>
                <a:gd name="connsiteX91" fmla="*/ 4613720 w 8071103"/>
                <a:gd name="connsiteY91" fmla="*/ 22574 h 1359693"/>
                <a:gd name="connsiteX92" fmla="*/ 4886039 w 8071103"/>
                <a:gd name="connsiteY92" fmla="*/ 22574 h 1359693"/>
                <a:gd name="connsiteX93" fmla="*/ 5021294 w 8071103"/>
                <a:gd name="connsiteY93" fmla="*/ 646081 h 1359693"/>
                <a:gd name="connsiteX94" fmla="*/ 5040059 w 8071103"/>
                <a:gd name="connsiteY94" fmla="*/ 811340 h 1359693"/>
                <a:gd name="connsiteX95" fmla="*/ 5071967 w 8071103"/>
                <a:gd name="connsiteY95" fmla="*/ 811340 h 1359693"/>
                <a:gd name="connsiteX96" fmla="*/ 5051298 w 8071103"/>
                <a:gd name="connsiteY96" fmla="*/ 646081 h 1359693"/>
                <a:gd name="connsiteX97" fmla="*/ 5051298 w 8071103"/>
                <a:gd name="connsiteY97" fmla="*/ 22574 h 1359693"/>
                <a:gd name="connsiteX98" fmla="*/ 5287899 w 8071103"/>
                <a:gd name="connsiteY98" fmla="*/ 22574 h 1359693"/>
                <a:gd name="connsiteX99" fmla="*/ 5287899 w 8071103"/>
                <a:gd name="connsiteY99" fmla="*/ 1337215 h 1359693"/>
                <a:gd name="connsiteX100" fmla="*/ 5017485 w 8071103"/>
                <a:gd name="connsiteY100" fmla="*/ 1337215 h 1359693"/>
                <a:gd name="connsiteX101" fmla="*/ 4882230 w 8071103"/>
                <a:gd name="connsiteY101" fmla="*/ 713708 h 1359693"/>
                <a:gd name="connsiteX102" fmla="*/ 4861560 w 8071103"/>
                <a:gd name="connsiteY102" fmla="*/ 548450 h 1359693"/>
                <a:gd name="connsiteX103" fmla="*/ 4829651 w 8071103"/>
                <a:gd name="connsiteY103" fmla="*/ 548450 h 1359693"/>
                <a:gd name="connsiteX104" fmla="*/ 4850320 w 8071103"/>
                <a:gd name="connsiteY104" fmla="*/ 713708 h 1359693"/>
                <a:gd name="connsiteX105" fmla="*/ 4850320 w 8071103"/>
                <a:gd name="connsiteY105" fmla="*/ 1337215 h 1359693"/>
                <a:gd name="connsiteX106" fmla="*/ 4613720 w 8071103"/>
                <a:gd name="connsiteY106" fmla="*/ 1337215 h 1359693"/>
                <a:gd name="connsiteX107" fmla="*/ 4613720 w 8071103"/>
                <a:gd name="connsiteY107" fmla="*/ 22574 h 1359693"/>
                <a:gd name="connsiteX108" fmla="*/ 5443823 w 8071103"/>
                <a:gd name="connsiteY108" fmla="*/ 22574 h 1359693"/>
                <a:gd name="connsiteX109" fmla="*/ 5716143 w 8071103"/>
                <a:gd name="connsiteY109" fmla="*/ 22574 h 1359693"/>
                <a:gd name="connsiteX110" fmla="*/ 5851398 w 8071103"/>
                <a:gd name="connsiteY110" fmla="*/ 646081 h 1359693"/>
                <a:gd name="connsiteX111" fmla="*/ 5870162 w 8071103"/>
                <a:gd name="connsiteY111" fmla="*/ 811340 h 1359693"/>
                <a:gd name="connsiteX112" fmla="*/ 5902071 w 8071103"/>
                <a:gd name="connsiteY112" fmla="*/ 811340 h 1359693"/>
                <a:gd name="connsiteX113" fmla="*/ 5881402 w 8071103"/>
                <a:gd name="connsiteY113" fmla="*/ 646081 h 1359693"/>
                <a:gd name="connsiteX114" fmla="*/ 5881402 w 8071103"/>
                <a:gd name="connsiteY114" fmla="*/ 22574 h 1359693"/>
                <a:gd name="connsiteX115" fmla="*/ 6118003 w 8071103"/>
                <a:gd name="connsiteY115" fmla="*/ 22574 h 1359693"/>
                <a:gd name="connsiteX116" fmla="*/ 6118003 w 8071103"/>
                <a:gd name="connsiteY116" fmla="*/ 1337215 h 1359693"/>
                <a:gd name="connsiteX117" fmla="*/ 5847588 w 8071103"/>
                <a:gd name="connsiteY117" fmla="*/ 1337215 h 1359693"/>
                <a:gd name="connsiteX118" fmla="*/ 5712333 w 8071103"/>
                <a:gd name="connsiteY118" fmla="*/ 713708 h 1359693"/>
                <a:gd name="connsiteX119" fmla="*/ 5691664 w 8071103"/>
                <a:gd name="connsiteY119" fmla="*/ 548450 h 1359693"/>
                <a:gd name="connsiteX120" fmla="*/ 5659755 w 8071103"/>
                <a:gd name="connsiteY120" fmla="*/ 548450 h 1359693"/>
                <a:gd name="connsiteX121" fmla="*/ 5680424 w 8071103"/>
                <a:gd name="connsiteY121" fmla="*/ 713708 h 1359693"/>
                <a:gd name="connsiteX122" fmla="*/ 5680424 w 8071103"/>
                <a:gd name="connsiteY122" fmla="*/ 1337215 h 1359693"/>
                <a:gd name="connsiteX123" fmla="*/ 5443823 w 8071103"/>
                <a:gd name="connsiteY123" fmla="*/ 1337215 h 1359693"/>
                <a:gd name="connsiteX124" fmla="*/ 5443823 w 8071103"/>
                <a:gd name="connsiteY124" fmla="*/ 22574 h 1359693"/>
                <a:gd name="connsiteX125" fmla="*/ 6273832 w 8071103"/>
                <a:gd name="connsiteY125" fmla="*/ 22574 h 1359693"/>
                <a:gd name="connsiteX126" fmla="*/ 6720840 w 8071103"/>
                <a:gd name="connsiteY126" fmla="*/ 22574 h 1359693"/>
                <a:gd name="connsiteX127" fmla="*/ 6720840 w 8071103"/>
                <a:gd name="connsiteY127" fmla="*/ 238601 h 1359693"/>
                <a:gd name="connsiteX128" fmla="*/ 6510528 w 8071103"/>
                <a:gd name="connsiteY128" fmla="*/ 238601 h 1359693"/>
                <a:gd name="connsiteX129" fmla="*/ 6510528 w 8071103"/>
                <a:gd name="connsiteY129" fmla="*/ 565404 h 1359693"/>
                <a:gd name="connsiteX130" fmla="*/ 6700172 w 8071103"/>
                <a:gd name="connsiteY130" fmla="*/ 565404 h 1359693"/>
                <a:gd name="connsiteX131" fmla="*/ 6700172 w 8071103"/>
                <a:gd name="connsiteY131" fmla="*/ 775716 h 1359693"/>
                <a:gd name="connsiteX132" fmla="*/ 6510528 w 8071103"/>
                <a:gd name="connsiteY132" fmla="*/ 775716 h 1359693"/>
                <a:gd name="connsiteX133" fmla="*/ 6510528 w 8071103"/>
                <a:gd name="connsiteY133" fmla="*/ 1121283 h 1359693"/>
                <a:gd name="connsiteX134" fmla="*/ 6720840 w 8071103"/>
                <a:gd name="connsiteY134" fmla="*/ 1121283 h 1359693"/>
                <a:gd name="connsiteX135" fmla="*/ 6720840 w 8071103"/>
                <a:gd name="connsiteY135" fmla="*/ 1337215 h 1359693"/>
                <a:gd name="connsiteX136" fmla="*/ 6273832 w 8071103"/>
                <a:gd name="connsiteY136" fmla="*/ 1337215 h 1359693"/>
                <a:gd name="connsiteX137" fmla="*/ 6273832 w 8071103"/>
                <a:gd name="connsiteY137" fmla="*/ 22574 h 1359693"/>
                <a:gd name="connsiteX138" fmla="*/ 6846665 w 8071103"/>
                <a:gd name="connsiteY138" fmla="*/ 1074230 h 1359693"/>
                <a:gd name="connsiteX139" fmla="*/ 6846665 w 8071103"/>
                <a:gd name="connsiteY139" fmla="*/ 283559 h 1359693"/>
                <a:gd name="connsiteX140" fmla="*/ 7154704 w 8071103"/>
                <a:gd name="connsiteY140" fmla="*/ 0 h 1359693"/>
                <a:gd name="connsiteX141" fmla="*/ 7462742 w 8071103"/>
                <a:gd name="connsiteY141" fmla="*/ 283559 h 1359693"/>
                <a:gd name="connsiteX142" fmla="*/ 7462742 w 8071103"/>
                <a:gd name="connsiteY142" fmla="*/ 557784 h 1359693"/>
                <a:gd name="connsiteX143" fmla="*/ 7226142 w 8071103"/>
                <a:gd name="connsiteY143" fmla="*/ 557784 h 1359693"/>
                <a:gd name="connsiteX144" fmla="*/ 7226142 w 8071103"/>
                <a:gd name="connsiteY144" fmla="*/ 285464 h 1359693"/>
                <a:gd name="connsiteX145" fmla="*/ 7154800 w 8071103"/>
                <a:gd name="connsiteY145" fmla="*/ 215932 h 1359693"/>
                <a:gd name="connsiteX146" fmla="*/ 7083457 w 8071103"/>
                <a:gd name="connsiteY146" fmla="*/ 285464 h 1359693"/>
                <a:gd name="connsiteX147" fmla="*/ 7083457 w 8071103"/>
                <a:gd name="connsiteY147" fmla="*/ 1074230 h 1359693"/>
                <a:gd name="connsiteX148" fmla="*/ 7154800 w 8071103"/>
                <a:gd name="connsiteY148" fmla="*/ 1143667 h 1359693"/>
                <a:gd name="connsiteX149" fmla="*/ 7226142 w 8071103"/>
                <a:gd name="connsiteY149" fmla="*/ 1074230 h 1359693"/>
                <a:gd name="connsiteX150" fmla="*/ 7226142 w 8071103"/>
                <a:gd name="connsiteY150" fmla="*/ 783146 h 1359693"/>
                <a:gd name="connsiteX151" fmla="*/ 7462742 w 8071103"/>
                <a:gd name="connsiteY151" fmla="*/ 783146 h 1359693"/>
                <a:gd name="connsiteX152" fmla="*/ 7462742 w 8071103"/>
                <a:gd name="connsiteY152" fmla="*/ 1074230 h 1359693"/>
                <a:gd name="connsiteX153" fmla="*/ 7154704 w 8071103"/>
                <a:gd name="connsiteY153" fmla="*/ 1359694 h 1359693"/>
                <a:gd name="connsiteX154" fmla="*/ 6846665 w 8071103"/>
                <a:gd name="connsiteY154" fmla="*/ 1074230 h 1359693"/>
                <a:gd name="connsiteX155" fmla="*/ 7699248 w 8071103"/>
                <a:gd name="connsiteY155" fmla="*/ 238506 h 1359693"/>
                <a:gd name="connsiteX156" fmla="*/ 7563993 w 8071103"/>
                <a:gd name="connsiteY156" fmla="*/ 238506 h 1359693"/>
                <a:gd name="connsiteX157" fmla="*/ 7563993 w 8071103"/>
                <a:gd name="connsiteY157" fmla="*/ 22479 h 1359693"/>
                <a:gd name="connsiteX158" fmla="*/ 8071104 w 8071103"/>
                <a:gd name="connsiteY158" fmla="*/ 22479 h 1359693"/>
                <a:gd name="connsiteX159" fmla="*/ 8071104 w 8071103"/>
                <a:gd name="connsiteY159" fmla="*/ 238506 h 1359693"/>
                <a:gd name="connsiteX160" fmla="*/ 7935850 w 8071103"/>
                <a:gd name="connsiteY160" fmla="*/ 238506 h 1359693"/>
                <a:gd name="connsiteX161" fmla="*/ 7935850 w 8071103"/>
                <a:gd name="connsiteY161" fmla="*/ 1337120 h 1359693"/>
                <a:gd name="connsiteX162" fmla="*/ 7699248 w 8071103"/>
                <a:gd name="connsiteY162" fmla="*/ 1337120 h 1359693"/>
                <a:gd name="connsiteX163" fmla="*/ 7699248 w 8071103"/>
                <a:gd name="connsiteY163" fmla="*/ 238506 h 1359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8071103" h="1359693">
                  <a:moveTo>
                    <a:pt x="0" y="1074230"/>
                  </a:moveTo>
                  <a:lnTo>
                    <a:pt x="0" y="283559"/>
                  </a:lnTo>
                  <a:cubicBezTo>
                    <a:pt x="0" y="114490"/>
                    <a:pt x="123920" y="0"/>
                    <a:pt x="308038" y="0"/>
                  </a:cubicBezTo>
                  <a:cubicBezTo>
                    <a:pt x="492157" y="0"/>
                    <a:pt x="616077" y="114586"/>
                    <a:pt x="616077" y="283559"/>
                  </a:cubicBezTo>
                  <a:lnTo>
                    <a:pt x="616077" y="557784"/>
                  </a:lnTo>
                  <a:lnTo>
                    <a:pt x="379476" y="557784"/>
                  </a:lnTo>
                  <a:lnTo>
                    <a:pt x="379476" y="285464"/>
                  </a:lnTo>
                  <a:cubicBezTo>
                    <a:pt x="379476" y="242316"/>
                    <a:pt x="351282" y="215932"/>
                    <a:pt x="308134" y="215932"/>
                  </a:cubicBezTo>
                  <a:cubicBezTo>
                    <a:pt x="264986" y="215932"/>
                    <a:pt x="236791" y="242221"/>
                    <a:pt x="236791" y="285464"/>
                  </a:cubicBezTo>
                  <a:lnTo>
                    <a:pt x="236791" y="1074230"/>
                  </a:lnTo>
                  <a:cubicBezTo>
                    <a:pt x="236791" y="1117378"/>
                    <a:pt x="264986" y="1143667"/>
                    <a:pt x="308134" y="1143667"/>
                  </a:cubicBezTo>
                  <a:cubicBezTo>
                    <a:pt x="351282" y="1143667"/>
                    <a:pt x="379476" y="1117378"/>
                    <a:pt x="379476" y="1074230"/>
                  </a:cubicBezTo>
                  <a:lnTo>
                    <a:pt x="379476" y="783146"/>
                  </a:lnTo>
                  <a:lnTo>
                    <a:pt x="616077" y="783146"/>
                  </a:lnTo>
                  <a:lnTo>
                    <a:pt x="616077" y="1074230"/>
                  </a:lnTo>
                  <a:cubicBezTo>
                    <a:pt x="616077" y="1245108"/>
                    <a:pt x="492157" y="1359694"/>
                    <a:pt x="308038" y="1359694"/>
                  </a:cubicBezTo>
                  <a:cubicBezTo>
                    <a:pt x="123920" y="1359694"/>
                    <a:pt x="0" y="1245108"/>
                    <a:pt x="0" y="1074230"/>
                  </a:cubicBezTo>
                  <a:close/>
                  <a:moveTo>
                    <a:pt x="762476" y="22574"/>
                  </a:moveTo>
                  <a:lnTo>
                    <a:pt x="999077" y="22574"/>
                  </a:lnTo>
                  <a:lnTo>
                    <a:pt x="999077" y="1121283"/>
                  </a:lnTo>
                  <a:lnTo>
                    <a:pt x="1198150" y="1121283"/>
                  </a:lnTo>
                  <a:lnTo>
                    <a:pt x="1198150" y="1337215"/>
                  </a:lnTo>
                  <a:lnTo>
                    <a:pt x="762476" y="1337215"/>
                  </a:lnTo>
                  <a:lnTo>
                    <a:pt x="762476" y="22574"/>
                  </a:lnTo>
                  <a:close/>
                  <a:moveTo>
                    <a:pt x="1293971" y="1074230"/>
                  </a:moveTo>
                  <a:lnTo>
                    <a:pt x="1293971" y="22479"/>
                  </a:lnTo>
                  <a:lnTo>
                    <a:pt x="1530572" y="22479"/>
                  </a:lnTo>
                  <a:lnTo>
                    <a:pt x="1530572" y="1074230"/>
                  </a:lnTo>
                  <a:cubicBezTo>
                    <a:pt x="1530572" y="1117378"/>
                    <a:pt x="1558766" y="1143667"/>
                    <a:pt x="1600105" y="1143667"/>
                  </a:cubicBezTo>
                  <a:cubicBezTo>
                    <a:pt x="1641443" y="1143667"/>
                    <a:pt x="1671447" y="1117378"/>
                    <a:pt x="1671447" y="1074230"/>
                  </a:cubicBezTo>
                  <a:lnTo>
                    <a:pt x="1671447" y="22479"/>
                  </a:lnTo>
                  <a:lnTo>
                    <a:pt x="1908048" y="22479"/>
                  </a:lnTo>
                  <a:lnTo>
                    <a:pt x="1908048" y="1074230"/>
                  </a:lnTo>
                  <a:cubicBezTo>
                    <a:pt x="1908048" y="1245108"/>
                    <a:pt x="1784128" y="1359694"/>
                    <a:pt x="1600009" y="1359694"/>
                  </a:cubicBezTo>
                  <a:cubicBezTo>
                    <a:pt x="1415891" y="1359694"/>
                    <a:pt x="1293876" y="1245108"/>
                    <a:pt x="1293876" y="1074230"/>
                  </a:cubicBezTo>
                  <a:close/>
                  <a:moveTo>
                    <a:pt x="2060162" y="22574"/>
                  </a:moveTo>
                  <a:lnTo>
                    <a:pt x="2394490" y="22574"/>
                  </a:lnTo>
                  <a:cubicBezTo>
                    <a:pt x="2561654" y="22574"/>
                    <a:pt x="2674335" y="125921"/>
                    <a:pt x="2674335" y="279844"/>
                  </a:cubicBezTo>
                  <a:lnTo>
                    <a:pt x="2674335" y="458248"/>
                  </a:lnTo>
                  <a:cubicBezTo>
                    <a:pt x="2674335" y="537115"/>
                    <a:pt x="2638616" y="617887"/>
                    <a:pt x="2565369" y="651701"/>
                  </a:cubicBezTo>
                  <a:lnTo>
                    <a:pt x="2565369" y="662940"/>
                  </a:lnTo>
                  <a:cubicBezTo>
                    <a:pt x="2644235" y="696754"/>
                    <a:pt x="2685574" y="781240"/>
                    <a:pt x="2685574" y="865727"/>
                  </a:cubicBezTo>
                  <a:lnTo>
                    <a:pt x="2685574" y="1079849"/>
                  </a:lnTo>
                  <a:cubicBezTo>
                    <a:pt x="2685574" y="1233869"/>
                    <a:pt x="2574798" y="1337120"/>
                    <a:pt x="2405729" y="1337120"/>
                  </a:cubicBezTo>
                  <a:lnTo>
                    <a:pt x="2060162" y="1337120"/>
                  </a:lnTo>
                  <a:lnTo>
                    <a:pt x="2060162" y="22574"/>
                  </a:lnTo>
                  <a:close/>
                  <a:moveTo>
                    <a:pt x="2296763" y="238506"/>
                  </a:moveTo>
                  <a:lnTo>
                    <a:pt x="2296763" y="569024"/>
                  </a:lnTo>
                  <a:lnTo>
                    <a:pt x="2366296" y="569024"/>
                  </a:lnTo>
                  <a:cubicBezTo>
                    <a:pt x="2409444" y="569024"/>
                    <a:pt x="2437638" y="540830"/>
                    <a:pt x="2437638" y="497681"/>
                  </a:cubicBezTo>
                  <a:lnTo>
                    <a:pt x="2437638" y="307943"/>
                  </a:lnTo>
                  <a:cubicBezTo>
                    <a:pt x="2437638" y="264795"/>
                    <a:pt x="2409444" y="238506"/>
                    <a:pt x="2366296" y="238506"/>
                  </a:cubicBezTo>
                  <a:lnTo>
                    <a:pt x="2296763" y="238506"/>
                  </a:lnTo>
                  <a:close/>
                  <a:moveTo>
                    <a:pt x="2296763" y="770001"/>
                  </a:moveTo>
                  <a:lnTo>
                    <a:pt x="2296763" y="1121188"/>
                  </a:lnTo>
                  <a:lnTo>
                    <a:pt x="2379440" y="1121188"/>
                  </a:lnTo>
                  <a:cubicBezTo>
                    <a:pt x="2420779" y="1121188"/>
                    <a:pt x="2448973" y="1094899"/>
                    <a:pt x="2448973" y="1051655"/>
                  </a:cubicBezTo>
                  <a:lnTo>
                    <a:pt x="2448973" y="841343"/>
                  </a:lnTo>
                  <a:cubicBezTo>
                    <a:pt x="2448973" y="798195"/>
                    <a:pt x="2420779" y="770001"/>
                    <a:pt x="2379440" y="770001"/>
                  </a:cubicBezTo>
                  <a:lnTo>
                    <a:pt x="2296763" y="770001"/>
                  </a:lnTo>
                  <a:close/>
                  <a:moveTo>
                    <a:pt x="3094482" y="1074230"/>
                  </a:moveTo>
                  <a:lnTo>
                    <a:pt x="3094482" y="283559"/>
                  </a:lnTo>
                  <a:cubicBezTo>
                    <a:pt x="3094482" y="114490"/>
                    <a:pt x="3218403" y="0"/>
                    <a:pt x="3402520" y="0"/>
                  </a:cubicBezTo>
                  <a:cubicBezTo>
                    <a:pt x="3586639" y="0"/>
                    <a:pt x="3710559" y="114586"/>
                    <a:pt x="3710559" y="283559"/>
                  </a:cubicBezTo>
                  <a:lnTo>
                    <a:pt x="3710559" y="557784"/>
                  </a:lnTo>
                  <a:lnTo>
                    <a:pt x="3473958" y="557784"/>
                  </a:lnTo>
                  <a:lnTo>
                    <a:pt x="3473958" y="285464"/>
                  </a:lnTo>
                  <a:cubicBezTo>
                    <a:pt x="3473958" y="242316"/>
                    <a:pt x="3445764" y="215932"/>
                    <a:pt x="3402616" y="215932"/>
                  </a:cubicBezTo>
                  <a:cubicBezTo>
                    <a:pt x="3359468" y="215932"/>
                    <a:pt x="3331274" y="242221"/>
                    <a:pt x="3331274" y="285464"/>
                  </a:cubicBezTo>
                  <a:lnTo>
                    <a:pt x="3331274" y="1074230"/>
                  </a:lnTo>
                  <a:cubicBezTo>
                    <a:pt x="3331274" y="1117378"/>
                    <a:pt x="3359468" y="1143667"/>
                    <a:pt x="3402616" y="1143667"/>
                  </a:cubicBezTo>
                  <a:cubicBezTo>
                    <a:pt x="3445764" y="1143667"/>
                    <a:pt x="3473958" y="1117378"/>
                    <a:pt x="3473958" y="1074230"/>
                  </a:cubicBezTo>
                  <a:lnTo>
                    <a:pt x="3473958" y="783146"/>
                  </a:lnTo>
                  <a:lnTo>
                    <a:pt x="3710559" y="783146"/>
                  </a:lnTo>
                  <a:lnTo>
                    <a:pt x="3710559" y="1074230"/>
                  </a:lnTo>
                  <a:cubicBezTo>
                    <a:pt x="3710559" y="1245108"/>
                    <a:pt x="3586639" y="1359694"/>
                    <a:pt x="3402520" y="1359694"/>
                  </a:cubicBezTo>
                  <a:cubicBezTo>
                    <a:pt x="3218403" y="1359694"/>
                    <a:pt x="3094482" y="1245108"/>
                    <a:pt x="3094482" y="1074230"/>
                  </a:cubicBezTo>
                  <a:close/>
                  <a:moveTo>
                    <a:pt x="3849434" y="1074230"/>
                  </a:moveTo>
                  <a:lnTo>
                    <a:pt x="3849434" y="283559"/>
                  </a:lnTo>
                  <a:cubicBezTo>
                    <a:pt x="3849434" y="114490"/>
                    <a:pt x="3973354" y="0"/>
                    <a:pt x="4157472" y="0"/>
                  </a:cubicBezTo>
                  <a:cubicBezTo>
                    <a:pt x="4341590" y="0"/>
                    <a:pt x="4465511" y="114586"/>
                    <a:pt x="4465511" y="283559"/>
                  </a:cubicBezTo>
                  <a:lnTo>
                    <a:pt x="4465511" y="1074230"/>
                  </a:lnTo>
                  <a:cubicBezTo>
                    <a:pt x="4465511" y="1245108"/>
                    <a:pt x="4341590" y="1359694"/>
                    <a:pt x="4157472" y="1359694"/>
                  </a:cubicBezTo>
                  <a:cubicBezTo>
                    <a:pt x="3973354" y="1359694"/>
                    <a:pt x="3849434" y="1245108"/>
                    <a:pt x="3849434" y="1074230"/>
                  </a:cubicBezTo>
                  <a:close/>
                  <a:moveTo>
                    <a:pt x="4228814" y="1074230"/>
                  </a:moveTo>
                  <a:lnTo>
                    <a:pt x="4228814" y="285464"/>
                  </a:lnTo>
                  <a:cubicBezTo>
                    <a:pt x="4228814" y="242316"/>
                    <a:pt x="4200621" y="215932"/>
                    <a:pt x="4157472" y="215932"/>
                  </a:cubicBezTo>
                  <a:cubicBezTo>
                    <a:pt x="4114324" y="215932"/>
                    <a:pt x="4086130" y="242221"/>
                    <a:pt x="4086130" y="285464"/>
                  </a:cubicBezTo>
                  <a:lnTo>
                    <a:pt x="4086130" y="1074230"/>
                  </a:lnTo>
                  <a:cubicBezTo>
                    <a:pt x="4086130" y="1117378"/>
                    <a:pt x="4114324" y="1143667"/>
                    <a:pt x="4157472" y="1143667"/>
                  </a:cubicBezTo>
                  <a:cubicBezTo>
                    <a:pt x="4200621" y="1143667"/>
                    <a:pt x="4228814" y="1117378"/>
                    <a:pt x="4228814" y="1074230"/>
                  </a:cubicBezTo>
                  <a:close/>
                  <a:moveTo>
                    <a:pt x="4613720" y="22574"/>
                  </a:moveTo>
                  <a:lnTo>
                    <a:pt x="4886039" y="22574"/>
                  </a:lnTo>
                  <a:lnTo>
                    <a:pt x="5021294" y="646081"/>
                  </a:lnTo>
                  <a:lnTo>
                    <a:pt x="5040059" y="811340"/>
                  </a:lnTo>
                  <a:lnTo>
                    <a:pt x="5071967" y="811340"/>
                  </a:lnTo>
                  <a:lnTo>
                    <a:pt x="5051298" y="646081"/>
                  </a:lnTo>
                  <a:lnTo>
                    <a:pt x="5051298" y="22574"/>
                  </a:lnTo>
                  <a:lnTo>
                    <a:pt x="5287899" y="22574"/>
                  </a:lnTo>
                  <a:lnTo>
                    <a:pt x="5287899" y="1337215"/>
                  </a:lnTo>
                  <a:lnTo>
                    <a:pt x="5017485" y="1337215"/>
                  </a:lnTo>
                  <a:lnTo>
                    <a:pt x="4882230" y="713708"/>
                  </a:lnTo>
                  <a:lnTo>
                    <a:pt x="4861560" y="548450"/>
                  </a:lnTo>
                  <a:lnTo>
                    <a:pt x="4829651" y="548450"/>
                  </a:lnTo>
                  <a:lnTo>
                    <a:pt x="4850320" y="713708"/>
                  </a:lnTo>
                  <a:lnTo>
                    <a:pt x="4850320" y="1337215"/>
                  </a:lnTo>
                  <a:lnTo>
                    <a:pt x="4613720" y="1337215"/>
                  </a:lnTo>
                  <a:lnTo>
                    <a:pt x="4613720" y="22574"/>
                  </a:lnTo>
                  <a:close/>
                  <a:moveTo>
                    <a:pt x="5443823" y="22574"/>
                  </a:moveTo>
                  <a:lnTo>
                    <a:pt x="5716143" y="22574"/>
                  </a:lnTo>
                  <a:lnTo>
                    <a:pt x="5851398" y="646081"/>
                  </a:lnTo>
                  <a:lnTo>
                    <a:pt x="5870162" y="811340"/>
                  </a:lnTo>
                  <a:lnTo>
                    <a:pt x="5902071" y="811340"/>
                  </a:lnTo>
                  <a:lnTo>
                    <a:pt x="5881402" y="646081"/>
                  </a:lnTo>
                  <a:lnTo>
                    <a:pt x="5881402" y="22574"/>
                  </a:lnTo>
                  <a:lnTo>
                    <a:pt x="6118003" y="22574"/>
                  </a:lnTo>
                  <a:lnTo>
                    <a:pt x="6118003" y="1337215"/>
                  </a:lnTo>
                  <a:lnTo>
                    <a:pt x="5847588" y="1337215"/>
                  </a:lnTo>
                  <a:lnTo>
                    <a:pt x="5712333" y="713708"/>
                  </a:lnTo>
                  <a:lnTo>
                    <a:pt x="5691664" y="548450"/>
                  </a:lnTo>
                  <a:lnTo>
                    <a:pt x="5659755" y="548450"/>
                  </a:lnTo>
                  <a:lnTo>
                    <a:pt x="5680424" y="713708"/>
                  </a:lnTo>
                  <a:lnTo>
                    <a:pt x="5680424" y="1337215"/>
                  </a:lnTo>
                  <a:lnTo>
                    <a:pt x="5443823" y="1337215"/>
                  </a:lnTo>
                  <a:lnTo>
                    <a:pt x="5443823" y="22574"/>
                  </a:lnTo>
                  <a:close/>
                  <a:moveTo>
                    <a:pt x="6273832" y="22574"/>
                  </a:moveTo>
                  <a:lnTo>
                    <a:pt x="6720840" y="22574"/>
                  </a:lnTo>
                  <a:lnTo>
                    <a:pt x="6720840" y="238601"/>
                  </a:lnTo>
                  <a:lnTo>
                    <a:pt x="6510528" y="238601"/>
                  </a:lnTo>
                  <a:lnTo>
                    <a:pt x="6510528" y="565404"/>
                  </a:lnTo>
                  <a:lnTo>
                    <a:pt x="6700172" y="565404"/>
                  </a:lnTo>
                  <a:lnTo>
                    <a:pt x="6700172" y="775716"/>
                  </a:lnTo>
                  <a:lnTo>
                    <a:pt x="6510528" y="775716"/>
                  </a:lnTo>
                  <a:lnTo>
                    <a:pt x="6510528" y="1121283"/>
                  </a:lnTo>
                  <a:lnTo>
                    <a:pt x="6720840" y="1121283"/>
                  </a:lnTo>
                  <a:lnTo>
                    <a:pt x="6720840" y="1337215"/>
                  </a:lnTo>
                  <a:lnTo>
                    <a:pt x="6273832" y="1337215"/>
                  </a:lnTo>
                  <a:lnTo>
                    <a:pt x="6273832" y="22574"/>
                  </a:lnTo>
                  <a:close/>
                  <a:moveTo>
                    <a:pt x="6846665" y="1074230"/>
                  </a:moveTo>
                  <a:lnTo>
                    <a:pt x="6846665" y="283559"/>
                  </a:lnTo>
                  <a:cubicBezTo>
                    <a:pt x="6846665" y="114490"/>
                    <a:pt x="6970585" y="0"/>
                    <a:pt x="7154704" y="0"/>
                  </a:cubicBezTo>
                  <a:cubicBezTo>
                    <a:pt x="7338822" y="0"/>
                    <a:pt x="7462742" y="114586"/>
                    <a:pt x="7462742" y="283559"/>
                  </a:cubicBezTo>
                  <a:lnTo>
                    <a:pt x="7462742" y="557784"/>
                  </a:lnTo>
                  <a:lnTo>
                    <a:pt x="7226142" y="557784"/>
                  </a:lnTo>
                  <a:lnTo>
                    <a:pt x="7226142" y="285464"/>
                  </a:lnTo>
                  <a:cubicBezTo>
                    <a:pt x="7226142" y="242316"/>
                    <a:pt x="7197947" y="215932"/>
                    <a:pt x="7154800" y="215932"/>
                  </a:cubicBezTo>
                  <a:cubicBezTo>
                    <a:pt x="7111651" y="215932"/>
                    <a:pt x="7083457" y="242221"/>
                    <a:pt x="7083457" y="285464"/>
                  </a:cubicBezTo>
                  <a:lnTo>
                    <a:pt x="7083457" y="1074230"/>
                  </a:lnTo>
                  <a:cubicBezTo>
                    <a:pt x="7083457" y="1117378"/>
                    <a:pt x="7111651" y="1143667"/>
                    <a:pt x="7154800" y="1143667"/>
                  </a:cubicBezTo>
                  <a:cubicBezTo>
                    <a:pt x="7197947" y="1143667"/>
                    <a:pt x="7226142" y="1117378"/>
                    <a:pt x="7226142" y="1074230"/>
                  </a:cubicBezTo>
                  <a:lnTo>
                    <a:pt x="7226142" y="783146"/>
                  </a:lnTo>
                  <a:lnTo>
                    <a:pt x="7462742" y="783146"/>
                  </a:lnTo>
                  <a:lnTo>
                    <a:pt x="7462742" y="1074230"/>
                  </a:lnTo>
                  <a:cubicBezTo>
                    <a:pt x="7462742" y="1245108"/>
                    <a:pt x="7338822" y="1359694"/>
                    <a:pt x="7154704" y="1359694"/>
                  </a:cubicBezTo>
                  <a:cubicBezTo>
                    <a:pt x="6970585" y="1359694"/>
                    <a:pt x="6846665" y="1245108"/>
                    <a:pt x="6846665" y="1074230"/>
                  </a:cubicBezTo>
                  <a:close/>
                  <a:moveTo>
                    <a:pt x="7699248" y="238506"/>
                  </a:moveTo>
                  <a:lnTo>
                    <a:pt x="7563993" y="238506"/>
                  </a:lnTo>
                  <a:lnTo>
                    <a:pt x="7563993" y="22479"/>
                  </a:lnTo>
                  <a:lnTo>
                    <a:pt x="8071104" y="22479"/>
                  </a:lnTo>
                  <a:lnTo>
                    <a:pt x="8071104" y="238506"/>
                  </a:lnTo>
                  <a:lnTo>
                    <a:pt x="7935850" y="238506"/>
                  </a:lnTo>
                  <a:lnTo>
                    <a:pt x="7935850" y="1337120"/>
                  </a:lnTo>
                  <a:lnTo>
                    <a:pt x="7699248" y="1337120"/>
                  </a:lnTo>
                  <a:lnTo>
                    <a:pt x="7699248" y="238506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138882757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5D6FDC8-FDCE-EDAE-312C-69C1EA0F3E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2743200"/>
            <a:ext cx="9947942" cy="2934586"/>
          </a:xfrm>
        </p:spPr>
        <p:txBody>
          <a:bodyPr anchor="t"/>
          <a:lstStyle>
            <a:lvl1pPr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/>
              <a:t>Add quote or interesting information</a:t>
            </a:r>
            <a:endParaRPr lang="en-GB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92F57C6-F5FA-0B0C-2F15-E769C045FF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849" y="5970493"/>
            <a:ext cx="6868450" cy="223393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optional name and surname</a:t>
            </a:r>
            <a:endParaRPr lang="en-GB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CD09E1C-FC71-1371-B979-85B544ABAF32}"/>
              </a:ext>
            </a:extLst>
          </p:cNvPr>
          <p:cNvSpPr/>
          <p:nvPr userDrawn="1"/>
        </p:nvSpPr>
        <p:spPr>
          <a:xfrm>
            <a:off x="831850" y="1411445"/>
            <a:ext cx="1972439" cy="1289439"/>
          </a:xfrm>
          <a:custGeom>
            <a:avLst/>
            <a:gdLst>
              <a:gd name="connsiteX0" fmla="*/ 647238 w 1771303"/>
              <a:gd name="connsiteY0" fmla="*/ 0 h 1157951"/>
              <a:gd name="connsiteX1" fmla="*/ 488257 w 1771303"/>
              <a:gd name="connsiteY1" fmla="*/ 330835 h 1157951"/>
              <a:gd name="connsiteX2" fmla="*/ 518968 w 1771303"/>
              <a:gd name="connsiteY2" fmla="*/ 341572 h 1157951"/>
              <a:gd name="connsiteX3" fmla="*/ 828040 w 1771303"/>
              <a:gd name="connsiteY3" fmla="*/ 742142 h 1157951"/>
              <a:gd name="connsiteX4" fmla="*/ 487853 w 1771303"/>
              <a:gd name="connsiteY4" fmla="*/ 1149465 h 1157951"/>
              <a:gd name="connsiteX5" fmla="*/ 407612 w 1771303"/>
              <a:gd name="connsiteY5" fmla="*/ 1157951 h 1157951"/>
              <a:gd name="connsiteX6" fmla="*/ 0 w 1771303"/>
              <a:gd name="connsiteY6" fmla="*/ 742142 h 1157951"/>
              <a:gd name="connsiteX7" fmla="*/ 647296 w 1771303"/>
              <a:gd name="connsiteY7" fmla="*/ 0 h 1157951"/>
              <a:gd name="connsiteX8" fmla="*/ 943206 w 1771303"/>
              <a:gd name="connsiteY8" fmla="*/ 742142 h 1157951"/>
              <a:gd name="connsiteX9" fmla="*/ 1350876 w 1771303"/>
              <a:gd name="connsiteY9" fmla="*/ 1157951 h 1157951"/>
              <a:gd name="connsiteX10" fmla="*/ 1431059 w 1771303"/>
              <a:gd name="connsiteY10" fmla="*/ 1149465 h 1157951"/>
              <a:gd name="connsiteX11" fmla="*/ 1771304 w 1771303"/>
              <a:gd name="connsiteY11" fmla="*/ 742142 h 1157951"/>
              <a:gd name="connsiteX12" fmla="*/ 1462290 w 1771303"/>
              <a:gd name="connsiteY12" fmla="*/ 341572 h 1157951"/>
              <a:gd name="connsiteX13" fmla="*/ 1431579 w 1771303"/>
              <a:gd name="connsiteY13" fmla="*/ 330835 h 1157951"/>
              <a:gd name="connsiteX14" fmla="*/ 1590560 w 1771303"/>
              <a:gd name="connsiteY14" fmla="*/ 0 h 1157951"/>
              <a:gd name="connsiteX15" fmla="*/ 943264 w 1771303"/>
              <a:gd name="connsiteY15" fmla="*/ 742142 h 1157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771303" h="1157951">
                <a:moveTo>
                  <a:pt x="647238" y="0"/>
                </a:moveTo>
                <a:cubicBezTo>
                  <a:pt x="647238" y="0"/>
                  <a:pt x="501881" y="190962"/>
                  <a:pt x="488257" y="330835"/>
                </a:cubicBezTo>
                <a:cubicBezTo>
                  <a:pt x="498764" y="334241"/>
                  <a:pt x="508981" y="337820"/>
                  <a:pt x="518968" y="341572"/>
                </a:cubicBezTo>
                <a:cubicBezTo>
                  <a:pt x="696826" y="388043"/>
                  <a:pt x="828040" y="549737"/>
                  <a:pt x="828040" y="742142"/>
                </a:cubicBezTo>
                <a:cubicBezTo>
                  <a:pt x="828040" y="945573"/>
                  <a:pt x="681297" y="1114656"/>
                  <a:pt x="487853" y="1149465"/>
                </a:cubicBezTo>
                <a:cubicBezTo>
                  <a:pt x="462222" y="1155065"/>
                  <a:pt x="435495" y="1157951"/>
                  <a:pt x="407612" y="1157951"/>
                </a:cubicBezTo>
                <a:cubicBezTo>
                  <a:pt x="116551" y="1157951"/>
                  <a:pt x="0" y="913823"/>
                  <a:pt x="0" y="742142"/>
                </a:cubicBezTo>
                <a:cubicBezTo>
                  <a:pt x="0" y="318597"/>
                  <a:pt x="471632" y="32096"/>
                  <a:pt x="647296" y="0"/>
                </a:cubicBezTo>
                <a:close/>
                <a:moveTo>
                  <a:pt x="943206" y="742142"/>
                </a:moveTo>
                <a:cubicBezTo>
                  <a:pt x="943206" y="913823"/>
                  <a:pt x="1059757" y="1157951"/>
                  <a:pt x="1350876" y="1157951"/>
                </a:cubicBezTo>
                <a:cubicBezTo>
                  <a:pt x="1378758" y="1157951"/>
                  <a:pt x="1405428" y="1155123"/>
                  <a:pt x="1431059" y="1149465"/>
                </a:cubicBezTo>
                <a:cubicBezTo>
                  <a:pt x="1624503" y="1114656"/>
                  <a:pt x="1771304" y="945573"/>
                  <a:pt x="1771304" y="742142"/>
                </a:cubicBezTo>
                <a:cubicBezTo>
                  <a:pt x="1771304" y="549737"/>
                  <a:pt x="1640032" y="388043"/>
                  <a:pt x="1462290" y="341572"/>
                </a:cubicBezTo>
                <a:cubicBezTo>
                  <a:pt x="1452303" y="337820"/>
                  <a:pt x="1442085" y="334241"/>
                  <a:pt x="1431579" y="330835"/>
                </a:cubicBezTo>
                <a:cubicBezTo>
                  <a:pt x="1445202" y="190962"/>
                  <a:pt x="1590560" y="0"/>
                  <a:pt x="1590560" y="0"/>
                </a:cubicBezTo>
                <a:cubicBezTo>
                  <a:pt x="1414896" y="32096"/>
                  <a:pt x="943264" y="318597"/>
                  <a:pt x="943264" y="742142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920E6FC-953F-8AFB-C0E0-B3E9114195BE}"/>
              </a:ext>
            </a:extLst>
          </p:cNvPr>
          <p:cNvSpPr/>
          <p:nvPr userDrawn="1"/>
        </p:nvSpPr>
        <p:spPr>
          <a:xfrm flipH="1" flipV="1">
            <a:off x="10206730" y="5970493"/>
            <a:ext cx="573062" cy="374627"/>
          </a:xfrm>
          <a:custGeom>
            <a:avLst/>
            <a:gdLst>
              <a:gd name="connsiteX0" fmla="*/ 647238 w 1771303"/>
              <a:gd name="connsiteY0" fmla="*/ 0 h 1157951"/>
              <a:gd name="connsiteX1" fmla="*/ 488257 w 1771303"/>
              <a:gd name="connsiteY1" fmla="*/ 330835 h 1157951"/>
              <a:gd name="connsiteX2" fmla="*/ 518968 w 1771303"/>
              <a:gd name="connsiteY2" fmla="*/ 341572 h 1157951"/>
              <a:gd name="connsiteX3" fmla="*/ 828040 w 1771303"/>
              <a:gd name="connsiteY3" fmla="*/ 742142 h 1157951"/>
              <a:gd name="connsiteX4" fmla="*/ 487853 w 1771303"/>
              <a:gd name="connsiteY4" fmla="*/ 1149465 h 1157951"/>
              <a:gd name="connsiteX5" fmla="*/ 407612 w 1771303"/>
              <a:gd name="connsiteY5" fmla="*/ 1157951 h 1157951"/>
              <a:gd name="connsiteX6" fmla="*/ 0 w 1771303"/>
              <a:gd name="connsiteY6" fmla="*/ 742142 h 1157951"/>
              <a:gd name="connsiteX7" fmla="*/ 647296 w 1771303"/>
              <a:gd name="connsiteY7" fmla="*/ 0 h 1157951"/>
              <a:gd name="connsiteX8" fmla="*/ 943206 w 1771303"/>
              <a:gd name="connsiteY8" fmla="*/ 742142 h 1157951"/>
              <a:gd name="connsiteX9" fmla="*/ 1350876 w 1771303"/>
              <a:gd name="connsiteY9" fmla="*/ 1157951 h 1157951"/>
              <a:gd name="connsiteX10" fmla="*/ 1431059 w 1771303"/>
              <a:gd name="connsiteY10" fmla="*/ 1149465 h 1157951"/>
              <a:gd name="connsiteX11" fmla="*/ 1771304 w 1771303"/>
              <a:gd name="connsiteY11" fmla="*/ 742142 h 1157951"/>
              <a:gd name="connsiteX12" fmla="*/ 1462290 w 1771303"/>
              <a:gd name="connsiteY12" fmla="*/ 341572 h 1157951"/>
              <a:gd name="connsiteX13" fmla="*/ 1431579 w 1771303"/>
              <a:gd name="connsiteY13" fmla="*/ 330835 h 1157951"/>
              <a:gd name="connsiteX14" fmla="*/ 1590560 w 1771303"/>
              <a:gd name="connsiteY14" fmla="*/ 0 h 1157951"/>
              <a:gd name="connsiteX15" fmla="*/ 943264 w 1771303"/>
              <a:gd name="connsiteY15" fmla="*/ 742142 h 1157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771303" h="1157951">
                <a:moveTo>
                  <a:pt x="647238" y="0"/>
                </a:moveTo>
                <a:cubicBezTo>
                  <a:pt x="647238" y="0"/>
                  <a:pt x="501881" y="190962"/>
                  <a:pt x="488257" y="330835"/>
                </a:cubicBezTo>
                <a:cubicBezTo>
                  <a:pt x="498764" y="334241"/>
                  <a:pt x="508981" y="337820"/>
                  <a:pt x="518968" y="341572"/>
                </a:cubicBezTo>
                <a:cubicBezTo>
                  <a:pt x="696826" y="388043"/>
                  <a:pt x="828040" y="549737"/>
                  <a:pt x="828040" y="742142"/>
                </a:cubicBezTo>
                <a:cubicBezTo>
                  <a:pt x="828040" y="945573"/>
                  <a:pt x="681297" y="1114656"/>
                  <a:pt x="487853" y="1149465"/>
                </a:cubicBezTo>
                <a:cubicBezTo>
                  <a:pt x="462222" y="1155065"/>
                  <a:pt x="435495" y="1157951"/>
                  <a:pt x="407612" y="1157951"/>
                </a:cubicBezTo>
                <a:cubicBezTo>
                  <a:pt x="116551" y="1157951"/>
                  <a:pt x="0" y="913823"/>
                  <a:pt x="0" y="742142"/>
                </a:cubicBezTo>
                <a:cubicBezTo>
                  <a:pt x="0" y="318597"/>
                  <a:pt x="471632" y="32096"/>
                  <a:pt x="647296" y="0"/>
                </a:cubicBezTo>
                <a:close/>
                <a:moveTo>
                  <a:pt x="943206" y="742142"/>
                </a:moveTo>
                <a:cubicBezTo>
                  <a:pt x="943206" y="913823"/>
                  <a:pt x="1059757" y="1157951"/>
                  <a:pt x="1350876" y="1157951"/>
                </a:cubicBezTo>
                <a:cubicBezTo>
                  <a:pt x="1378758" y="1157951"/>
                  <a:pt x="1405428" y="1155123"/>
                  <a:pt x="1431059" y="1149465"/>
                </a:cubicBezTo>
                <a:cubicBezTo>
                  <a:pt x="1624503" y="1114656"/>
                  <a:pt x="1771304" y="945573"/>
                  <a:pt x="1771304" y="742142"/>
                </a:cubicBezTo>
                <a:cubicBezTo>
                  <a:pt x="1771304" y="549737"/>
                  <a:pt x="1640032" y="388043"/>
                  <a:pt x="1462290" y="341572"/>
                </a:cubicBezTo>
                <a:cubicBezTo>
                  <a:pt x="1452303" y="337820"/>
                  <a:pt x="1442085" y="334241"/>
                  <a:pt x="1431579" y="330835"/>
                </a:cubicBezTo>
                <a:cubicBezTo>
                  <a:pt x="1445202" y="190962"/>
                  <a:pt x="1590560" y="0"/>
                  <a:pt x="1590560" y="0"/>
                </a:cubicBezTo>
                <a:cubicBezTo>
                  <a:pt x="1414896" y="32096"/>
                  <a:pt x="943264" y="318597"/>
                  <a:pt x="943264" y="742142"/>
                </a:cubicBezTo>
                <a:close/>
              </a:path>
            </a:pathLst>
          </a:custGeom>
          <a:solidFill>
            <a:schemeClr val="accent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5492B9C-2395-2799-8A23-4DC6287B1CAB}"/>
              </a:ext>
            </a:extLst>
          </p:cNvPr>
          <p:cNvGrpSpPr/>
          <p:nvPr userDrawn="1"/>
        </p:nvGrpSpPr>
        <p:grpSpPr>
          <a:xfrm>
            <a:off x="360363" y="357188"/>
            <a:ext cx="2108053" cy="519112"/>
            <a:chOff x="13749337" y="746575"/>
            <a:chExt cx="11277504" cy="2777109"/>
          </a:xfrm>
          <a:solidFill>
            <a:schemeClr val="accent2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072AB68C-9854-430C-369F-D5D6F5F7F288}"/>
                </a:ext>
              </a:extLst>
            </p:cNvPr>
            <p:cNvSpPr/>
            <p:nvPr/>
          </p:nvSpPr>
          <p:spPr>
            <a:xfrm>
              <a:off x="13749337" y="746575"/>
              <a:ext cx="5114450" cy="2777109"/>
            </a:xfrm>
            <a:custGeom>
              <a:avLst/>
              <a:gdLst>
                <a:gd name="connsiteX0" fmla="*/ 5080826 w 5114450"/>
                <a:gd name="connsiteY0" fmla="*/ 664559 h 2777109"/>
                <a:gd name="connsiteX1" fmla="*/ 5114450 w 5114450"/>
                <a:gd name="connsiteY1" fmla="*/ 952786 h 2777109"/>
                <a:gd name="connsiteX2" fmla="*/ 4924234 w 5114450"/>
                <a:gd name="connsiteY2" fmla="*/ 952786 h 2777109"/>
                <a:gd name="connsiteX3" fmla="*/ 4911662 w 5114450"/>
                <a:gd name="connsiteY3" fmla="*/ 812292 h 2777109"/>
                <a:gd name="connsiteX4" fmla="*/ 4562570 w 5114450"/>
                <a:gd name="connsiteY4" fmla="*/ 812292 h 2777109"/>
                <a:gd name="connsiteX5" fmla="*/ 4196906 w 5114450"/>
                <a:gd name="connsiteY5" fmla="*/ 972026 h 2777109"/>
                <a:gd name="connsiteX6" fmla="*/ 4047362 w 5114450"/>
                <a:gd name="connsiteY6" fmla="*/ 952786 h 2777109"/>
                <a:gd name="connsiteX7" fmla="*/ 5080826 w 5114450"/>
                <a:gd name="connsiteY7" fmla="*/ 664559 h 2777109"/>
                <a:gd name="connsiteX8" fmla="*/ 4833462 w 5114450"/>
                <a:gd name="connsiteY8" fmla="*/ 250221 h 2777109"/>
                <a:gd name="connsiteX9" fmla="*/ 5031866 w 5114450"/>
                <a:gd name="connsiteY9" fmla="*/ 250221 h 2777109"/>
                <a:gd name="connsiteX10" fmla="*/ 5076634 w 5114450"/>
                <a:gd name="connsiteY10" fmla="*/ 629697 h 2777109"/>
                <a:gd name="connsiteX11" fmla="*/ 4896516 w 5114450"/>
                <a:gd name="connsiteY11" fmla="*/ 650176 h 2777109"/>
                <a:gd name="connsiteX12" fmla="*/ 4876418 w 5114450"/>
                <a:gd name="connsiteY12" fmla="*/ 423767 h 2777109"/>
                <a:gd name="connsiteX13" fmla="*/ 4658010 w 5114450"/>
                <a:gd name="connsiteY13" fmla="*/ 693610 h 2777109"/>
                <a:gd name="connsiteX14" fmla="*/ 4657914 w 5114450"/>
                <a:gd name="connsiteY14" fmla="*/ 693610 h 2777109"/>
                <a:gd name="connsiteX15" fmla="*/ 4412456 w 5114450"/>
                <a:gd name="connsiteY15" fmla="*/ 758856 h 2777109"/>
                <a:gd name="connsiteX16" fmla="*/ 4833462 w 5114450"/>
                <a:gd name="connsiteY16" fmla="*/ 250221 h 2777109"/>
                <a:gd name="connsiteX17" fmla="*/ 4326922 w 5114450"/>
                <a:gd name="connsiteY17" fmla="*/ 232600 h 2777109"/>
                <a:gd name="connsiteX18" fmla="*/ 4614670 w 5114450"/>
                <a:gd name="connsiteY18" fmla="*/ 329279 h 2777109"/>
                <a:gd name="connsiteX19" fmla="*/ 4508658 w 5114450"/>
                <a:gd name="connsiteY19" fmla="*/ 460438 h 2777109"/>
                <a:gd name="connsiteX20" fmla="*/ 4508658 w 5114450"/>
                <a:gd name="connsiteY20" fmla="*/ 460533 h 2777109"/>
                <a:gd name="connsiteX21" fmla="*/ 4299298 w 5114450"/>
                <a:gd name="connsiteY21" fmla="*/ 376999 h 2777109"/>
                <a:gd name="connsiteX22" fmla="*/ 4010024 w 5114450"/>
                <a:gd name="connsiteY22" fmla="*/ 619887 h 2777109"/>
                <a:gd name="connsiteX23" fmla="*/ 4113466 w 5114450"/>
                <a:gd name="connsiteY23" fmla="*/ 811911 h 2777109"/>
                <a:gd name="connsiteX24" fmla="*/ 4215670 w 5114450"/>
                <a:gd name="connsiteY24" fmla="*/ 826484 h 2777109"/>
                <a:gd name="connsiteX25" fmla="*/ 3928300 w 5114450"/>
                <a:gd name="connsiteY25" fmla="*/ 952881 h 2777109"/>
                <a:gd name="connsiteX26" fmla="*/ 3206400 w 5114450"/>
                <a:gd name="connsiteY26" fmla="*/ 952881 h 2777109"/>
                <a:gd name="connsiteX27" fmla="*/ 3454336 w 5114450"/>
                <a:gd name="connsiteY27" fmla="*/ 250317 h 2777109"/>
                <a:gd name="connsiteX28" fmla="*/ 3987164 w 5114450"/>
                <a:gd name="connsiteY28" fmla="*/ 250317 h 2777109"/>
                <a:gd name="connsiteX29" fmla="*/ 3871626 w 5114450"/>
                <a:gd name="connsiteY29" fmla="*/ 390810 h 2777109"/>
                <a:gd name="connsiteX30" fmla="*/ 3587590 w 5114450"/>
                <a:gd name="connsiteY30" fmla="*/ 390810 h 2777109"/>
                <a:gd name="connsiteX31" fmla="*/ 3544156 w 5114450"/>
                <a:gd name="connsiteY31" fmla="*/ 513683 h 2777109"/>
                <a:gd name="connsiteX32" fmla="*/ 3770470 w 5114450"/>
                <a:gd name="connsiteY32" fmla="*/ 513683 h 2777109"/>
                <a:gd name="connsiteX33" fmla="*/ 3655122 w 5114450"/>
                <a:gd name="connsiteY33" fmla="*/ 653796 h 2777109"/>
                <a:gd name="connsiteX34" fmla="*/ 3494722 w 5114450"/>
                <a:gd name="connsiteY34" fmla="*/ 653796 h 2777109"/>
                <a:gd name="connsiteX35" fmla="*/ 3438810 w 5114450"/>
                <a:gd name="connsiteY35" fmla="*/ 812101 h 2777109"/>
                <a:gd name="connsiteX36" fmla="*/ 3873530 w 5114450"/>
                <a:gd name="connsiteY36" fmla="*/ 812101 h 2777109"/>
                <a:gd name="connsiteX37" fmla="*/ 3829430 w 5114450"/>
                <a:gd name="connsiteY37" fmla="*/ 629793 h 2777109"/>
                <a:gd name="connsiteX38" fmla="*/ 4326922 w 5114450"/>
                <a:gd name="connsiteY38" fmla="*/ 232600 h 2777109"/>
                <a:gd name="connsiteX39" fmla="*/ 1567529 w 5114450"/>
                <a:gd name="connsiteY39" fmla="*/ 0 h 2777109"/>
                <a:gd name="connsiteX40" fmla="*/ 2797397 w 5114450"/>
                <a:gd name="connsiteY40" fmla="*/ 1388555 h 2777109"/>
                <a:gd name="connsiteX41" fmla="*/ 1567529 w 5114450"/>
                <a:gd name="connsiteY41" fmla="*/ 2777109 h 2777109"/>
                <a:gd name="connsiteX42" fmla="*/ 1567529 w 5114450"/>
                <a:gd name="connsiteY42" fmla="*/ 2003965 h 2777109"/>
                <a:gd name="connsiteX43" fmla="*/ 2036921 w 5114450"/>
                <a:gd name="connsiteY43" fmla="*/ 1388555 h 2777109"/>
                <a:gd name="connsiteX44" fmla="*/ 1567529 w 5114450"/>
                <a:gd name="connsiteY44" fmla="*/ 773144 h 2777109"/>
                <a:gd name="connsiteX45" fmla="*/ 1229868 w 5114450"/>
                <a:gd name="connsiteY45" fmla="*/ 0 h 2777109"/>
                <a:gd name="connsiteX46" fmla="*/ 1229868 w 5114450"/>
                <a:gd name="connsiteY46" fmla="*/ 773144 h 2777109"/>
                <a:gd name="connsiteX47" fmla="*/ 760476 w 5114450"/>
                <a:gd name="connsiteY47" fmla="*/ 1388555 h 2777109"/>
                <a:gd name="connsiteX48" fmla="*/ 1229868 w 5114450"/>
                <a:gd name="connsiteY48" fmla="*/ 2003965 h 2777109"/>
                <a:gd name="connsiteX49" fmla="*/ 1229868 w 5114450"/>
                <a:gd name="connsiteY49" fmla="*/ 2777109 h 2777109"/>
                <a:gd name="connsiteX50" fmla="*/ 0 w 5114450"/>
                <a:gd name="connsiteY50" fmla="*/ 1388555 h 2777109"/>
                <a:gd name="connsiteX51" fmla="*/ 1229868 w 5114450"/>
                <a:gd name="connsiteY51" fmla="*/ 0 h 2777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114450" h="2777109">
                  <a:moveTo>
                    <a:pt x="5080826" y="664559"/>
                  </a:moveTo>
                  <a:lnTo>
                    <a:pt x="5114450" y="952786"/>
                  </a:lnTo>
                  <a:lnTo>
                    <a:pt x="4924234" y="952786"/>
                  </a:lnTo>
                  <a:cubicBezTo>
                    <a:pt x="4924234" y="952786"/>
                    <a:pt x="4911662" y="812292"/>
                    <a:pt x="4911662" y="812292"/>
                  </a:cubicBezTo>
                  <a:lnTo>
                    <a:pt x="4562570" y="812292"/>
                  </a:lnTo>
                  <a:cubicBezTo>
                    <a:pt x="4448746" y="938022"/>
                    <a:pt x="4354162" y="972026"/>
                    <a:pt x="4196906" y="972026"/>
                  </a:cubicBezTo>
                  <a:cubicBezTo>
                    <a:pt x="4140136" y="972026"/>
                    <a:pt x="4086892" y="965549"/>
                    <a:pt x="4047362" y="952786"/>
                  </a:cubicBezTo>
                  <a:cubicBezTo>
                    <a:pt x="4047362" y="952786"/>
                    <a:pt x="4500562" y="719233"/>
                    <a:pt x="5080826" y="664559"/>
                  </a:cubicBezTo>
                  <a:close/>
                  <a:moveTo>
                    <a:pt x="4833462" y="250221"/>
                  </a:moveTo>
                  <a:lnTo>
                    <a:pt x="5031866" y="250221"/>
                  </a:lnTo>
                  <a:lnTo>
                    <a:pt x="5076634" y="629697"/>
                  </a:lnTo>
                  <a:cubicBezTo>
                    <a:pt x="5016626" y="636079"/>
                    <a:pt x="4955094" y="641127"/>
                    <a:pt x="4896516" y="650176"/>
                  </a:cubicBezTo>
                  <a:lnTo>
                    <a:pt x="4876418" y="423767"/>
                  </a:lnTo>
                  <a:lnTo>
                    <a:pt x="4658010" y="693610"/>
                  </a:lnTo>
                  <a:lnTo>
                    <a:pt x="4657914" y="693610"/>
                  </a:lnTo>
                  <a:cubicBezTo>
                    <a:pt x="4574094" y="712470"/>
                    <a:pt x="4492274" y="734282"/>
                    <a:pt x="4412456" y="758856"/>
                  </a:cubicBezTo>
                  <a:cubicBezTo>
                    <a:pt x="4412456" y="758856"/>
                    <a:pt x="4833462" y="250221"/>
                    <a:pt x="4833462" y="250221"/>
                  </a:cubicBezTo>
                  <a:close/>
                  <a:moveTo>
                    <a:pt x="4326922" y="232600"/>
                  </a:moveTo>
                  <a:cubicBezTo>
                    <a:pt x="4449222" y="232600"/>
                    <a:pt x="4548090" y="269271"/>
                    <a:pt x="4614670" y="329279"/>
                  </a:cubicBezTo>
                  <a:lnTo>
                    <a:pt x="4508658" y="460438"/>
                  </a:lnTo>
                  <a:lnTo>
                    <a:pt x="4508658" y="460533"/>
                  </a:lnTo>
                  <a:cubicBezTo>
                    <a:pt x="4467130" y="414051"/>
                    <a:pt x="4383498" y="376999"/>
                    <a:pt x="4299298" y="376999"/>
                  </a:cubicBezTo>
                  <a:cubicBezTo>
                    <a:pt x="4128706" y="376999"/>
                    <a:pt x="4021930" y="498538"/>
                    <a:pt x="4010024" y="619887"/>
                  </a:cubicBezTo>
                  <a:cubicBezTo>
                    <a:pt x="3999928" y="723042"/>
                    <a:pt x="4035838" y="785241"/>
                    <a:pt x="4113466" y="811911"/>
                  </a:cubicBezTo>
                  <a:cubicBezTo>
                    <a:pt x="4156518" y="822769"/>
                    <a:pt x="4180902" y="825246"/>
                    <a:pt x="4215670" y="826484"/>
                  </a:cubicBezTo>
                  <a:cubicBezTo>
                    <a:pt x="4030408" y="898017"/>
                    <a:pt x="3928300" y="952881"/>
                    <a:pt x="3928300" y="952881"/>
                  </a:cubicBezTo>
                  <a:lnTo>
                    <a:pt x="3206400" y="952881"/>
                  </a:lnTo>
                  <a:cubicBezTo>
                    <a:pt x="3206400" y="952881"/>
                    <a:pt x="3454336" y="250317"/>
                    <a:pt x="3454336" y="250317"/>
                  </a:cubicBezTo>
                  <a:lnTo>
                    <a:pt x="3987164" y="250317"/>
                  </a:lnTo>
                  <a:cubicBezTo>
                    <a:pt x="3987164" y="250317"/>
                    <a:pt x="3871626" y="390810"/>
                    <a:pt x="3871626" y="390810"/>
                  </a:cubicBezTo>
                  <a:lnTo>
                    <a:pt x="3587590" y="390810"/>
                  </a:lnTo>
                  <a:cubicBezTo>
                    <a:pt x="3587590" y="390810"/>
                    <a:pt x="3544156" y="513683"/>
                    <a:pt x="3544156" y="513683"/>
                  </a:cubicBezTo>
                  <a:lnTo>
                    <a:pt x="3770470" y="513683"/>
                  </a:lnTo>
                  <a:cubicBezTo>
                    <a:pt x="3770470" y="513683"/>
                    <a:pt x="3655122" y="653796"/>
                    <a:pt x="3655122" y="653796"/>
                  </a:cubicBezTo>
                  <a:lnTo>
                    <a:pt x="3494722" y="653796"/>
                  </a:lnTo>
                  <a:cubicBezTo>
                    <a:pt x="3494722" y="653796"/>
                    <a:pt x="3438810" y="812101"/>
                    <a:pt x="3438810" y="812101"/>
                  </a:cubicBezTo>
                  <a:lnTo>
                    <a:pt x="3873530" y="812101"/>
                  </a:lnTo>
                  <a:cubicBezTo>
                    <a:pt x="3837336" y="752284"/>
                    <a:pt x="3826192" y="691610"/>
                    <a:pt x="3829430" y="629793"/>
                  </a:cubicBezTo>
                  <a:cubicBezTo>
                    <a:pt x="3840290" y="425481"/>
                    <a:pt x="4007454" y="232600"/>
                    <a:pt x="4326922" y="232600"/>
                  </a:cubicBezTo>
                  <a:close/>
                  <a:moveTo>
                    <a:pt x="1567529" y="0"/>
                  </a:moveTo>
                  <a:cubicBezTo>
                    <a:pt x="2260473" y="83344"/>
                    <a:pt x="2797397" y="673227"/>
                    <a:pt x="2797397" y="1388555"/>
                  </a:cubicBezTo>
                  <a:cubicBezTo>
                    <a:pt x="2797397" y="2103882"/>
                    <a:pt x="2260378" y="2693765"/>
                    <a:pt x="1567529" y="2777109"/>
                  </a:cubicBezTo>
                  <a:lnTo>
                    <a:pt x="1567529" y="2003965"/>
                  </a:lnTo>
                  <a:cubicBezTo>
                    <a:pt x="1837754" y="1929765"/>
                    <a:pt x="2036921" y="1682020"/>
                    <a:pt x="2036921" y="1388555"/>
                  </a:cubicBezTo>
                  <a:cubicBezTo>
                    <a:pt x="2036921" y="1095089"/>
                    <a:pt x="1837754" y="847344"/>
                    <a:pt x="1567529" y="773144"/>
                  </a:cubicBezTo>
                  <a:close/>
                  <a:moveTo>
                    <a:pt x="1229868" y="0"/>
                  </a:moveTo>
                  <a:lnTo>
                    <a:pt x="1229868" y="773144"/>
                  </a:lnTo>
                  <a:cubicBezTo>
                    <a:pt x="959644" y="847344"/>
                    <a:pt x="760476" y="1095089"/>
                    <a:pt x="760476" y="1388555"/>
                  </a:cubicBezTo>
                  <a:cubicBezTo>
                    <a:pt x="760476" y="1682020"/>
                    <a:pt x="959644" y="1929765"/>
                    <a:pt x="1229868" y="2003965"/>
                  </a:cubicBezTo>
                  <a:lnTo>
                    <a:pt x="1229868" y="2777109"/>
                  </a:lnTo>
                  <a:cubicBezTo>
                    <a:pt x="537020" y="2693765"/>
                    <a:pt x="0" y="2103882"/>
                    <a:pt x="0" y="1388555"/>
                  </a:cubicBezTo>
                  <a:cubicBezTo>
                    <a:pt x="0" y="673227"/>
                    <a:pt x="537020" y="83344"/>
                    <a:pt x="1229868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98A662D-98CB-6EDF-20F5-438CD2AA452A}"/>
                </a:ext>
              </a:extLst>
            </p:cNvPr>
            <p:cNvSpPr/>
            <p:nvPr/>
          </p:nvSpPr>
          <p:spPr>
            <a:xfrm>
              <a:off x="16955738" y="1931294"/>
              <a:ext cx="8071103" cy="1359693"/>
            </a:xfrm>
            <a:custGeom>
              <a:avLst/>
              <a:gdLst>
                <a:gd name="connsiteX0" fmla="*/ 0 w 8071103"/>
                <a:gd name="connsiteY0" fmla="*/ 1074230 h 1359693"/>
                <a:gd name="connsiteX1" fmla="*/ 0 w 8071103"/>
                <a:gd name="connsiteY1" fmla="*/ 283559 h 1359693"/>
                <a:gd name="connsiteX2" fmla="*/ 308038 w 8071103"/>
                <a:gd name="connsiteY2" fmla="*/ 0 h 1359693"/>
                <a:gd name="connsiteX3" fmla="*/ 616077 w 8071103"/>
                <a:gd name="connsiteY3" fmla="*/ 283559 h 1359693"/>
                <a:gd name="connsiteX4" fmla="*/ 616077 w 8071103"/>
                <a:gd name="connsiteY4" fmla="*/ 557784 h 1359693"/>
                <a:gd name="connsiteX5" fmla="*/ 379476 w 8071103"/>
                <a:gd name="connsiteY5" fmla="*/ 557784 h 1359693"/>
                <a:gd name="connsiteX6" fmla="*/ 379476 w 8071103"/>
                <a:gd name="connsiteY6" fmla="*/ 285464 h 1359693"/>
                <a:gd name="connsiteX7" fmla="*/ 308134 w 8071103"/>
                <a:gd name="connsiteY7" fmla="*/ 215932 h 1359693"/>
                <a:gd name="connsiteX8" fmla="*/ 236791 w 8071103"/>
                <a:gd name="connsiteY8" fmla="*/ 285464 h 1359693"/>
                <a:gd name="connsiteX9" fmla="*/ 236791 w 8071103"/>
                <a:gd name="connsiteY9" fmla="*/ 1074230 h 1359693"/>
                <a:gd name="connsiteX10" fmla="*/ 308134 w 8071103"/>
                <a:gd name="connsiteY10" fmla="*/ 1143667 h 1359693"/>
                <a:gd name="connsiteX11" fmla="*/ 379476 w 8071103"/>
                <a:gd name="connsiteY11" fmla="*/ 1074230 h 1359693"/>
                <a:gd name="connsiteX12" fmla="*/ 379476 w 8071103"/>
                <a:gd name="connsiteY12" fmla="*/ 783146 h 1359693"/>
                <a:gd name="connsiteX13" fmla="*/ 616077 w 8071103"/>
                <a:gd name="connsiteY13" fmla="*/ 783146 h 1359693"/>
                <a:gd name="connsiteX14" fmla="*/ 616077 w 8071103"/>
                <a:gd name="connsiteY14" fmla="*/ 1074230 h 1359693"/>
                <a:gd name="connsiteX15" fmla="*/ 308038 w 8071103"/>
                <a:gd name="connsiteY15" fmla="*/ 1359694 h 1359693"/>
                <a:gd name="connsiteX16" fmla="*/ 0 w 8071103"/>
                <a:gd name="connsiteY16" fmla="*/ 1074230 h 1359693"/>
                <a:gd name="connsiteX17" fmla="*/ 762476 w 8071103"/>
                <a:gd name="connsiteY17" fmla="*/ 22574 h 1359693"/>
                <a:gd name="connsiteX18" fmla="*/ 999077 w 8071103"/>
                <a:gd name="connsiteY18" fmla="*/ 22574 h 1359693"/>
                <a:gd name="connsiteX19" fmla="*/ 999077 w 8071103"/>
                <a:gd name="connsiteY19" fmla="*/ 1121283 h 1359693"/>
                <a:gd name="connsiteX20" fmla="*/ 1198150 w 8071103"/>
                <a:gd name="connsiteY20" fmla="*/ 1121283 h 1359693"/>
                <a:gd name="connsiteX21" fmla="*/ 1198150 w 8071103"/>
                <a:gd name="connsiteY21" fmla="*/ 1337215 h 1359693"/>
                <a:gd name="connsiteX22" fmla="*/ 762476 w 8071103"/>
                <a:gd name="connsiteY22" fmla="*/ 1337215 h 1359693"/>
                <a:gd name="connsiteX23" fmla="*/ 762476 w 8071103"/>
                <a:gd name="connsiteY23" fmla="*/ 22574 h 1359693"/>
                <a:gd name="connsiteX24" fmla="*/ 1293971 w 8071103"/>
                <a:gd name="connsiteY24" fmla="*/ 1074230 h 1359693"/>
                <a:gd name="connsiteX25" fmla="*/ 1293971 w 8071103"/>
                <a:gd name="connsiteY25" fmla="*/ 22479 h 1359693"/>
                <a:gd name="connsiteX26" fmla="*/ 1530572 w 8071103"/>
                <a:gd name="connsiteY26" fmla="*/ 22479 h 1359693"/>
                <a:gd name="connsiteX27" fmla="*/ 1530572 w 8071103"/>
                <a:gd name="connsiteY27" fmla="*/ 1074230 h 1359693"/>
                <a:gd name="connsiteX28" fmla="*/ 1600105 w 8071103"/>
                <a:gd name="connsiteY28" fmla="*/ 1143667 h 1359693"/>
                <a:gd name="connsiteX29" fmla="*/ 1671447 w 8071103"/>
                <a:gd name="connsiteY29" fmla="*/ 1074230 h 1359693"/>
                <a:gd name="connsiteX30" fmla="*/ 1671447 w 8071103"/>
                <a:gd name="connsiteY30" fmla="*/ 22479 h 1359693"/>
                <a:gd name="connsiteX31" fmla="*/ 1908048 w 8071103"/>
                <a:gd name="connsiteY31" fmla="*/ 22479 h 1359693"/>
                <a:gd name="connsiteX32" fmla="*/ 1908048 w 8071103"/>
                <a:gd name="connsiteY32" fmla="*/ 1074230 h 1359693"/>
                <a:gd name="connsiteX33" fmla="*/ 1600009 w 8071103"/>
                <a:gd name="connsiteY33" fmla="*/ 1359694 h 1359693"/>
                <a:gd name="connsiteX34" fmla="*/ 1293876 w 8071103"/>
                <a:gd name="connsiteY34" fmla="*/ 1074230 h 1359693"/>
                <a:gd name="connsiteX35" fmla="*/ 2060162 w 8071103"/>
                <a:gd name="connsiteY35" fmla="*/ 22574 h 1359693"/>
                <a:gd name="connsiteX36" fmla="*/ 2394490 w 8071103"/>
                <a:gd name="connsiteY36" fmla="*/ 22574 h 1359693"/>
                <a:gd name="connsiteX37" fmla="*/ 2674335 w 8071103"/>
                <a:gd name="connsiteY37" fmla="*/ 279844 h 1359693"/>
                <a:gd name="connsiteX38" fmla="*/ 2674335 w 8071103"/>
                <a:gd name="connsiteY38" fmla="*/ 458248 h 1359693"/>
                <a:gd name="connsiteX39" fmla="*/ 2565369 w 8071103"/>
                <a:gd name="connsiteY39" fmla="*/ 651701 h 1359693"/>
                <a:gd name="connsiteX40" fmla="*/ 2565369 w 8071103"/>
                <a:gd name="connsiteY40" fmla="*/ 662940 h 1359693"/>
                <a:gd name="connsiteX41" fmla="*/ 2685574 w 8071103"/>
                <a:gd name="connsiteY41" fmla="*/ 865727 h 1359693"/>
                <a:gd name="connsiteX42" fmla="*/ 2685574 w 8071103"/>
                <a:gd name="connsiteY42" fmla="*/ 1079849 h 1359693"/>
                <a:gd name="connsiteX43" fmla="*/ 2405729 w 8071103"/>
                <a:gd name="connsiteY43" fmla="*/ 1337120 h 1359693"/>
                <a:gd name="connsiteX44" fmla="*/ 2060162 w 8071103"/>
                <a:gd name="connsiteY44" fmla="*/ 1337120 h 1359693"/>
                <a:gd name="connsiteX45" fmla="*/ 2060162 w 8071103"/>
                <a:gd name="connsiteY45" fmla="*/ 22574 h 1359693"/>
                <a:gd name="connsiteX46" fmla="*/ 2296763 w 8071103"/>
                <a:gd name="connsiteY46" fmla="*/ 238506 h 1359693"/>
                <a:gd name="connsiteX47" fmla="*/ 2296763 w 8071103"/>
                <a:gd name="connsiteY47" fmla="*/ 569024 h 1359693"/>
                <a:gd name="connsiteX48" fmla="*/ 2366296 w 8071103"/>
                <a:gd name="connsiteY48" fmla="*/ 569024 h 1359693"/>
                <a:gd name="connsiteX49" fmla="*/ 2437638 w 8071103"/>
                <a:gd name="connsiteY49" fmla="*/ 497681 h 1359693"/>
                <a:gd name="connsiteX50" fmla="*/ 2437638 w 8071103"/>
                <a:gd name="connsiteY50" fmla="*/ 307943 h 1359693"/>
                <a:gd name="connsiteX51" fmla="*/ 2366296 w 8071103"/>
                <a:gd name="connsiteY51" fmla="*/ 238506 h 1359693"/>
                <a:gd name="connsiteX52" fmla="*/ 2296763 w 8071103"/>
                <a:gd name="connsiteY52" fmla="*/ 238506 h 1359693"/>
                <a:gd name="connsiteX53" fmla="*/ 2296763 w 8071103"/>
                <a:gd name="connsiteY53" fmla="*/ 770001 h 1359693"/>
                <a:gd name="connsiteX54" fmla="*/ 2296763 w 8071103"/>
                <a:gd name="connsiteY54" fmla="*/ 1121188 h 1359693"/>
                <a:gd name="connsiteX55" fmla="*/ 2379440 w 8071103"/>
                <a:gd name="connsiteY55" fmla="*/ 1121188 h 1359693"/>
                <a:gd name="connsiteX56" fmla="*/ 2448973 w 8071103"/>
                <a:gd name="connsiteY56" fmla="*/ 1051655 h 1359693"/>
                <a:gd name="connsiteX57" fmla="*/ 2448973 w 8071103"/>
                <a:gd name="connsiteY57" fmla="*/ 841343 h 1359693"/>
                <a:gd name="connsiteX58" fmla="*/ 2379440 w 8071103"/>
                <a:gd name="connsiteY58" fmla="*/ 770001 h 1359693"/>
                <a:gd name="connsiteX59" fmla="*/ 2296763 w 8071103"/>
                <a:gd name="connsiteY59" fmla="*/ 770001 h 1359693"/>
                <a:gd name="connsiteX60" fmla="*/ 3094482 w 8071103"/>
                <a:gd name="connsiteY60" fmla="*/ 1074230 h 1359693"/>
                <a:gd name="connsiteX61" fmla="*/ 3094482 w 8071103"/>
                <a:gd name="connsiteY61" fmla="*/ 283559 h 1359693"/>
                <a:gd name="connsiteX62" fmla="*/ 3402520 w 8071103"/>
                <a:gd name="connsiteY62" fmla="*/ 0 h 1359693"/>
                <a:gd name="connsiteX63" fmla="*/ 3710559 w 8071103"/>
                <a:gd name="connsiteY63" fmla="*/ 283559 h 1359693"/>
                <a:gd name="connsiteX64" fmla="*/ 3710559 w 8071103"/>
                <a:gd name="connsiteY64" fmla="*/ 557784 h 1359693"/>
                <a:gd name="connsiteX65" fmla="*/ 3473958 w 8071103"/>
                <a:gd name="connsiteY65" fmla="*/ 557784 h 1359693"/>
                <a:gd name="connsiteX66" fmla="*/ 3473958 w 8071103"/>
                <a:gd name="connsiteY66" fmla="*/ 285464 h 1359693"/>
                <a:gd name="connsiteX67" fmla="*/ 3402616 w 8071103"/>
                <a:gd name="connsiteY67" fmla="*/ 215932 h 1359693"/>
                <a:gd name="connsiteX68" fmla="*/ 3331274 w 8071103"/>
                <a:gd name="connsiteY68" fmla="*/ 285464 h 1359693"/>
                <a:gd name="connsiteX69" fmla="*/ 3331274 w 8071103"/>
                <a:gd name="connsiteY69" fmla="*/ 1074230 h 1359693"/>
                <a:gd name="connsiteX70" fmla="*/ 3402616 w 8071103"/>
                <a:gd name="connsiteY70" fmla="*/ 1143667 h 1359693"/>
                <a:gd name="connsiteX71" fmla="*/ 3473958 w 8071103"/>
                <a:gd name="connsiteY71" fmla="*/ 1074230 h 1359693"/>
                <a:gd name="connsiteX72" fmla="*/ 3473958 w 8071103"/>
                <a:gd name="connsiteY72" fmla="*/ 783146 h 1359693"/>
                <a:gd name="connsiteX73" fmla="*/ 3710559 w 8071103"/>
                <a:gd name="connsiteY73" fmla="*/ 783146 h 1359693"/>
                <a:gd name="connsiteX74" fmla="*/ 3710559 w 8071103"/>
                <a:gd name="connsiteY74" fmla="*/ 1074230 h 1359693"/>
                <a:gd name="connsiteX75" fmla="*/ 3402520 w 8071103"/>
                <a:gd name="connsiteY75" fmla="*/ 1359694 h 1359693"/>
                <a:gd name="connsiteX76" fmla="*/ 3094482 w 8071103"/>
                <a:gd name="connsiteY76" fmla="*/ 1074230 h 1359693"/>
                <a:gd name="connsiteX77" fmla="*/ 3849434 w 8071103"/>
                <a:gd name="connsiteY77" fmla="*/ 1074230 h 1359693"/>
                <a:gd name="connsiteX78" fmla="*/ 3849434 w 8071103"/>
                <a:gd name="connsiteY78" fmla="*/ 283559 h 1359693"/>
                <a:gd name="connsiteX79" fmla="*/ 4157472 w 8071103"/>
                <a:gd name="connsiteY79" fmla="*/ 0 h 1359693"/>
                <a:gd name="connsiteX80" fmla="*/ 4465511 w 8071103"/>
                <a:gd name="connsiteY80" fmla="*/ 283559 h 1359693"/>
                <a:gd name="connsiteX81" fmla="*/ 4465511 w 8071103"/>
                <a:gd name="connsiteY81" fmla="*/ 1074230 h 1359693"/>
                <a:gd name="connsiteX82" fmla="*/ 4157472 w 8071103"/>
                <a:gd name="connsiteY82" fmla="*/ 1359694 h 1359693"/>
                <a:gd name="connsiteX83" fmla="*/ 3849434 w 8071103"/>
                <a:gd name="connsiteY83" fmla="*/ 1074230 h 1359693"/>
                <a:gd name="connsiteX84" fmla="*/ 4228814 w 8071103"/>
                <a:gd name="connsiteY84" fmla="*/ 1074230 h 1359693"/>
                <a:gd name="connsiteX85" fmla="*/ 4228814 w 8071103"/>
                <a:gd name="connsiteY85" fmla="*/ 285464 h 1359693"/>
                <a:gd name="connsiteX86" fmla="*/ 4157472 w 8071103"/>
                <a:gd name="connsiteY86" fmla="*/ 215932 h 1359693"/>
                <a:gd name="connsiteX87" fmla="*/ 4086130 w 8071103"/>
                <a:gd name="connsiteY87" fmla="*/ 285464 h 1359693"/>
                <a:gd name="connsiteX88" fmla="*/ 4086130 w 8071103"/>
                <a:gd name="connsiteY88" fmla="*/ 1074230 h 1359693"/>
                <a:gd name="connsiteX89" fmla="*/ 4157472 w 8071103"/>
                <a:gd name="connsiteY89" fmla="*/ 1143667 h 1359693"/>
                <a:gd name="connsiteX90" fmla="*/ 4228814 w 8071103"/>
                <a:gd name="connsiteY90" fmla="*/ 1074230 h 1359693"/>
                <a:gd name="connsiteX91" fmla="*/ 4613720 w 8071103"/>
                <a:gd name="connsiteY91" fmla="*/ 22574 h 1359693"/>
                <a:gd name="connsiteX92" fmla="*/ 4886039 w 8071103"/>
                <a:gd name="connsiteY92" fmla="*/ 22574 h 1359693"/>
                <a:gd name="connsiteX93" fmla="*/ 5021294 w 8071103"/>
                <a:gd name="connsiteY93" fmla="*/ 646081 h 1359693"/>
                <a:gd name="connsiteX94" fmla="*/ 5040059 w 8071103"/>
                <a:gd name="connsiteY94" fmla="*/ 811340 h 1359693"/>
                <a:gd name="connsiteX95" fmla="*/ 5071967 w 8071103"/>
                <a:gd name="connsiteY95" fmla="*/ 811340 h 1359693"/>
                <a:gd name="connsiteX96" fmla="*/ 5051298 w 8071103"/>
                <a:gd name="connsiteY96" fmla="*/ 646081 h 1359693"/>
                <a:gd name="connsiteX97" fmla="*/ 5051298 w 8071103"/>
                <a:gd name="connsiteY97" fmla="*/ 22574 h 1359693"/>
                <a:gd name="connsiteX98" fmla="*/ 5287899 w 8071103"/>
                <a:gd name="connsiteY98" fmla="*/ 22574 h 1359693"/>
                <a:gd name="connsiteX99" fmla="*/ 5287899 w 8071103"/>
                <a:gd name="connsiteY99" fmla="*/ 1337215 h 1359693"/>
                <a:gd name="connsiteX100" fmla="*/ 5017485 w 8071103"/>
                <a:gd name="connsiteY100" fmla="*/ 1337215 h 1359693"/>
                <a:gd name="connsiteX101" fmla="*/ 4882230 w 8071103"/>
                <a:gd name="connsiteY101" fmla="*/ 713708 h 1359693"/>
                <a:gd name="connsiteX102" fmla="*/ 4861560 w 8071103"/>
                <a:gd name="connsiteY102" fmla="*/ 548450 h 1359693"/>
                <a:gd name="connsiteX103" fmla="*/ 4829651 w 8071103"/>
                <a:gd name="connsiteY103" fmla="*/ 548450 h 1359693"/>
                <a:gd name="connsiteX104" fmla="*/ 4850320 w 8071103"/>
                <a:gd name="connsiteY104" fmla="*/ 713708 h 1359693"/>
                <a:gd name="connsiteX105" fmla="*/ 4850320 w 8071103"/>
                <a:gd name="connsiteY105" fmla="*/ 1337215 h 1359693"/>
                <a:gd name="connsiteX106" fmla="*/ 4613720 w 8071103"/>
                <a:gd name="connsiteY106" fmla="*/ 1337215 h 1359693"/>
                <a:gd name="connsiteX107" fmla="*/ 4613720 w 8071103"/>
                <a:gd name="connsiteY107" fmla="*/ 22574 h 1359693"/>
                <a:gd name="connsiteX108" fmla="*/ 5443823 w 8071103"/>
                <a:gd name="connsiteY108" fmla="*/ 22574 h 1359693"/>
                <a:gd name="connsiteX109" fmla="*/ 5716143 w 8071103"/>
                <a:gd name="connsiteY109" fmla="*/ 22574 h 1359693"/>
                <a:gd name="connsiteX110" fmla="*/ 5851398 w 8071103"/>
                <a:gd name="connsiteY110" fmla="*/ 646081 h 1359693"/>
                <a:gd name="connsiteX111" fmla="*/ 5870162 w 8071103"/>
                <a:gd name="connsiteY111" fmla="*/ 811340 h 1359693"/>
                <a:gd name="connsiteX112" fmla="*/ 5902071 w 8071103"/>
                <a:gd name="connsiteY112" fmla="*/ 811340 h 1359693"/>
                <a:gd name="connsiteX113" fmla="*/ 5881402 w 8071103"/>
                <a:gd name="connsiteY113" fmla="*/ 646081 h 1359693"/>
                <a:gd name="connsiteX114" fmla="*/ 5881402 w 8071103"/>
                <a:gd name="connsiteY114" fmla="*/ 22574 h 1359693"/>
                <a:gd name="connsiteX115" fmla="*/ 6118003 w 8071103"/>
                <a:gd name="connsiteY115" fmla="*/ 22574 h 1359693"/>
                <a:gd name="connsiteX116" fmla="*/ 6118003 w 8071103"/>
                <a:gd name="connsiteY116" fmla="*/ 1337215 h 1359693"/>
                <a:gd name="connsiteX117" fmla="*/ 5847588 w 8071103"/>
                <a:gd name="connsiteY117" fmla="*/ 1337215 h 1359693"/>
                <a:gd name="connsiteX118" fmla="*/ 5712333 w 8071103"/>
                <a:gd name="connsiteY118" fmla="*/ 713708 h 1359693"/>
                <a:gd name="connsiteX119" fmla="*/ 5691664 w 8071103"/>
                <a:gd name="connsiteY119" fmla="*/ 548450 h 1359693"/>
                <a:gd name="connsiteX120" fmla="*/ 5659755 w 8071103"/>
                <a:gd name="connsiteY120" fmla="*/ 548450 h 1359693"/>
                <a:gd name="connsiteX121" fmla="*/ 5680424 w 8071103"/>
                <a:gd name="connsiteY121" fmla="*/ 713708 h 1359693"/>
                <a:gd name="connsiteX122" fmla="*/ 5680424 w 8071103"/>
                <a:gd name="connsiteY122" fmla="*/ 1337215 h 1359693"/>
                <a:gd name="connsiteX123" fmla="*/ 5443823 w 8071103"/>
                <a:gd name="connsiteY123" fmla="*/ 1337215 h 1359693"/>
                <a:gd name="connsiteX124" fmla="*/ 5443823 w 8071103"/>
                <a:gd name="connsiteY124" fmla="*/ 22574 h 1359693"/>
                <a:gd name="connsiteX125" fmla="*/ 6273832 w 8071103"/>
                <a:gd name="connsiteY125" fmla="*/ 22574 h 1359693"/>
                <a:gd name="connsiteX126" fmla="*/ 6720840 w 8071103"/>
                <a:gd name="connsiteY126" fmla="*/ 22574 h 1359693"/>
                <a:gd name="connsiteX127" fmla="*/ 6720840 w 8071103"/>
                <a:gd name="connsiteY127" fmla="*/ 238601 h 1359693"/>
                <a:gd name="connsiteX128" fmla="*/ 6510528 w 8071103"/>
                <a:gd name="connsiteY128" fmla="*/ 238601 h 1359693"/>
                <a:gd name="connsiteX129" fmla="*/ 6510528 w 8071103"/>
                <a:gd name="connsiteY129" fmla="*/ 565404 h 1359693"/>
                <a:gd name="connsiteX130" fmla="*/ 6700172 w 8071103"/>
                <a:gd name="connsiteY130" fmla="*/ 565404 h 1359693"/>
                <a:gd name="connsiteX131" fmla="*/ 6700172 w 8071103"/>
                <a:gd name="connsiteY131" fmla="*/ 775716 h 1359693"/>
                <a:gd name="connsiteX132" fmla="*/ 6510528 w 8071103"/>
                <a:gd name="connsiteY132" fmla="*/ 775716 h 1359693"/>
                <a:gd name="connsiteX133" fmla="*/ 6510528 w 8071103"/>
                <a:gd name="connsiteY133" fmla="*/ 1121283 h 1359693"/>
                <a:gd name="connsiteX134" fmla="*/ 6720840 w 8071103"/>
                <a:gd name="connsiteY134" fmla="*/ 1121283 h 1359693"/>
                <a:gd name="connsiteX135" fmla="*/ 6720840 w 8071103"/>
                <a:gd name="connsiteY135" fmla="*/ 1337215 h 1359693"/>
                <a:gd name="connsiteX136" fmla="*/ 6273832 w 8071103"/>
                <a:gd name="connsiteY136" fmla="*/ 1337215 h 1359693"/>
                <a:gd name="connsiteX137" fmla="*/ 6273832 w 8071103"/>
                <a:gd name="connsiteY137" fmla="*/ 22574 h 1359693"/>
                <a:gd name="connsiteX138" fmla="*/ 6846665 w 8071103"/>
                <a:gd name="connsiteY138" fmla="*/ 1074230 h 1359693"/>
                <a:gd name="connsiteX139" fmla="*/ 6846665 w 8071103"/>
                <a:gd name="connsiteY139" fmla="*/ 283559 h 1359693"/>
                <a:gd name="connsiteX140" fmla="*/ 7154704 w 8071103"/>
                <a:gd name="connsiteY140" fmla="*/ 0 h 1359693"/>
                <a:gd name="connsiteX141" fmla="*/ 7462742 w 8071103"/>
                <a:gd name="connsiteY141" fmla="*/ 283559 h 1359693"/>
                <a:gd name="connsiteX142" fmla="*/ 7462742 w 8071103"/>
                <a:gd name="connsiteY142" fmla="*/ 557784 h 1359693"/>
                <a:gd name="connsiteX143" fmla="*/ 7226142 w 8071103"/>
                <a:gd name="connsiteY143" fmla="*/ 557784 h 1359693"/>
                <a:gd name="connsiteX144" fmla="*/ 7226142 w 8071103"/>
                <a:gd name="connsiteY144" fmla="*/ 285464 h 1359693"/>
                <a:gd name="connsiteX145" fmla="*/ 7154800 w 8071103"/>
                <a:gd name="connsiteY145" fmla="*/ 215932 h 1359693"/>
                <a:gd name="connsiteX146" fmla="*/ 7083457 w 8071103"/>
                <a:gd name="connsiteY146" fmla="*/ 285464 h 1359693"/>
                <a:gd name="connsiteX147" fmla="*/ 7083457 w 8071103"/>
                <a:gd name="connsiteY147" fmla="*/ 1074230 h 1359693"/>
                <a:gd name="connsiteX148" fmla="*/ 7154800 w 8071103"/>
                <a:gd name="connsiteY148" fmla="*/ 1143667 h 1359693"/>
                <a:gd name="connsiteX149" fmla="*/ 7226142 w 8071103"/>
                <a:gd name="connsiteY149" fmla="*/ 1074230 h 1359693"/>
                <a:gd name="connsiteX150" fmla="*/ 7226142 w 8071103"/>
                <a:gd name="connsiteY150" fmla="*/ 783146 h 1359693"/>
                <a:gd name="connsiteX151" fmla="*/ 7462742 w 8071103"/>
                <a:gd name="connsiteY151" fmla="*/ 783146 h 1359693"/>
                <a:gd name="connsiteX152" fmla="*/ 7462742 w 8071103"/>
                <a:gd name="connsiteY152" fmla="*/ 1074230 h 1359693"/>
                <a:gd name="connsiteX153" fmla="*/ 7154704 w 8071103"/>
                <a:gd name="connsiteY153" fmla="*/ 1359694 h 1359693"/>
                <a:gd name="connsiteX154" fmla="*/ 6846665 w 8071103"/>
                <a:gd name="connsiteY154" fmla="*/ 1074230 h 1359693"/>
                <a:gd name="connsiteX155" fmla="*/ 7699248 w 8071103"/>
                <a:gd name="connsiteY155" fmla="*/ 238506 h 1359693"/>
                <a:gd name="connsiteX156" fmla="*/ 7563993 w 8071103"/>
                <a:gd name="connsiteY156" fmla="*/ 238506 h 1359693"/>
                <a:gd name="connsiteX157" fmla="*/ 7563993 w 8071103"/>
                <a:gd name="connsiteY157" fmla="*/ 22479 h 1359693"/>
                <a:gd name="connsiteX158" fmla="*/ 8071104 w 8071103"/>
                <a:gd name="connsiteY158" fmla="*/ 22479 h 1359693"/>
                <a:gd name="connsiteX159" fmla="*/ 8071104 w 8071103"/>
                <a:gd name="connsiteY159" fmla="*/ 238506 h 1359693"/>
                <a:gd name="connsiteX160" fmla="*/ 7935850 w 8071103"/>
                <a:gd name="connsiteY160" fmla="*/ 238506 h 1359693"/>
                <a:gd name="connsiteX161" fmla="*/ 7935850 w 8071103"/>
                <a:gd name="connsiteY161" fmla="*/ 1337120 h 1359693"/>
                <a:gd name="connsiteX162" fmla="*/ 7699248 w 8071103"/>
                <a:gd name="connsiteY162" fmla="*/ 1337120 h 1359693"/>
                <a:gd name="connsiteX163" fmla="*/ 7699248 w 8071103"/>
                <a:gd name="connsiteY163" fmla="*/ 238506 h 1359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8071103" h="1359693">
                  <a:moveTo>
                    <a:pt x="0" y="1074230"/>
                  </a:moveTo>
                  <a:lnTo>
                    <a:pt x="0" y="283559"/>
                  </a:lnTo>
                  <a:cubicBezTo>
                    <a:pt x="0" y="114490"/>
                    <a:pt x="123920" y="0"/>
                    <a:pt x="308038" y="0"/>
                  </a:cubicBezTo>
                  <a:cubicBezTo>
                    <a:pt x="492157" y="0"/>
                    <a:pt x="616077" y="114586"/>
                    <a:pt x="616077" y="283559"/>
                  </a:cubicBezTo>
                  <a:lnTo>
                    <a:pt x="616077" y="557784"/>
                  </a:lnTo>
                  <a:lnTo>
                    <a:pt x="379476" y="557784"/>
                  </a:lnTo>
                  <a:lnTo>
                    <a:pt x="379476" y="285464"/>
                  </a:lnTo>
                  <a:cubicBezTo>
                    <a:pt x="379476" y="242316"/>
                    <a:pt x="351282" y="215932"/>
                    <a:pt x="308134" y="215932"/>
                  </a:cubicBezTo>
                  <a:cubicBezTo>
                    <a:pt x="264986" y="215932"/>
                    <a:pt x="236791" y="242221"/>
                    <a:pt x="236791" y="285464"/>
                  </a:cubicBezTo>
                  <a:lnTo>
                    <a:pt x="236791" y="1074230"/>
                  </a:lnTo>
                  <a:cubicBezTo>
                    <a:pt x="236791" y="1117378"/>
                    <a:pt x="264986" y="1143667"/>
                    <a:pt x="308134" y="1143667"/>
                  </a:cubicBezTo>
                  <a:cubicBezTo>
                    <a:pt x="351282" y="1143667"/>
                    <a:pt x="379476" y="1117378"/>
                    <a:pt x="379476" y="1074230"/>
                  </a:cubicBezTo>
                  <a:lnTo>
                    <a:pt x="379476" y="783146"/>
                  </a:lnTo>
                  <a:lnTo>
                    <a:pt x="616077" y="783146"/>
                  </a:lnTo>
                  <a:lnTo>
                    <a:pt x="616077" y="1074230"/>
                  </a:lnTo>
                  <a:cubicBezTo>
                    <a:pt x="616077" y="1245108"/>
                    <a:pt x="492157" y="1359694"/>
                    <a:pt x="308038" y="1359694"/>
                  </a:cubicBezTo>
                  <a:cubicBezTo>
                    <a:pt x="123920" y="1359694"/>
                    <a:pt x="0" y="1245108"/>
                    <a:pt x="0" y="1074230"/>
                  </a:cubicBezTo>
                  <a:close/>
                  <a:moveTo>
                    <a:pt x="762476" y="22574"/>
                  </a:moveTo>
                  <a:lnTo>
                    <a:pt x="999077" y="22574"/>
                  </a:lnTo>
                  <a:lnTo>
                    <a:pt x="999077" y="1121283"/>
                  </a:lnTo>
                  <a:lnTo>
                    <a:pt x="1198150" y="1121283"/>
                  </a:lnTo>
                  <a:lnTo>
                    <a:pt x="1198150" y="1337215"/>
                  </a:lnTo>
                  <a:lnTo>
                    <a:pt x="762476" y="1337215"/>
                  </a:lnTo>
                  <a:lnTo>
                    <a:pt x="762476" y="22574"/>
                  </a:lnTo>
                  <a:close/>
                  <a:moveTo>
                    <a:pt x="1293971" y="1074230"/>
                  </a:moveTo>
                  <a:lnTo>
                    <a:pt x="1293971" y="22479"/>
                  </a:lnTo>
                  <a:lnTo>
                    <a:pt x="1530572" y="22479"/>
                  </a:lnTo>
                  <a:lnTo>
                    <a:pt x="1530572" y="1074230"/>
                  </a:lnTo>
                  <a:cubicBezTo>
                    <a:pt x="1530572" y="1117378"/>
                    <a:pt x="1558766" y="1143667"/>
                    <a:pt x="1600105" y="1143667"/>
                  </a:cubicBezTo>
                  <a:cubicBezTo>
                    <a:pt x="1641443" y="1143667"/>
                    <a:pt x="1671447" y="1117378"/>
                    <a:pt x="1671447" y="1074230"/>
                  </a:cubicBezTo>
                  <a:lnTo>
                    <a:pt x="1671447" y="22479"/>
                  </a:lnTo>
                  <a:lnTo>
                    <a:pt x="1908048" y="22479"/>
                  </a:lnTo>
                  <a:lnTo>
                    <a:pt x="1908048" y="1074230"/>
                  </a:lnTo>
                  <a:cubicBezTo>
                    <a:pt x="1908048" y="1245108"/>
                    <a:pt x="1784128" y="1359694"/>
                    <a:pt x="1600009" y="1359694"/>
                  </a:cubicBezTo>
                  <a:cubicBezTo>
                    <a:pt x="1415891" y="1359694"/>
                    <a:pt x="1293876" y="1245108"/>
                    <a:pt x="1293876" y="1074230"/>
                  </a:cubicBezTo>
                  <a:close/>
                  <a:moveTo>
                    <a:pt x="2060162" y="22574"/>
                  </a:moveTo>
                  <a:lnTo>
                    <a:pt x="2394490" y="22574"/>
                  </a:lnTo>
                  <a:cubicBezTo>
                    <a:pt x="2561654" y="22574"/>
                    <a:pt x="2674335" y="125921"/>
                    <a:pt x="2674335" y="279844"/>
                  </a:cubicBezTo>
                  <a:lnTo>
                    <a:pt x="2674335" y="458248"/>
                  </a:lnTo>
                  <a:cubicBezTo>
                    <a:pt x="2674335" y="537115"/>
                    <a:pt x="2638616" y="617887"/>
                    <a:pt x="2565369" y="651701"/>
                  </a:cubicBezTo>
                  <a:lnTo>
                    <a:pt x="2565369" y="662940"/>
                  </a:lnTo>
                  <a:cubicBezTo>
                    <a:pt x="2644235" y="696754"/>
                    <a:pt x="2685574" y="781240"/>
                    <a:pt x="2685574" y="865727"/>
                  </a:cubicBezTo>
                  <a:lnTo>
                    <a:pt x="2685574" y="1079849"/>
                  </a:lnTo>
                  <a:cubicBezTo>
                    <a:pt x="2685574" y="1233869"/>
                    <a:pt x="2574798" y="1337120"/>
                    <a:pt x="2405729" y="1337120"/>
                  </a:cubicBezTo>
                  <a:lnTo>
                    <a:pt x="2060162" y="1337120"/>
                  </a:lnTo>
                  <a:lnTo>
                    <a:pt x="2060162" y="22574"/>
                  </a:lnTo>
                  <a:close/>
                  <a:moveTo>
                    <a:pt x="2296763" y="238506"/>
                  </a:moveTo>
                  <a:lnTo>
                    <a:pt x="2296763" y="569024"/>
                  </a:lnTo>
                  <a:lnTo>
                    <a:pt x="2366296" y="569024"/>
                  </a:lnTo>
                  <a:cubicBezTo>
                    <a:pt x="2409444" y="569024"/>
                    <a:pt x="2437638" y="540830"/>
                    <a:pt x="2437638" y="497681"/>
                  </a:cubicBezTo>
                  <a:lnTo>
                    <a:pt x="2437638" y="307943"/>
                  </a:lnTo>
                  <a:cubicBezTo>
                    <a:pt x="2437638" y="264795"/>
                    <a:pt x="2409444" y="238506"/>
                    <a:pt x="2366296" y="238506"/>
                  </a:cubicBezTo>
                  <a:lnTo>
                    <a:pt x="2296763" y="238506"/>
                  </a:lnTo>
                  <a:close/>
                  <a:moveTo>
                    <a:pt x="2296763" y="770001"/>
                  </a:moveTo>
                  <a:lnTo>
                    <a:pt x="2296763" y="1121188"/>
                  </a:lnTo>
                  <a:lnTo>
                    <a:pt x="2379440" y="1121188"/>
                  </a:lnTo>
                  <a:cubicBezTo>
                    <a:pt x="2420779" y="1121188"/>
                    <a:pt x="2448973" y="1094899"/>
                    <a:pt x="2448973" y="1051655"/>
                  </a:cubicBezTo>
                  <a:lnTo>
                    <a:pt x="2448973" y="841343"/>
                  </a:lnTo>
                  <a:cubicBezTo>
                    <a:pt x="2448973" y="798195"/>
                    <a:pt x="2420779" y="770001"/>
                    <a:pt x="2379440" y="770001"/>
                  </a:cubicBezTo>
                  <a:lnTo>
                    <a:pt x="2296763" y="770001"/>
                  </a:lnTo>
                  <a:close/>
                  <a:moveTo>
                    <a:pt x="3094482" y="1074230"/>
                  </a:moveTo>
                  <a:lnTo>
                    <a:pt x="3094482" y="283559"/>
                  </a:lnTo>
                  <a:cubicBezTo>
                    <a:pt x="3094482" y="114490"/>
                    <a:pt x="3218403" y="0"/>
                    <a:pt x="3402520" y="0"/>
                  </a:cubicBezTo>
                  <a:cubicBezTo>
                    <a:pt x="3586639" y="0"/>
                    <a:pt x="3710559" y="114586"/>
                    <a:pt x="3710559" y="283559"/>
                  </a:cubicBezTo>
                  <a:lnTo>
                    <a:pt x="3710559" y="557784"/>
                  </a:lnTo>
                  <a:lnTo>
                    <a:pt x="3473958" y="557784"/>
                  </a:lnTo>
                  <a:lnTo>
                    <a:pt x="3473958" y="285464"/>
                  </a:lnTo>
                  <a:cubicBezTo>
                    <a:pt x="3473958" y="242316"/>
                    <a:pt x="3445764" y="215932"/>
                    <a:pt x="3402616" y="215932"/>
                  </a:cubicBezTo>
                  <a:cubicBezTo>
                    <a:pt x="3359468" y="215932"/>
                    <a:pt x="3331274" y="242221"/>
                    <a:pt x="3331274" y="285464"/>
                  </a:cubicBezTo>
                  <a:lnTo>
                    <a:pt x="3331274" y="1074230"/>
                  </a:lnTo>
                  <a:cubicBezTo>
                    <a:pt x="3331274" y="1117378"/>
                    <a:pt x="3359468" y="1143667"/>
                    <a:pt x="3402616" y="1143667"/>
                  </a:cubicBezTo>
                  <a:cubicBezTo>
                    <a:pt x="3445764" y="1143667"/>
                    <a:pt x="3473958" y="1117378"/>
                    <a:pt x="3473958" y="1074230"/>
                  </a:cubicBezTo>
                  <a:lnTo>
                    <a:pt x="3473958" y="783146"/>
                  </a:lnTo>
                  <a:lnTo>
                    <a:pt x="3710559" y="783146"/>
                  </a:lnTo>
                  <a:lnTo>
                    <a:pt x="3710559" y="1074230"/>
                  </a:lnTo>
                  <a:cubicBezTo>
                    <a:pt x="3710559" y="1245108"/>
                    <a:pt x="3586639" y="1359694"/>
                    <a:pt x="3402520" y="1359694"/>
                  </a:cubicBezTo>
                  <a:cubicBezTo>
                    <a:pt x="3218403" y="1359694"/>
                    <a:pt x="3094482" y="1245108"/>
                    <a:pt x="3094482" y="1074230"/>
                  </a:cubicBezTo>
                  <a:close/>
                  <a:moveTo>
                    <a:pt x="3849434" y="1074230"/>
                  </a:moveTo>
                  <a:lnTo>
                    <a:pt x="3849434" y="283559"/>
                  </a:lnTo>
                  <a:cubicBezTo>
                    <a:pt x="3849434" y="114490"/>
                    <a:pt x="3973354" y="0"/>
                    <a:pt x="4157472" y="0"/>
                  </a:cubicBezTo>
                  <a:cubicBezTo>
                    <a:pt x="4341590" y="0"/>
                    <a:pt x="4465511" y="114586"/>
                    <a:pt x="4465511" y="283559"/>
                  </a:cubicBezTo>
                  <a:lnTo>
                    <a:pt x="4465511" y="1074230"/>
                  </a:lnTo>
                  <a:cubicBezTo>
                    <a:pt x="4465511" y="1245108"/>
                    <a:pt x="4341590" y="1359694"/>
                    <a:pt x="4157472" y="1359694"/>
                  </a:cubicBezTo>
                  <a:cubicBezTo>
                    <a:pt x="3973354" y="1359694"/>
                    <a:pt x="3849434" y="1245108"/>
                    <a:pt x="3849434" y="1074230"/>
                  </a:cubicBezTo>
                  <a:close/>
                  <a:moveTo>
                    <a:pt x="4228814" y="1074230"/>
                  </a:moveTo>
                  <a:lnTo>
                    <a:pt x="4228814" y="285464"/>
                  </a:lnTo>
                  <a:cubicBezTo>
                    <a:pt x="4228814" y="242316"/>
                    <a:pt x="4200621" y="215932"/>
                    <a:pt x="4157472" y="215932"/>
                  </a:cubicBezTo>
                  <a:cubicBezTo>
                    <a:pt x="4114324" y="215932"/>
                    <a:pt x="4086130" y="242221"/>
                    <a:pt x="4086130" y="285464"/>
                  </a:cubicBezTo>
                  <a:lnTo>
                    <a:pt x="4086130" y="1074230"/>
                  </a:lnTo>
                  <a:cubicBezTo>
                    <a:pt x="4086130" y="1117378"/>
                    <a:pt x="4114324" y="1143667"/>
                    <a:pt x="4157472" y="1143667"/>
                  </a:cubicBezTo>
                  <a:cubicBezTo>
                    <a:pt x="4200621" y="1143667"/>
                    <a:pt x="4228814" y="1117378"/>
                    <a:pt x="4228814" y="1074230"/>
                  </a:cubicBezTo>
                  <a:close/>
                  <a:moveTo>
                    <a:pt x="4613720" y="22574"/>
                  </a:moveTo>
                  <a:lnTo>
                    <a:pt x="4886039" y="22574"/>
                  </a:lnTo>
                  <a:lnTo>
                    <a:pt x="5021294" y="646081"/>
                  </a:lnTo>
                  <a:lnTo>
                    <a:pt x="5040059" y="811340"/>
                  </a:lnTo>
                  <a:lnTo>
                    <a:pt x="5071967" y="811340"/>
                  </a:lnTo>
                  <a:lnTo>
                    <a:pt x="5051298" y="646081"/>
                  </a:lnTo>
                  <a:lnTo>
                    <a:pt x="5051298" y="22574"/>
                  </a:lnTo>
                  <a:lnTo>
                    <a:pt x="5287899" y="22574"/>
                  </a:lnTo>
                  <a:lnTo>
                    <a:pt x="5287899" y="1337215"/>
                  </a:lnTo>
                  <a:lnTo>
                    <a:pt x="5017485" y="1337215"/>
                  </a:lnTo>
                  <a:lnTo>
                    <a:pt x="4882230" y="713708"/>
                  </a:lnTo>
                  <a:lnTo>
                    <a:pt x="4861560" y="548450"/>
                  </a:lnTo>
                  <a:lnTo>
                    <a:pt x="4829651" y="548450"/>
                  </a:lnTo>
                  <a:lnTo>
                    <a:pt x="4850320" y="713708"/>
                  </a:lnTo>
                  <a:lnTo>
                    <a:pt x="4850320" y="1337215"/>
                  </a:lnTo>
                  <a:lnTo>
                    <a:pt x="4613720" y="1337215"/>
                  </a:lnTo>
                  <a:lnTo>
                    <a:pt x="4613720" y="22574"/>
                  </a:lnTo>
                  <a:close/>
                  <a:moveTo>
                    <a:pt x="5443823" y="22574"/>
                  </a:moveTo>
                  <a:lnTo>
                    <a:pt x="5716143" y="22574"/>
                  </a:lnTo>
                  <a:lnTo>
                    <a:pt x="5851398" y="646081"/>
                  </a:lnTo>
                  <a:lnTo>
                    <a:pt x="5870162" y="811340"/>
                  </a:lnTo>
                  <a:lnTo>
                    <a:pt x="5902071" y="811340"/>
                  </a:lnTo>
                  <a:lnTo>
                    <a:pt x="5881402" y="646081"/>
                  </a:lnTo>
                  <a:lnTo>
                    <a:pt x="5881402" y="22574"/>
                  </a:lnTo>
                  <a:lnTo>
                    <a:pt x="6118003" y="22574"/>
                  </a:lnTo>
                  <a:lnTo>
                    <a:pt x="6118003" y="1337215"/>
                  </a:lnTo>
                  <a:lnTo>
                    <a:pt x="5847588" y="1337215"/>
                  </a:lnTo>
                  <a:lnTo>
                    <a:pt x="5712333" y="713708"/>
                  </a:lnTo>
                  <a:lnTo>
                    <a:pt x="5691664" y="548450"/>
                  </a:lnTo>
                  <a:lnTo>
                    <a:pt x="5659755" y="548450"/>
                  </a:lnTo>
                  <a:lnTo>
                    <a:pt x="5680424" y="713708"/>
                  </a:lnTo>
                  <a:lnTo>
                    <a:pt x="5680424" y="1337215"/>
                  </a:lnTo>
                  <a:lnTo>
                    <a:pt x="5443823" y="1337215"/>
                  </a:lnTo>
                  <a:lnTo>
                    <a:pt x="5443823" y="22574"/>
                  </a:lnTo>
                  <a:close/>
                  <a:moveTo>
                    <a:pt x="6273832" y="22574"/>
                  </a:moveTo>
                  <a:lnTo>
                    <a:pt x="6720840" y="22574"/>
                  </a:lnTo>
                  <a:lnTo>
                    <a:pt x="6720840" y="238601"/>
                  </a:lnTo>
                  <a:lnTo>
                    <a:pt x="6510528" y="238601"/>
                  </a:lnTo>
                  <a:lnTo>
                    <a:pt x="6510528" y="565404"/>
                  </a:lnTo>
                  <a:lnTo>
                    <a:pt x="6700172" y="565404"/>
                  </a:lnTo>
                  <a:lnTo>
                    <a:pt x="6700172" y="775716"/>
                  </a:lnTo>
                  <a:lnTo>
                    <a:pt x="6510528" y="775716"/>
                  </a:lnTo>
                  <a:lnTo>
                    <a:pt x="6510528" y="1121283"/>
                  </a:lnTo>
                  <a:lnTo>
                    <a:pt x="6720840" y="1121283"/>
                  </a:lnTo>
                  <a:lnTo>
                    <a:pt x="6720840" y="1337215"/>
                  </a:lnTo>
                  <a:lnTo>
                    <a:pt x="6273832" y="1337215"/>
                  </a:lnTo>
                  <a:lnTo>
                    <a:pt x="6273832" y="22574"/>
                  </a:lnTo>
                  <a:close/>
                  <a:moveTo>
                    <a:pt x="6846665" y="1074230"/>
                  </a:moveTo>
                  <a:lnTo>
                    <a:pt x="6846665" y="283559"/>
                  </a:lnTo>
                  <a:cubicBezTo>
                    <a:pt x="6846665" y="114490"/>
                    <a:pt x="6970585" y="0"/>
                    <a:pt x="7154704" y="0"/>
                  </a:cubicBezTo>
                  <a:cubicBezTo>
                    <a:pt x="7338822" y="0"/>
                    <a:pt x="7462742" y="114586"/>
                    <a:pt x="7462742" y="283559"/>
                  </a:cubicBezTo>
                  <a:lnTo>
                    <a:pt x="7462742" y="557784"/>
                  </a:lnTo>
                  <a:lnTo>
                    <a:pt x="7226142" y="557784"/>
                  </a:lnTo>
                  <a:lnTo>
                    <a:pt x="7226142" y="285464"/>
                  </a:lnTo>
                  <a:cubicBezTo>
                    <a:pt x="7226142" y="242316"/>
                    <a:pt x="7197947" y="215932"/>
                    <a:pt x="7154800" y="215932"/>
                  </a:cubicBezTo>
                  <a:cubicBezTo>
                    <a:pt x="7111651" y="215932"/>
                    <a:pt x="7083457" y="242221"/>
                    <a:pt x="7083457" y="285464"/>
                  </a:cubicBezTo>
                  <a:lnTo>
                    <a:pt x="7083457" y="1074230"/>
                  </a:lnTo>
                  <a:cubicBezTo>
                    <a:pt x="7083457" y="1117378"/>
                    <a:pt x="7111651" y="1143667"/>
                    <a:pt x="7154800" y="1143667"/>
                  </a:cubicBezTo>
                  <a:cubicBezTo>
                    <a:pt x="7197947" y="1143667"/>
                    <a:pt x="7226142" y="1117378"/>
                    <a:pt x="7226142" y="1074230"/>
                  </a:cubicBezTo>
                  <a:lnTo>
                    <a:pt x="7226142" y="783146"/>
                  </a:lnTo>
                  <a:lnTo>
                    <a:pt x="7462742" y="783146"/>
                  </a:lnTo>
                  <a:lnTo>
                    <a:pt x="7462742" y="1074230"/>
                  </a:lnTo>
                  <a:cubicBezTo>
                    <a:pt x="7462742" y="1245108"/>
                    <a:pt x="7338822" y="1359694"/>
                    <a:pt x="7154704" y="1359694"/>
                  </a:cubicBezTo>
                  <a:cubicBezTo>
                    <a:pt x="6970585" y="1359694"/>
                    <a:pt x="6846665" y="1245108"/>
                    <a:pt x="6846665" y="1074230"/>
                  </a:cubicBezTo>
                  <a:close/>
                  <a:moveTo>
                    <a:pt x="7699248" y="238506"/>
                  </a:moveTo>
                  <a:lnTo>
                    <a:pt x="7563993" y="238506"/>
                  </a:lnTo>
                  <a:lnTo>
                    <a:pt x="7563993" y="22479"/>
                  </a:lnTo>
                  <a:lnTo>
                    <a:pt x="8071104" y="22479"/>
                  </a:lnTo>
                  <a:lnTo>
                    <a:pt x="8071104" y="238506"/>
                  </a:lnTo>
                  <a:lnTo>
                    <a:pt x="7935850" y="238506"/>
                  </a:lnTo>
                  <a:lnTo>
                    <a:pt x="7935850" y="1337120"/>
                  </a:lnTo>
                  <a:lnTo>
                    <a:pt x="7699248" y="1337120"/>
                  </a:lnTo>
                  <a:lnTo>
                    <a:pt x="7699248" y="238506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1775646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8" name="Text Placeholder 60">
            <a:extLst>
              <a:ext uri="{FF2B5EF4-FFF2-40B4-BE49-F238E27FC236}">
                <a16:creationId xmlns:a16="http://schemas.microsoft.com/office/drawing/2014/main" id="{E2FE5B23-E796-9845-AEB3-C0E6F3C3AD0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73575" y="2553992"/>
            <a:ext cx="2429131" cy="342674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9" name="Tytuł 1">
            <a:extLst>
              <a:ext uri="{FF2B5EF4-FFF2-40B4-BE49-F238E27FC236}">
                <a16:creationId xmlns:a16="http://schemas.microsoft.com/office/drawing/2014/main" id="{4EC41BCE-7E61-D64D-AE59-BED013FB7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67F42A08-C50E-F94C-BBE1-66A51F0CFFC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Pie Chart</a:t>
            </a:r>
          </a:p>
        </p:txBody>
      </p:sp>
      <p:sp>
        <p:nvSpPr>
          <p:cNvPr id="11" name="Chart Placeholder 2">
            <a:extLst>
              <a:ext uri="{FF2B5EF4-FFF2-40B4-BE49-F238E27FC236}">
                <a16:creationId xmlns:a16="http://schemas.microsoft.com/office/drawing/2014/main" id="{164FAD95-5B35-C04C-960B-FF68DB61F234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3840187" y="2553992"/>
            <a:ext cx="7505451" cy="3452807"/>
          </a:xfrm>
        </p:spPr>
        <p:txBody>
          <a:bodyPr/>
          <a:lstStyle/>
          <a:p>
            <a:endParaRPr lang="en-VN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C99B4826-B08E-408F-B8D3-9A05CF3AA0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773511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1CEA65-8B76-C3F7-0CA1-FE5A6B507C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38BFAF-A622-25EC-FA43-C1DDC0906ED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362" y="1376363"/>
            <a:ext cx="10739437" cy="5119686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9676920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A63F74-8B33-4956-6FA3-CAB729EE5B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4971D10-6B1F-87D9-5036-7BB9F42B8B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363" y="1376363"/>
            <a:ext cx="5227638" cy="5119686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F2932E8-640D-93FF-3457-6441D5500DA9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5873345" y="1376363"/>
            <a:ext cx="5227638" cy="5119686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281996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A63F74-8B33-4956-6FA3-CAB729EE5B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4971D10-6B1F-87D9-5036-7BB9F42B8B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363" y="1376363"/>
            <a:ext cx="3408362" cy="5119686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C28B8-B30C-E422-67BD-A2175BCB5621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028596" y="1376363"/>
            <a:ext cx="3408362" cy="5119686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251E95B-749A-D8E1-4143-5A9C417B03F4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7696828" y="1376363"/>
            <a:ext cx="3408362" cy="5119686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6724690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A63F74-8B33-4956-6FA3-CAB729EE5B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4971D10-6B1F-87D9-5036-7BB9F42B8B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363" y="1376363"/>
            <a:ext cx="5227638" cy="5119686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F2932E8-640D-93FF-3457-6441D5500DA9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5873345" y="1376363"/>
            <a:ext cx="5227638" cy="5119686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0B7C2347-80FB-9BAA-CBBB-8DDE55D3A49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362" y="884148"/>
            <a:ext cx="10739438" cy="300924"/>
          </a:xfrm>
        </p:spPr>
        <p:txBody>
          <a:bodyPr/>
          <a:lstStyle>
            <a:lvl1pPr>
              <a:defRPr b="0">
                <a:solidFill>
                  <a:srgbClr val="83DD00"/>
                </a:solidFill>
              </a:defRPr>
            </a:lvl1pPr>
          </a:lstStyle>
          <a:p>
            <a:pPr lvl="0"/>
            <a:r>
              <a:rPr lang="en-US"/>
              <a:t>Add optional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0493182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A63F74-8B33-4956-6FA3-CAB729EE5B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4971D10-6B1F-87D9-5036-7BB9F42B8B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363" y="1376363"/>
            <a:ext cx="3408362" cy="5119686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C28B8-B30C-E422-67BD-A2175BCB5621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028596" y="1376363"/>
            <a:ext cx="3408362" cy="5119686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251E95B-749A-D8E1-4143-5A9C417B03F4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7696828" y="1376363"/>
            <a:ext cx="3408362" cy="5119686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A8FA2E5-9102-A172-3168-AE597101A0C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62" y="884148"/>
            <a:ext cx="10739438" cy="300924"/>
          </a:xfrm>
        </p:spPr>
        <p:txBody>
          <a:bodyPr/>
          <a:lstStyle>
            <a:lvl1pPr>
              <a:defRPr b="0">
                <a:solidFill>
                  <a:srgbClr val="83DD00"/>
                </a:solidFill>
              </a:defRPr>
            </a:lvl1pPr>
          </a:lstStyle>
          <a:p>
            <a:pPr lvl="0"/>
            <a:r>
              <a:rPr lang="en-US"/>
              <a:t>Add optional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10607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ntent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A63F74-8B33-4956-6FA3-CAB729EE5B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3" y="273499"/>
            <a:ext cx="5227638" cy="5313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4971D10-6B1F-87D9-5036-7BB9F42B8B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363" y="1376363"/>
            <a:ext cx="5227638" cy="5119685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3A111AF0-AFA8-16DE-80F3-7FC9AE2B7F9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872162" y="-1"/>
            <a:ext cx="5605463" cy="6850063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38400185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ntent pic L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A63F74-8B33-4956-6FA3-CAB729EE5B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2162" y="273499"/>
            <a:ext cx="5227638" cy="5313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4971D10-6B1F-87D9-5036-7BB9F42B8B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872162" y="1376363"/>
            <a:ext cx="5227638" cy="5119685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3A111AF0-AFA8-16DE-80F3-7FC9AE2B7F9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968"/>
            <a:ext cx="5588000" cy="6850063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1702835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ntent p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A63F74-8B33-4956-6FA3-CAB729EE5B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2" y="273499"/>
            <a:ext cx="7077075" cy="5313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4971D10-6B1F-87D9-5036-7BB9F42B8B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363" y="1376363"/>
            <a:ext cx="3408362" cy="5119685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3A111AF0-AFA8-16DE-80F3-7FC9AE2B7F9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86675" y="-1"/>
            <a:ext cx="3790950" cy="6850063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0DC12B-B607-730C-28A1-1881A320CA9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33912" y="1376363"/>
            <a:ext cx="3408362" cy="5119685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3443A7F-9478-4396-5AA6-6AD9E7EA27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2" y="884148"/>
            <a:ext cx="7077075" cy="239258"/>
          </a:xfrm>
        </p:spPr>
        <p:txBody>
          <a:bodyPr/>
          <a:lstStyle>
            <a:lvl1pPr>
              <a:defRPr b="0">
                <a:solidFill>
                  <a:srgbClr val="83DD00"/>
                </a:solidFill>
              </a:defRPr>
            </a:lvl1pPr>
          </a:lstStyle>
          <a:p>
            <a:pPr lvl="0"/>
            <a:r>
              <a:rPr lang="en-US"/>
              <a:t>Add optional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1226198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ntent pic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E51DB7F-7A5C-9497-5494-31F0CD16649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771513" y="1"/>
            <a:ext cx="3706112" cy="6861975"/>
          </a:xfrm>
          <a:custGeom>
            <a:avLst/>
            <a:gdLst>
              <a:gd name="connsiteX0" fmla="*/ 1347905 w 3706112"/>
              <a:gd name="connsiteY0" fmla="*/ 0 h 6861975"/>
              <a:gd name="connsiteX1" fmla="*/ 3706112 w 3706112"/>
              <a:gd name="connsiteY1" fmla="*/ 0 h 6861975"/>
              <a:gd name="connsiteX2" fmla="*/ 3706112 w 3706112"/>
              <a:gd name="connsiteY2" fmla="*/ 6861975 h 6861975"/>
              <a:gd name="connsiteX3" fmla="*/ 1520082 w 3706112"/>
              <a:gd name="connsiteY3" fmla="*/ 6861975 h 6861975"/>
              <a:gd name="connsiteX4" fmla="*/ 1256698 w 3706112"/>
              <a:gd name="connsiteY4" fmla="*/ 6597016 h 6861975"/>
              <a:gd name="connsiteX5" fmla="*/ 0 w 3706112"/>
              <a:gd name="connsiteY5" fmla="*/ 3344384 h 6861975"/>
              <a:gd name="connsiteX6" fmla="*/ 1256698 w 3706112"/>
              <a:gd name="connsiteY6" fmla="*/ 91753 h 686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06112" h="6861975">
                <a:moveTo>
                  <a:pt x="1347905" y="0"/>
                </a:moveTo>
                <a:lnTo>
                  <a:pt x="3706112" y="0"/>
                </a:lnTo>
                <a:lnTo>
                  <a:pt x="3706112" y="6861975"/>
                </a:lnTo>
                <a:lnTo>
                  <a:pt x="1520082" y="6861975"/>
                </a:lnTo>
                <a:lnTo>
                  <a:pt x="1256698" y="6597016"/>
                </a:lnTo>
                <a:cubicBezTo>
                  <a:pt x="475890" y="5737937"/>
                  <a:pt x="0" y="4596735"/>
                  <a:pt x="0" y="3344384"/>
                </a:cubicBezTo>
                <a:cubicBezTo>
                  <a:pt x="0" y="2092033"/>
                  <a:pt x="475891" y="950832"/>
                  <a:pt x="1256698" y="91753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bIns="1152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A63F74-8B33-4956-6FA3-CAB729EE5B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2" y="273499"/>
            <a:ext cx="7077075" cy="5313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4971D10-6B1F-87D9-5036-7BB9F42B8B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363" y="1376363"/>
            <a:ext cx="3408362" cy="5119685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0DC12B-B607-730C-28A1-1881A320CA9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33912" y="1376363"/>
            <a:ext cx="3408362" cy="5119685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D5FE43B-6333-7FCA-C89B-77D0D2ED3B3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2" y="884148"/>
            <a:ext cx="7077076" cy="284978"/>
          </a:xfrm>
        </p:spPr>
        <p:txBody>
          <a:bodyPr/>
          <a:lstStyle>
            <a:lvl1pPr>
              <a:defRPr b="0">
                <a:solidFill>
                  <a:srgbClr val="83DD00"/>
                </a:solidFill>
              </a:defRPr>
            </a:lvl1pPr>
          </a:lstStyle>
          <a:p>
            <a:pPr lvl="0"/>
            <a:r>
              <a:rPr lang="en-US"/>
              <a:t>Add optional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8496726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ntent pic LHS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A63F74-8B33-4956-6FA3-CAB729EE5B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29074" y="273499"/>
            <a:ext cx="7070725" cy="5313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4971D10-6B1F-87D9-5036-7BB9F42B8B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29075" y="1376363"/>
            <a:ext cx="3408363" cy="5119685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201BCCD-1455-F8D5-EFCB-241ED494603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968"/>
            <a:ext cx="3620829" cy="6850063"/>
          </a:xfrm>
          <a:custGeom>
            <a:avLst/>
            <a:gdLst>
              <a:gd name="connsiteX0" fmla="*/ 0 w 3620829"/>
              <a:gd name="connsiteY0" fmla="*/ 0 h 6850063"/>
              <a:gd name="connsiteX1" fmla="*/ 2276867 w 3620829"/>
              <a:gd name="connsiteY1" fmla="*/ 0 h 6850063"/>
              <a:gd name="connsiteX2" fmla="*/ 2364131 w 3620829"/>
              <a:gd name="connsiteY2" fmla="*/ 87786 h 6850063"/>
              <a:gd name="connsiteX3" fmla="*/ 3620829 w 3620829"/>
              <a:gd name="connsiteY3" fmla="*/ 3340417 h 6850063"/>
              <a:gd name="connsiteX4" fmla="*/ 2364131 w 3620829"/>
              <a:gd name="connsiteY4" fmla="*/ 6593049 h 6850063"/>
              <a:gd name="connsiteX5" fmla="*/ 2108645 w 3620829"/>
              <a:gd name="connsiteY5" fmla="*/ 6850063 h 6850063"/>
              <a:gd name="connsiteX6" fmla="*/ 0 w 3620829"/>
              <a:gd name="connsiteY6" fmla="*/ 6850063 h 6850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20829" h="6850063">
                <a:moveTo>
                  <a:pt x="0" y="0"/>
                </a:moveTo>
                <a:lnTo>
                  <a:pt x="2276867" y="0"/>
                </a:lnTo>
                <a:lnTo>
                  <a:pt x="2364131" y="87786"/>
                </a:lnTo>
                <a:cubicBezTo>
                  <a:pt x="3144938" y="946865"/>
                  <a:pt x="3620829" y="2088066"/>
                  <a:pt x="3620829" y="3340417"/>
                </a:cubicBezTo>
                <a:cubicBezTo>
                  <a:pt x="3620829" y="4592768"/>
                  <a:pt x="3144939" y="5733970"/>
                  <a:pt x="2364131" y="6593049"/>
                </a:cubicBezTo>
                <a:lnTo>
                  <a:pt x="2108645" y="6850063"/>
                </a:lnTo>
                <a:lnTo>
                  <a:pt x="0" y="685006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4D8A75-499D-0EB9-0C8B-ADF4DF637044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697307" y="1376363"/>
            <a:ext cx="3408363" cy="5119685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46884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3FAEAC0-0E6D-444A-95B5-0A3C93C47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9434" y="2970926"/>
            <a:ext cx="6697683" cy="1724480"/>
          </a:xfrm>
        </p:spPr>
        <p:txBody>
          <a:bodyPr anchor="t">
            <a:normAutofit/>
          </a:bodyPr>
          <a:lstStyle>
            <a:lvl1pPr>
              <a:defRPr sz="5500" b="1">
                <a:solidFill>
                  <a:schemeClr val="bg1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3072B88E-60B1-4951-ACB4-62501281AA6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149434" y="5018314"/>
            <a:ext cx="9198015" cy="996592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err="1"/>
              <a:t>Sub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7" name="Symbol zastępczy numeru slajdu 5">
            <a:extLst>
              <a:ext uri="{FF2B5EF4-FFF2-40B4-BE49-F238E27FC236}">
                <a16:creationId xmlns:a16="http://schemas.microsoft.com/office/drawing/2014/main" id="{2BFFDC2F-69F9-4006-A2A6-11998BCE2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C37AD4BE-6D4A-446E-9235-69971E43B1B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74713" y="2970926"/>
            <a:ext cx="1274721" cy="852930"/>
          </a:xfrm>
        </p:spPr>
        <p:txBody>
          <a:bodyPr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55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233101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BAE40"/>
          </p15:clr>
        </p15:guide>
        <p15:guide id="2" pos="7129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1" name="Text Placeholder 60">
            <a:extLst>
              <a:ext uri="{FF2B5EF4-FFF2-40B4-BE49-F238E27FC236}">
                <a16:creationId xmlns:a16="http://schemas.microsoft.com/office/drawing/2014/main" id="{DAD57A10-2378-C042-829B-CEFB0227B17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16507" y="2545433"/>
            <a:ext cx="2401916" cy="342674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2" name="Tytuł 1">
            <a:extLst>
              <a:ext uri="{FF2B5EF4-FFF2-40B4-BE49-F238E27FC236}">
                <a16:creationId xmlns:a16="http://schemas.microsoft.com/office/drawing/2014/main" id="{EB1AA903-786F-F64D-B96A-0589677BEA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D2CF7D0-12DF-BF46-848D-E5FE5C0598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Bar Chart</a:t>
            </a:r>
          </a:p>
        </p:txBody>
      </p:sp>
      <p:sp>
        <p:nvSpPr>
          <p:cNvPr id="15" name="Chart Placeholder 2">
            <a:extLst>
              <a:ext uri="{FF2B5EF4-FFF2-40B4-BE49-F238E27FC236}">
                <a16:creationId xmlns:a16="http://schemas.microsoft.com/office/drawing/2014/main" id="{AA973FBF-1D29-9D49-9CD1-CE28522BEE26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873575" y="2537783"/>
            <a:ext cx="7502933" cy="3434392"/>
          </a:xfrm>
        </p:spPr>
        <p:txBody>
          <a:bodyPr/>
          <a:lstStyle/>
          <a:p>
            <a:endParaRPr lang="en-VN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F365A329-3473-4832-BEFC-096C4691D3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37453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content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A63F74-8B33-4956-6FA3-CAB729EE5B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4971D10-6B1F-87D9-5036-7BB9F42B8B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363" y="4540101"/>
            <a:ext cx="5227638" cy="1955947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F2932E8-640D-93FF-3457-6441D5500DA9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5873345" y="4540101"/>
            <a:ext cx="5227638" cy="1955947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1909EA0-DEB5-A6C2-7111-B2C3016A69F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60362" y="1376363"/>
            <a:ext cx="5227637" cy="2993618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3A111AF0-AFA8-16DE-80F3-7FC9AE2B7F9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872162" y="1376363"/>
            <a:ext cx="5227637" cy="2993618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0AF9B1A-E4A5-8D2A-684F-EFC679C3AC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362" y="884148"/>
            <a:ext cx="10739438" cy="300924"/>
          </a:xfrm>
        </p:spPr>
        <p:txBody>
          <a:bodyPr/>
          <a:lstStyle>
            <a:lvl1pPr>
              <a:defRPr b="0">
                <a:solidFill>
                  <a:srgbClr val="83DD00"/>
                </a:solidFill>
              </a:defRPr>
            </a:lvl1pPr>
          </a:lstStyle>
          <a:p>
            <a:pPr lvl="0"/>
            <a:r>
              <a:rPr lang="en-US"/>
              <a:t>Add optional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7612980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content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A63F74-8B33-4956-6FA3-CAB729EE5B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4971D10-6B1F-87D9-5036-7BB9F42B8B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363" y="3833037"/>
            <a:ext cx="3408362" cy="2663012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5C28B8-B30C-E422-67BD-A2175BCB5621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028596" y="3833037"/>
            <a:ext cx="3408362" cy="2663012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4251E95B-749A-D8E1-4143-5A9C417B03F4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7696828" y="3833037"/>
            <a:ext cx="3408362" cy="2663012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AB3A3A51-BB97-79C5-976C-1A672D46892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60362" y="1376362"/>
            <a:ext cx="3408363" cy="229456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08F8D299-3BF6-3468-57AA-37572EA7F7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28596" y="1376362"/>
            <a:ext cx="3408363" cy="229456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BCE7F1EB-834D-F55E-7513-345E7C49AE8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96828" y="1376362"/>
            <a:ext cx="3408363" cy="229456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1289D6D-9E9B-A541-E9FA-21D030BDB6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362" y="884148"/>
            <a:ext cx="10739438" cy="300924"/>
          </a:xfrm>
        </p:spPr>
        <p:txBody>
          <a:bodyPr/>
          <a:lstStyle>
            <a:lvl1pPr>
              <a:defRPr b="0">
                <a:solidFill>
                  <a:srgbClr val="83DD00"/>
                </a:solidFill>
              </a:defRPr>
            </a:lvl1pPr>
          </a:lstStyle>
          <a:p>
            <a:pPr lvl="0"/>
            <a:r>
              <a:rPr lang="en-US"/>
              <a:t>Add optional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6444514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1CEA65-8B76-C3F7-0CA1-FE5A6B507C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29075" y="273499"/>
            <a:ext cx="7070725" cy="5845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38BFAF-A622-25EC-FA43-C1DDC0906ED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29075" y="1376363"/>
            <a:ext cx="7070725" cy="5119686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85A147-4715-EE5E-25D6-CD6EC9DDE5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9075" y="884148"/>
            <a:ext cx="7070726" cy="300924"/>
          </a:xfrm>
        </p:spPr>
        <p:txBody>
          <a:bodyPr/>
          <a:lstStyle>
            <a:lvl1pPr>
              <a:defRPr b="0">
                <a:solidFill>
                  <a:srgbClr val="83DD00"/>
                </a:solidFill>
              </a:defRPr>
            </a:lvl1pPr>
          </a:lstStyle>
          <a:p>
            <a:pPr lvl="0"/>
            <a:r>
              <a:rPr lang="en-US"/>
              <a:t>Add optional subtitle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FA45F3-1A43-AFEE-7D98-302380F8309B}"/>
              </a:ext>
            </a:extLst>
          </p:cNvPr>
          <p:cNvSpPr/>
          <p:nvPr userDrawn="1"/>
        </p:nvSpPr>
        <p:spPr>
          <a:xfrm>
            <a:off x="0" y="0"/>
            <a:ext cx="3668233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4F203C2-EC78-EA38-5D06-D1568F634335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751921" y="1151870"/>
            <a:ext cx="2164391" cy="4554260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 sz="2800" b="1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spcAft>
                <a:spcPts val="600"/>
              </a:spcAft>
              <a:defRPr sz="2800" b="1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Aft>
                <a:spcPts val="600"/>
              </a:spcAft>
              <a:defRPr sz="2800" b="1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Aft>
                <a:spcPts val="600"/>
              </a:spcAft>
              <a:defRPr sz="2800" b="1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Aft>
                <a:spcPts val="600"/>
              </a:spcAft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2655656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A63F74-8B33-4956-6FA3-CAB729EE5B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2161" y="273499"/>
            <a:ext cx="5227638" cy="5313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F2932E8-640D-93FF-3457-6441D5500DA9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5873345" y="1376363"/>
            <a:ext cx="5227638" cy="5119686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0B7C2347-80FB-9BAA-CBBB-8DDE55D3A49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72162" y="884148"/>
            <a:ext cx="5227638" cy="300924"/>
          </a:xfrm>
        </p:spPr>
        <p:txBody>
          <a:bodyPr/>
          <a:lstStyle>
            <a:lvl1pPr>
              <a:defRPr b="0">
                <a:solidFill>
                  <a:srgbClr val="83DD00"/>
                </a:solidFill>
              </a:defRPr>
            </a:lvl1pPr>
          </a:lstStyle>
          <a:p>
            <a:pPr lvl="0"/>
            <a:r>
              <a:rPr lang="en-US"/>
              <a:t>Add optional subtitle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1BE0456-6223-6A34-7936-9A3F9B464195}"/>
              </a:ext>
            </a:extLst>
          </p:cNvPr>
          <p:cNvSpPr/>
          <p:nvPr userDrawn="1"/>
        </p:nvSpPr>
        <p:spPr>
          <a:xfrm>
            <a:off x="0" y="0"/>
            <a:ext cx="550234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77C8455-5400-A6A4-371D-D3EDA049BC41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551398" y="948075"/>
            <a:ext cx="4399553" cy="4961851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 sz="2800" b="1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spcAft>
                <a:spcPts val="600"/>
              </a:spcAft>
              <a:defRPr sz="2800" b="1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Aft>
                <a:spcPts val="600"/>
              </a:spcAft>
              <a:defRPr sz="2800" b="1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Aft>
                <a:spcPts val="600"/>
              </a:spcAft>
              <a:defRPr sz="2800" b="1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Aft>
                <a:spcPts val="600"/>
              </a:spcAft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2654908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 bloc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1CEA65-8B76-C3F7-0CA1-FE5A6B507C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713" y="273499"/>
            <a:ext cx="7070725" cy="5845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38BFAF-A622-25EC-FA43-C1DDC0906ED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6713" y="1376363"/>
            <a:ext cx="7070725" cy="5119686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85A147-4715-EE5E-25D6-CD6EC9DDE5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713" y="884148"/>
            <a:ext cx="7070726" cy="300924"/>
          </a:xfrm>
        </p:spPr>
        <p:txBody>
          <a:bodyPr/>
          <a:lstStyle>
            <a:lvl1pPr>
              <a:defRPr b="0">
                <a:solidFill>
                  <a:srgbClr val="83DD00"/>
                </a:solidFill>
              </a:defRPr>
            </a:lvl1pPr>
          </a:lstStyle>
          <a:p>
            <a:pPr lvl="0"/>
            <a:r>
              <a:rPr lang="en-US"/>
              <a:t>Add optional subtitle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FA45F3-1A43-AFEE-7D98-302380F8309B}"/>
              </a:ext>
            </a:extLst>
          </p:cNvPr>
          <p:cNvSpPr/>
          <p:nvPr userDrawn="1"/>
        </p:nvSpPr>
        <p:spPr>
          <a:xfrm>
            <a:off x="7809392" y="0"/>
            <a:ext cx="366823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4F203C2-EC78-EA38-5D06-D1568F634335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561313" y="1151870"/>
            <a:ext cx="2164391" cy="4554260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 sz="2800" b="1">
                <a:solidFill>
                  <a:schemeClr val="tx2"/>
                </a:solidFill>
              </a:defRPr>
            </a:lvl1pPr>
            <a:lvl2pPr>
              <a:lnSpc>
                <a:spcPct val="110000"/>
              </a:lnSpc>
              <a:spcAft>
                <a:spcPts val="600"/>
              </a:spcAft>
              <a:defRPr sz="2800" b="1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spcAft>
                <a:spcPts val="600"/>
              </a:spcAft>
              <a:defRPr sz="2800" b="1">
                <a:solidFill>
                  <a:schemeClr val="tx2"/>
                </a:solidFill>
              </a:defRPr>
            </a:lvl3pPr>
            <a:lvl4pPr>
              <a:lnSpc>
                <a:spcPct val="110000"/>
              </a:lnSpc>
              <a:spcAft>
                <a:spcPts val="600"/>
              </a:spcAft>
              <a:defRPr sz="2800" b="1">
                <a:solidFill>
                  <a:schemeClr val="tx2"/>
                </a:solidFill>
              </a:defRPr>
            </a:lvl4pPr>
            <a:lvl5pPr>
              <a:lnSpc>
                <a:spcPct val="110000"/>
              </a:lnSpc>
              <a:spcAft>
                <a:spcPts val="600"/>
              </a:spcAft>
              <a:defRPr sz="28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1541792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4445F5-F559-84E9-65B9-8C4E0BB3BE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8346183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9902054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een background with small circles&#10;&#10;Description automatically generated">
            <a:extLst>
              <a:ext uri="{FF2B5EF4-FFF2-40B4-BE49-F238E27FC236}">
                <a16:creationId xmlns:a16="http://schemas.microsoft.com/office/drawing/2014/main" id="{FE20C99B-0817-C2E4-383C-5E273CC44C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5000"/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C2B404-9FBA-1E87-C027-2BB6C644C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49" y="3429000"/>
            <a:ext cx="5083175" cy="722866"/>
          </a:xfrm>
        </p:spPr>
        <p:txBody>
          <a:bodyPr anchor="b"/>
          <a:lstStyle>
            <a:lvl1pPr>
              <a:defRPr sz="5000">
                <a:solidFill>
                  <a:schemeClr val="accent2"/>
                </a:solidFill>
              </a:defRPr>
            </a:lvl1pPr>
          </a:lstStyle>
          <a:p>
            <a:r>
              <a:rPr lang="en-US"/>
              <a:t>Thank you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B53587-0701-2BC6-CC8A-7319C380CA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849" y="4614415"/>
            <a:ext cx="5083176" cy="1124818"/>
          </a:xfrm>
        </p:spPr>
        <p:txBody>
          <a:bodyPr/>
          <a:lstStyle>
            <a:lvl1pPr>
              <a:lnSpc>
                <a:spcPct val="110000"/>
              </a:lnSpc>
              <a:defRPr sz="1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Add optional contact info</a:t>
            </a:r>
            <a:endParaRPr lang="en-GB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1FCA1F3-62B5-C71B-D135-73E9DB172764}"/>
              </a:ext>
            </a:extLst>
          </p:cNvPr>
          <p:cNvGrpSpPr/>
          <p:nvPr userDrawn="1"/>
        </p:nvGrpSpPr>
        <p:grpSpPr>
          <a:xfrm>
            <a:off x="831850" y="1085024"/>
            <a:ext cx="3353494" cy="825804"/>
            <a:chOff x="13749337" y="746575"/>
            <a:chExt cx="11277504" cy="2777109"/>
          </a:xfrm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5D74723-591C-61E8-9A17-EE9A50999B0E}"/>
                </a:ext>
              </a:extLst>
            </p:cNvPr>
            <p:cNvSpPr/>
            <p:nvPr/>
          </p:nvSpPr>
          <p:spPr>
            <a:xfrm>
              <a:off x="13749337" y="746575"/>
              <a:ext cx="5114450" cy="2777109"/>
            </a:xfrm>
            <a:custGeom>
              <a:avLst/>
              <a:gdLst>
                <a:gd name="connsiteX0" fmla="*/ 5080826 w 5114450"/>
                <a:gd name="connsiteY0" fmla="*/ 664559 h 2777109"/>
                <a:gd name="connsiteX1" fmla="*/ 5114450 w 5114450"/>
                <a:gd name="connsiteY1" fmla="*/ 952786 h 2777109"/>
                <a:gd name="connsiteX2" fmla="*/ 4924234 w 5114450"/>
                <a:gd name="connsiteY2" fmla="*/ 952786 h 2777109"/>
                <a:gd name="connsiteX3" fmla="*/ 4911662 w 5114450"/>
                <a:gd name="connsiteY3" fmla="*/ 812292 h 2777109"/>
                <a:gd name="connsiteX4" fmla="*/ 4562570 w 5114450"/>
                <a:gd name="connsiteY4" fmla="*/ 812292 h 2777109"/>
                <a:gd name="connsiteX5" fmla="*/ 4196906 w 5114450"/>
                <a:gd name="connsiteY5" fmla="*/ 972026 h 2777109"/>
                <a:gd name="connsiteX6" fmla="*/ 4047362 w 5114450"/>
                <a:gd name="connsiteY6" fmla="*/ 952786 h 2777109"/>
                <a:gd name="connsiteX7" fmla="*/ 5080826 w 5114450"/>
                <a:gd name="connsiteY7" fmla="*/ 664559 h 2777109"/>
                <a:gd name="connsiteX8" fmla="*/ 4833462 w 5114450"/>
                <a:gd name="connsiteY8" fmla="*/ 250221 h 2777109"/>
                <a:gd name="connsiteX9" fmla="*/ 5031866 w 5114450"/>
                <a:gd name="connsiteY9" fmla="*/ 250221 h 2777109"/>
                <a:gd name="connsiteX10" fmla="*/ 5076634 w 5114450"/>
                <a:gd name="connsiteY10" fmla="*/ 629697 h 2777109"/>
                <a:gd name="connsiteX11" fmla="*/ 4896516 w 5114450"/>
                <a:gd name="connsiteY11" fmla="*/ 650176 h 2777109"/>
                <a:gd name="connsiteX12" fmla="*/ 4876418 w 5114450"/>
                <a:gd name="connsiteY12" fmla="*/ 423767 h 2777109"/>
                <a:gd name="connsiteX13" fmla="*/ 4658010 w 5114450"/>
                <a:gd name="connsiteY13" fmla="*/ 693610 h 2777109"/>
                <a:gd name="connsiteX14" fmla="*/ 4657914 w 5114450"/>
                <a:gd name="connsiteY14" fmla="*/ 693610 h 2777109"/>
                <a:gd name="connsiteX15" fmla="*/ 4412456 w 5114450"/>
                <a:gd name="connsiteY15" fmla="*/ 758856 h 2777109"/>
                <a:gd name="connsiteX16" fmla="*/ 4833462 w 5114450"/>
                <a:gd name="connsiteY16" fmla="*/ 250221 h 2777109"/>
                <a:gd name="connsiteX17" fmla="*/ 4326922 w 5114450"/>
                <a:gd name="connsiteY17" fmla="*/ 232600 h 2777109"/>
                <a:gd name="connsiteX18" fmla="*/ 4614670 w 5114450"/>
                <a:gd name="connsiteY18" fmla="*/ 329279 h 2777109"/>
                <a:gd name="connsiteX19" fmla="*/ 4508658 w 5114450"/>
                <a:gd name="connsiteY19" fmla="*/ 460438 h 2777109"/>
                <a:gd name="connsiteX20" fmla="*/ 4508658 w 5114450"/>
                <a:gd name="connsiteY20" fmla="*/ 460533 h 2777109"/>
                <a:gd name="connsiteX21" fmla="*/ 4299298 w 5114450"/>
                <a:gd name="connsiteY21" fmla="*/ 376999 h 2777109"/>
                <a:gd name="connsiteX22" fmla="*/ 4010024 w 5114450"/>
                <a:gd name="connsiteY22" fmla="*/ 619887 h 2777109"/>
                <a:gd name="connsiteX23" fmla="*/ 4113466 w 5114450"/>
                <a:gd name="connsiteY23" fmla="*/ 811911 h 2777109"/>
                <a:gd name="connsiteX24" fmla="*/ 4215670 w 5114450"/>
                <a:gd name="connsiteY24" fmla="*/ 826484 h 2777109"/>
                <a:gd name="connsiteX25" fmla="*/ 3928300 w 5114450"/>
                <a:gd name="connsiteY25" fmla="*/ 952881 h 2777109"/>
                <a:gd name="connsiteX26" fmla="*/ 3206400 w 5114450"/>
                <a:gd name="connsiteY26" fmla="*/ 952881 h 2777109"/>
                <a:gd name="connsiteX27" fmla="*/ 3454336 w 5114450"/>
                <a:gd name="connsiteY27" fmla="*/ 250317 h 2777109"/>
                <a:gd name="connsiteX28" fmla="*/ 3987164 w 5114450"/>
                <a:gd name="connsiteY28" fmla="*/ 250317 h 2777109"/>
                <a:gd name="connsiteX29" fmla="*/ 3871626 w 5114450"/>
                <a:gd name="connsiteY29" fmla="*/ 390810 h 2777109"/>
                <a:gd name="connsiteX30" fmla="*/ 3587590 w 5114450"/>
                <a:gd name="connsiteY30" fmla="*/ 390810 h 2777109"/>
                <a:gd name="connsiteX31" fmla="*/ 3544156 w 5114450"/>
                <a:gd name="connsiteY31" fmla="*/ 513683 h 2777109"/>
                <a:gd name="connsiteX32" fmla="*/ 3770470 w 5114450"/>
                <a:gd name="connsiteY32" fmla="*/ 513683 h 2777109"/>
                <a:gd name="connsiteX33" fmla="*/ 3655122 w 5114450"/>
                <a:gd name="connsiteY33" fmla="*/ 653796 h 2777109"/>
                <a:gd name="connsiteX34" fmla="*/ 3494722 w 5114450"/>
                <a:gd name="connsiteY34" fmla="*/ 653796 h 2777109"/>
                <a:gd name="connsiteX35" fmla="*/ 3438810 w 5114450"/>
                <a:gd name="connsiteY35" fmla="*/ 812101 h 2777109"/>
                <a:gd name="connsiteX36" fmla="*/ 3873530 w 5114450"/>
                <a:gd name="connsiteY36" fmla="*/ 812101 h 2777109"/>
                <a:gd name="connsiteX37" fmla="*/ 3829430 w 5114450"/>
                <a:gd name="connsiteY37" fmla="*/ 629793 h 2777109"/>
                <a:gd name="connsiteX38" fmla="*/ 4326922 w 5114450"/>
                <a:gd name="connsiteY38" fmla="*/ 232600 h 2777109"/>
                <a:gd name="connsiteX39" fmla="*/ 1567529 w 5114450"/>
                <a:gd name="connsiteY39" fmla="*/ 0 h 2777109"/>
                <a:gd name="connsiteX40" fmla="*/ 2797397 w 5114450"/>
                <a:gd name="connsiteY40" fmla="*/ 1388555 h 2777109"/>
                <a:gd name="connsiteX41" fmla="*/ 1567529 w 5114450"/>
                <a:gd name="connsiteY41" fmla="*/ 2777109 h 2777109"/>
                <a:gd name="connsiteX42" fmla="*/ 1567529 w 5114450"/>
                <a:gd name="connsiteY42" fmla="*/ 2003965 h 2777109"/>
                <a:gd name="connsiteX43" fmla="*/ 2036921 w 5114450"/>
                <a:gd name="connsiteY43" fmla="*/ 1388555 h 2777109"/>
                <a:gd name="connsiteX44" fmla="*/ 1567529 w 5114450"/>
                <a:gd name="connsiteY44" fmla="*/ 773144 h 2777109"/>
                <a:gd name="connsiteX45" fmla="*/ 1229868 w 5114450"/>
                <a:gd name="connsiteY45" fmla="*/ 0 h 2777109"/>
                <a:gd name="connsiteX46" fmla="*/ 1229868 w 5114450"/>
                <a:gd name="connsiteY46" fmla="*/ 773144 h 2777109"/>
                <a:gd name="connsiteX47" fmla="*/ 760476 w 5114450"/>
                <a:gd name="connsiteY47" fmla="*/ 1388555 h 2777109"/>
                <a:gd name="connsiteX48" fmla="*/ 1229868 w 5114450"/>
                <a:gd name="connsiteY48" fmla="*/ 2003965 h 2777109"/>
                <a:gd name="connsiteX49" fmla="*/ 1229868 w 5114450"/>
                <a:gd name="connsiteY49" fmla="*/ 2777109 h 2777109"/>
                <a:gd name="connsiteX50" fmla="*/ 0 w 5114450"/>
                <a:gd name="connsiteY50" fmla="*/ 1388555 h 2777109"/>
                <a:gd name="connsiteX51" fmla="*/ 1229868 w 5114450"/>
                <a:gd name="connsiteY51" fmla="*/ 0 h 2777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114450" h="2777109">
                  <a:moveTo>
                    <a:pt x="5080826" y="664559"/>
                  </a:moveTo>
                  <a:lnTo>
                    <a:pt x="5114450" y="952786"/>
                  </a:lnTo>
                  <a:lnTo>
                    <a:pt x="4924234" y="952786"/>
                  </a:lnTo>
                  <a:cubicBezTo>
                    <a:pt x="4924234" y="952786"/>
                    <a:pt x="4911662" y="812292"/>
                    <a:pt x="4911662" y="812292"/>
                  </a:cubicBezTo>
                  <a:lnTo>
                    <a:pt x="4562570" y="812292"/>
                  </a:lnTo>
                  <a:cubicBezTo>
                    <a:pt x="4448746" y="938022"/>
                    <a:pt x="4354162" y="972026"/>
                    <a:pt x="4196906" y="972026"/>
                  </a:cubicBezTo>
                  <a:cubicBezTo>
                    <a:pt x="4140136" y="972026"/>
                    <a:pt x="4086892" y="965549"/>
                    <a:pt x="4047362" y="952786"/>
                  </a:cubicBezTo>
                  <a:cubicBezTo>
                    <a:pt x="4047362" y="952786"/>
                    <a:pt x="4500562" y="719233"/>
                    <a:pt x="5080826" y="664559"/>
                  </a:cubicBezTo>
                  <a:close/>
                  <a:moveTo>
                    <a:pt x="4833462" y="250221"/>
                  </a:moveTo>
                  <a:lnTo>
                    <a:pt x="5031866" y="250221"/>
                  </a:lnTo>
                  <a:lnTo>
                    <a:pt x="5076634" y="629697"/>
                  </a:lnTo>
                  <a:cubicBezTo>
                    <a:pt x="5016626" y="636079"/>
                    <a:pt x="4955094" y="641127"/>
                    <a:pt x="4896516" y="650176"/>
                  </a:cubicBezTo>
                  <a:lnTo>
                    <a:pt x="4876418" y="423767"/>
                  </a:lnTo>
                  <a:lnTo>
                    <a:pt x="4658010" y="693610"/>
                  </a:lnTo>
                  <a:lnTo>
                    <a:pt x="4657914" y="693610"/>
                  </a:lnTo>
                  <a:cubicBezTo>
                    <a:pt x="4574094" y="712470"/>
                    <a:pt x="4492274" y="734282"/>
                    <a:pt x="4412456" y="758856"/>
                  </a:cubicBezTo>
                  <a:cubicBezTo>
                    <a:pt x="4412456" y="758856"/>
                    <a:pt x="4833462" y="250221"/>
                    <a:pt x="4833462" y="250221"/>
                  </a:cubicBezTo>
                  <a:close/>
                  <a:moveTo>
                    <a:pt x="4326922" y="232600"/>
                  </a:moveTo>
                  <a:cubicBezTo>
                    <a:pt x="4449222" y="232600"/>
                    <a:pt x="4548090" y="269271"/>
                    <a:pt x="4614670" y="329279"/>
                  </a:cubicBezTo>
                  <a:lnTo>
                    <a:pt x="4508658" y="460438"/>
                  </a:lnTo>
                  <a:lnTo>
                    <a:pt x="4508658" y="460533"/>
                  </a:lnTo>
                  <a:cubicBezTo>
                    <a:pt x="4467130" y="414051"/>
                    <a:pt x="4383498" y="376999"/>
                    <a:pt x="4299298" y="376999"/>
                  </a:cubicBezTo>
                  <a:cubicBezTo>
                    <a:pt x="4128706" y="376999"/>
                    <a:pt x="4021930" y="498538"/>
                    <a:pt x="4010024" y="619887"/>
                  </a:cubicBezTo>
                  <a:cubicBezTo>
                    <a:pt x="3999928" y="723042"/>
                    <a:pt x="4035838" y="785241"/>
                    <a:pt x="4113466" y="811911"/>
                  </a:cubicBezTo>
                  <a:cubicBezTo>
                    <a:pt x="4156518" y="822769"/>
                    <a:pt x="4180902" y="825246"/>
                    <a:pt x="4215670" y="826484"/>
                  </a:cubicBezTo>
                  <a:cubicBezTo>
                    <a:pt x="4030408" y="898017"/>
                    <a:pt x="3928300" y="952881"/>
                    <a:pt x="3928300" y="952881"/>
                  </a:cubicBezTo>
                  <a:lnTo>
                    <a:pt x="3206400" y="952881"/>
                  </a:lnTo>
                  <a:cubicBezTo>
                    <a:pt x="3206400" y="952881"/>
                    <a:pt x="3454336" y="250317"/>
                    <a:pt x="3454336" y="250317"/>
                  </a:cubicBezTo>
                  <a:lnTo>
                    <a:pt x="3987164" y="250317"/>
                  </a:lnTo>
                  <a:cubicBezTo>
                    <a:pt x="3987164" y="250317"/>
                    <a:pt x="3871626" y="390810"/>
                    <a:pt x="3871626" y="390810"/>
                  </a:cubicBezTo>
                  <a:lnTo>
                    <a:pt x="3587590" y="390810"/>
                  </a:lnTo>
                  <a:cubicBezTo>
                    <a:pt x="3587590" y="390810"/>
                    <a:pt x="3544156" y="513683"/>
                    <a:pt x="3544156" y="513683"/>
                  </a:cubicBezTo>
                  <a:lnTo>
                    <a:pt x="3770470" y="513683"/>
                  </a:lnTo>
                  <a:cubicBezTo>
                    <a:pt x="3770470" y="513683"/>
                    <a:pt x="3655122" y="653796"/>
                    <a:pt x="3655122" y="653796"/>
                  </a:cubicBezTo>
                  <a:lnTo>
                    <a:pt x="3494722" y="653796"/>
                  </a:lnTo>
                  <a:cubicBezTo>
                    <a:pt x="3494722" y="653796"/>
                    <a:pt x="3438810" y="812101"/>
                    <a:pt x="3438810" y="812101"/>
                  </a:cubicBezTo>
                  <a:lnTo>
                    <a:pt x="3873530" y="812101"/>
                  </a:lnTo>
                  <a:cubicBezTo>
                    <a:pt x="3837336" y="752284"/>
                    <a:pt x="3826192" y="691610"/>
                    <a:pt x="3829430" y="629793"/>
                  </a:cubicBezTo>
                  <a:cubicBezTo>
                    <a:pt x="3840290" y="425481"/>
                    <a:pt x="4007454" y="232600"/>
                    <a:pt x="4326922" y="232600"/>
                  </a:cubicBezTo>
                  <a:close/>
                  <a:moveTo>
                    <a:pt x="1567529" y="0"/>
                  </a:moveTo>
                  <a:cubicBezTo>
                    <a:pt x="2260473" y="83344"/>
                    <a:pt x="2797397" y="673227"/>
                    <a:pt x="2797397" y="1388555"/>
                  </a:cubicBezTo>
                  <a:cubicBezTo>
                    <a:pt x="2797397" y="2103882"/>
                    <a:pt x="2260378" y="2693765"/>
                    <a:pt x="1567529" y="2777109"/>
                  </a:cubicBezTo>
                  <a:lnTo>
                    <a:pt x="1567529" y="2003965"/>
                  </a:lnTo>
                  <a:cubicBezTo>
                    <a:pt x="1837754" y="1929765"/>
                    <a:pt x="2036921" y="1682020"/>
                    <a:pt x="2036921" y="1388555"/>
                  </a:cubicBezTo>
                  <a:cubicBezTo>
                    <a:pt x="2036921" y="1095089"/>
                    <a:pt x="1837754" y="847344"/>
                    <a:pt x="1567529" y="773144"/>
                  </a:cubicBezTo>
                  <a:close/>
                  <a:moveTo>
                    <a:pt x="1229868" y="0"/>
                  </a:moveTo>
                  <a:lnTo>
                    <a:pt x="1229868" y="773144"/>
                  </a:lnTo>
                  <a:cubicBezTo>
                    <a:pt x="959644" y="847344"/>
                    <a:pt x="760476" y="1095089"/>
                    <a:pt x="760476" y="1388555"/>
                  </a:cubicBezTo>
                  <a:cubicBezTo>
                    <a:pt x="760476" y="1682020"/>
                    <a:pt x="959644" y="1929765"/>
                    <a:pt x="1229868" y="2003965"/>
                  </a:cubicBezTo>
                  <a:lnTo>
                    <a:pt x="1229868" y="2777109"/>
                  </a:lnTo>
                  <a:cubicBezTo>
                    <a:pt x="537020" y="2693765"/>
                    <a:pt x="0" y="2103882"/>
                    <a:pt x="0" y="1388555"/>
                  </a:cubicBezTo>
                  <a:cubicBezTo>
                    <a:pt x="0" y="673227"/>
                    <a:pt x="537020" y="83344"/>
                    <a:pt x="1229868" y="0"/>
                  </a:cubicBezTo>
                  <a:close/>
                </a:path>
              </a:pathLst>
            </a:custGeom>
            <a:solidFill>
              <a:schemeClr val="accent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F748AF8-4448-81DE-F0BA-A520C2A36C79}"/>
                </a:ext>
              </a:extLst>
            </p:cNvPr>
            <p:cNvSpPr/>
            <p:nvPr/>
          </p:nvSpPr>
          <p:spPr>
            <a:xfrm>
              <a:off x="16955738" y="1931294"/>
              <a:ext cx="8071103" cy="1359693"/>
            </a:xfrm>
            <a:custGeom>
              <a:avLst/>
              <a:gdLst>
                <a:gd name="connsiteX0" fmla="*/ 0 w 8071103"/>
                <a:gd name="connsiteY0" fmla="*/ 1074230 h 1359693"/>
                <a:gd name="connsiteX1" fmla="*/ 0 w 8071103"/>
                <a:gd name="connsiteY1" fmla="*/ 283559 h 1359693"/>
                <a:gd name="connsiteX2" fmla="*/ 308038 w 8071103"/>
                <a:gd name="connsiteY2" fmla="*/ 0 h 1359693"/>
                <a:gd name="connsiteX3" fmla="*/ 616077 w 8071103"/>
                <a:gd name="connsiteY3" fmla="*/ 283559 h 1359693"/>
                <a:gd name="connsiteX4" fmla="*/ 616077 w 8071103"/>
                <a:gd name="connsiteY4" fmla="*/ 557784 h 1359693"/>
                <a:gd name="connsiteX5" fmla="*/ 379476 w 8071103"/>
                <a:gd name="connsiteY5" fmla="*/ 557784 h 1359693"/>
                <a:gd name="connsiteX6" fmla="*/ 379476 w 8071103"/>
                <a:gd name="connsiteY6" fmla="*/ 285464 h 1359693"/>
                <a:gd name="connsiteX7" fmla="*/ 308134 w 8071103"/>
                <a:gd name="connsiteY7" fmla="*/ 215932 h 1359693"/>
                <a:gd name="connsiteX8" fmla="*/ 236791 w 8071103"/>
                <a:gd name="connsiteY8" fmla="*/ 285464 h 1359693"/>
                <a:gd name="connsiteX9" fmla="*/ 236791 w 8071103"/>
                <a:gd name="connsiteY9" fmla="*/ 1074230 h 1359693"/>
                <a:gd name="connsiteX10" fmla="*/ 308134 w 8071103"/>
                <a:gd name="connsiteY10" fmla="*/ 1143667 h 1359693"/>
                <a:gd name="connsiteX11" fmla="*/ 379476 w 8071103"/>
                <a:gd name="connsiteY11" fmla="*/ 1074230 h 1359693"/>
                <a:gd name="connsiteX12" fmla="*/ 379476 w 8071103"/>
                <a:gd name="connsiteY12" fmla="*/ 783146 h 1359693"/>
                <a:gd name="connsiteX13" fmla="*/ 616077 w 8071103"/>
                <a:gd name="connsiteY13" fmla="*/ 783146 h 1359693"/>
                <a:gd name="connsiteX14" fmla="*/ 616077 w 8071103"/>
                <a:gd name="connsiteY14" fmla="*/ 1074230 h 1359693"/>
                <a:gd name="connsiteX15" fmla="*/ 308038 w 8071103"/>
                <a:gd name="connsiteY15" fmla="*/ 1359694 h 1359693"/>
                <a:gd name="connsiteX16" fmla="*/ 0 w 8071103"/>
                <a:gd name="connsiteY16" fmla="*/ 1074230 h 1359693"/>
                <a:gd name="connsiteX17" fmla="*/ 762476 w 8071103"/>
                <a:gd name="connsiteY17" fmla="*/ 22574 h 1359693"/>
                <a:gd name="connsiteX18" fmla="*/ 999077 w 8071103"/>
                <a:gd name="connsiteY18" fmla="*/ 22574 h 1359693"/>
                <a:gd name="connsiteX19" fmla="*/ 999077 w 8071103"/>
                <a:gd name="connsiteY19" fmla="*/ 1121283 h 1359693"/>
                <a:gd name="connsiteX20" fmla="*/ 1198150 w 8071103"/>
                <a:gd name="connsiteY20" fmla="*/ 1121283 h 1359693"/>
                <a:gd name="connsiteX21" fmla="*/ 1198150 w 8071103"/>
                <a:gd name="connsiteY21" fmla="*/ 1337215 h 1359693"/>
                <a:gd name="connsiteX22" fmla="*/ 762476 w 8071103"/>
                <a:gd name="connsiteY22" fmla="*/ 1337215 h 1359693"/>
                <a:gd name="connsiteX23" fmla="*/ 762476 w 8071103"/>
                <a:gd name="connsiteY23" fmla="*/ 22574 h 1359693"/>
                <a:gd name="connsiteX24" fmla="*/ 1293971 w 8071103"/>
                <a:gd name="connsiteY24" fmla="*/ 1074230 h 1359693"/>
                <a:gd name="connsiteX25" fmla="*/ 1293971 w 8071103"/>
                <a:gd name="connsiteY25" fmla="*/ 22479 h 1359693"/>
                <a:gd name="connsiteX26" fmla="*/ 1530572 w 8071103"/>
                <a:gd name="connsiteY26" fmla="*/ 22479 h 1359693"/>
                <a:gd name="connsiteX27" fmla="*/ 1530572 w 8071103"/>
                <a:gd name="connsiteY27" fmla="*/ 1074230 h 1359693"/>
                <a:gd name="connsiteX28" fmla="*/ 1600105 w 8071103"/>
                <a:gd name="connsiteY28" fmla="*/ 1143667 h 1359693"/>
                <a:gd name="connsiteX29" fmla="*/ 1671447 w 8071103"/>
                <a:gd name="connsiteY29" fmla="*/ 1074230 h 1359693"/>
                <a:gd name="connsiteX30" fmla="*/ 1671447 w 8071103"/>
                <a:gd name="connsiteY30" fmla="*/ 22479 h 1359693"/>
                <a:gd name="connsiteX31" fmla="*/ 1908048 w 8071103"/>
                <a:gd name="connsiteY31" fmla="*/ 22479 h 1359693"/>
                <a:gd name="connsiteX32" fmla="*/ 1908048 w 8071103"/>
                <a:gd name="connsiteY32" fmla="*/ 1074230 h 1359693"/>
                <a:gd name="connsiteX33" fmla="*/ 1600009 w 8071103"/>
                <a:gd name="connsiteY33" fmla="*/ 1359694 h 1359693"/>
                <a:gd name="connsiteX34" fmla="*/ 1293876 w 8071103"/>
                <a:gd name="connsiteY34" fmla="*/ 1074230 h 1359693"/>
                <a:gd name="connsiteX35" fmla="*/ 2060162 w 8071103"/>
                <a:gd name="connsiteY35" fmla="*/ 22574 h 1359693"/>
                <a:gd name="connsiteX36" fmla="*/ 2394490 w 8071103"/>
                <a:gd name="connsiteY36" fmla="*/ 22574 h 1359693"/>
                <a:gd name="connsiteX37" fmla="*/ 2674335 w 8071103"/>
                <a:gd name="connsiteY37" fmla="*/ 279844 h 1359693"/>
                <a:gd name="connsiteX38" fmla="*/ 2674335 w 8071103"/>
                <a:gd name="connsiteY38" fmla="*/ 458248 h 1359693"/>
                <a:gd name="connsiteX39" fmla="*/ 2565369 w 8071103"/>
                <a:gd name="connsiteY39" fmla="*/ 651701 h 1359693"/>
                <a:gd name="connsiteX40" fmla="*/ 2565369 w 8071103"/>
                <a:gd name="connsiteY40" fmla="*/ 662940 h 1359693"/>
                <a:gd name="connsiteX41" fmla="*/ 2685574 w 8071103"/>
                <a:gd name="connsiteY41" fmla="*/ 865727 h 1359693"/>
                <a:gd name="connsiteX42" fmla="*/ 2685574 w 8071103"/>
                <a:gd name="connsiteY42" fmla="*/ 1079849 h 1359693"/>
                <a:gd name="connsiteX43" fmla="*/ 2405729 w 8071103"/>
                <a:gd name="connsiteY43" fmla="*/ 1337120 h 1359693"/>
                <a:gd name="connsiteX44" fmla="*/ 2060162 w 8071103"/>
                <a:gd name="connsiteY44" fmla="*/ 1337120 h 1359693"/>
                <a:gd name="connsiteX45" fmla="*/ 2060162 w 8071103"/>
                <a:gd name="connsiteY45" fmla="*/ 22574 h 1359693"/>
                <a:gd name="connsiteX46" fmla="*/ 2296763 w 8071103"/>
                <a:gd name="connsiteY46" fmla="*/ 238506 h 1359693"/>
                <a:gd name="connsiteX47" fmla="*/ 2296763 w 8071103"/>
                <a:gd name="connsiteY47" fmla="*/ 569024 h 1359693"/>
                <a:gd name="connsiteX48" fmla="*/ 2366296 w 8071103"/>
                <a:gd name="connsiteY48" fmla="*/ 569024 h 1359693"/>
                <a:gd name="connsiteX49" fmla="*/ 2437638 w 8071103"/>
                <a:gd name="connsiteY49" fmla="*/ 497681 h 1359693"/>
                <a:gd name="connsiteX50" fmla="*/ 2437638 w 8071103"/>
                <a:gd name="connsiteY50" fmla="*/ 307943 h 1359693"/>
                <a:gd name="connsiteX51" fmla="*/ 2366296 w 8071103"/>
                <a:gd name="connsiteY51" fmla="*/ 238506 h 1359693"/>
                <a:gd name="connsiteX52" fmla="*/ 2296763 w 8071103"/>
                <a:gd name="connsiteY52" fmla="*/ 238506 h 1359693"/>
                <a:gd name="connsiteX53" fmla="*/ 2296763 w 8071103"/>
                <a:gd name="connsiteY53" fmla="*/ 770001 h 1359693"/>
                <a:gd name="connsiteX54" fmla="*/ 2296763 w 8071103"/>
                <a:gd name="connsiteY54" fmla="*/ 1121188 h 1359693"/>
                <a:gd name="connsiteX55" fmla="*/ 2379440 w 8071103"/>
                <a:gd name="connsiteY55" fmla="*/ 1121188 h 1359693"/>
                <a:gd name="connsiteX56" fmla="*/ 2448973 w 8071103"/>
                <a:gd name="connsiteY56" fmla="*/ 1051655 h 1359693"/>
                <a:gd name="connsiteX57" fmla="*/ 2448973 w 8071103"/>
                <a:gd name="connsiteY57" fmla="*/ 841343 h 1359693"/>
                <a:gd name="connsiteX58" fmla="*/ 2379440 w 8071103"/>
                <a:gd name="connsiteY58" fmla="*/ 770001 h 1359693"/>
                <a:gd name="connsiteX59" fmla="*/ 2296763 w 8071103"/>
                <a:gd name="connsiteY59" fmla="*/ 770001 h 1359693"/>
                <a:gd name="connsiteX60" fmla="*/ 3094482 w 8071103"/>
                <a:gd name="connsiteY60" fmla="*/ 1074230 h 1359693"/>
                <a:gd name="connsiteX61" fmla="*/ 3094482 w 8071103"/>
                <a:gd name="connsiteY61" fmla="*/ 283559 h 1359693"/>
                <a:gd name="connsiteX62" fmla="*/ 3402520 w 8071103"/>
                <a:gd name="connsiteY62" fmla="*/ 0 h 1359693"/>
                <a:gd name="connsiteX63" fmla="*/ 3710559 w 8071103"/>
                <a:gd name="connsiteY63" fmla="*/ 283559 h 1359693"/>
                <a:gd name="connsiteX64" fmla="*/ 3710559 w 8071103"/>
                <a:gd name="connsiteY64" fmla="*/ 557784 h 1359693"/>
                <a:gd name="connsiteX65" fmla="*/ 3473958 w 8071103"/>
                <a:gd name="connsiteY65" fmla="*/ 557784 h 1359693"/>
                <a:gd name="connsiteX66" fmla="*/ 3473958 w 8071103"/>
                <a:gd name="connsiteY66" fmla="*/ 285464 h 1359693"/>
                <a:gd name="connsiteX67" fmla="*/ 3402616 w 8071103"/>
                <a:gd name="connsiteY67" fmla="*/ 215932 h 1359693"/>
                <a:gd name="connsiteX68" fmla="*/ 3331274 w 8071103"/>
                <a:gd name="connsiteY68" fmla="*/ 285464 h 1359693"/>
                <a:gd name="connsiteX69" fmla="*/ 3331274 w 8071103"/>
                <a:gd name="connsiteY69" fmla="*/ 1074230 h 1359693"/>
                <a:gd name="connsiteX70" fmla="*/ 3402616 w 8071103"/>
                <a:gd name="connsiteY70" fmla="*/ 1143667 h 1359693"/>
                <a:gd name="connsiteX71" fmla="*/ 3473958 w 8071103"/>
                <a:gd name="connsiteY71" fmla="*/ 1074230 h 1359693"/>
                <a:gd name="connsiteX72" fmla="*/ 3473958 w 8071103"/>
                <a:gd name="connsiteY72" fmla="*/ 783146 h 1359693"/>
                <a:gd name="connsiteX73" fmla="*/ 3710559 w 8071103"/>
                <a:gd name="connsiteY73" fmla="*/ 783146 h 1359693"/>
                <a:gd name="connsiteX74" fmla="*/ 3710559 w 8071103"/>
                <a:gd name="connsiteY74" fmla="*/ 1074230 h 1359693"/>
                <a:gd name="connsiteX75" fmla="*/ 3402520 w 8071103"/>
                <a:gd name="connsiteY75" fmla="*/ 1359694 h 1359693"/>
                <a:gd name="connsiteX76" fmla="*/ 3094482 w 8071103"/>
                <a:gd name="connsiteY76" fmla="*/ 1074230 h 1359693"/>
                <a:gd name="connsiteX77" fmla="*/ 3849434 w 8071103"/>
                <a:gd name="connsiteY77" fmla="*/ 1074230 h 1359693"/>
                <a:gd name="connsiteX78" fmla="*/ 3849434 w 8071103"/>
                <a:gd name="connsiteY78" fmla="*/ 283559 h 1359693"/>
                <a:gd name="connsiteX79" fmla="*/ 4157472 w 8071103"/>
                <a:gd name="connsiteY79" fmla="*/ 0 h 1359693"/>
                <a:gd name="connsiteX80" fmla="*/ 4465511 w 8071103"/>
                <a:gd name="connsiteY80" fmla="*/ 283559 h 1359693"/>
                <a:gd name="connsiteX81" fmla="*/ 4465511 w 8071103"/>
                <a:gd name="connsiteY81" fmla="*/ 1074230 h 1359693"/>
                <a:gd name="connsiteX82" fmla="*/ 4157472 w 8071103"/>
                <a:gd name="connsiteY82" fmla="*/ 1359694 h 1359693"/>
                <a:gd name="connsiteX83" fmla="*/ 3849434 w 8071103"/>
                <a:gd name="connsiteY83" fmla="*/ 1074230 h 1359693"/>
                <a:gd name="connsiteX84" fmla="*/ 4228814 w 8071103"/>
                <a:gd name="connsiteY84" fmla="*/ 1074230 h 1359693"/>
                <a:gd name="connsiteX85" fmla="*/ 4228814 w 8071103"/>
                <a:gd name="connsiteY85" fmla="*/ 285464 h 1359693"/>
                <a:gd name="connsiteX86" fmla="*/ 4157472 w 8071103"/>
                <a:gd name="connsiteY86" fmla="*/ 215932 h 1359693"/>
                <a:gd name="connsiteX87" fmla="*/ 4086130 w 8071103"/>
                <a:gd name="connsiteY87" fmla="*/ 285464 h 1359693"/>
                <a:gd name="connsiteX88" fmla="*/ 4086130 w 8071103"/>
                <a:gd name="connsiteY88" fmla="*/ 1074230 h 1359693"/>
                <a:gd name="connsiteX89" fmla="*/ 4157472 w 8071103"/>
                <a:gd name="connsiteY89" fmla="*/ 1143667 h 1359693"/>
                <a:gd name="connsiteX90" fmla="*/ 4228814 w 8071103"/>
                <a:gd name="connsiteY90" fmla="*/ 1074230 h 1359693"/>
                <a:gd name="connsiteX91" fmla="*/ 4613720 w 8071103"/>
                <a:gd name="connsiteY91" fmla="*/ 22574 h 1359693"/>
                <a:gd name="connsiteX92" fmla="*/ 4886039 w 8071103"/>
                <a:gd name="connsiteY92" fmla="*/ 22574 h 1359693"/>
                <a:gd name="connsiteX93" fmla="*/ 5021294 w 8071103"/>
                <a:gd name="connsiteY93" fmla="*/ 646081 h 1359693"/>
                <a:gd name="connsiteX94" fmla="*/ 5040059 w 8071103"/>
                <a:gd name="connsiteY94" fmla="*/ 811340 h 1359693"/>
                <a:gd name="connsiteX95" fmla="*/ 5071967 w 8071103"/>
                <a:gd name="connsiteY95" fmla="*/ 811340 h 1359693"/>
                <a:gd name="connsiteX96" fmla="*/ 5051298 w 8071103"/>
                <a:gd name="connsiteY96" fmla="*/ 646081 h 1359693"/>
                <a:gd name="connsiteX97" fmla="*/ 5051298 w 8071103"/>
                <a:gd name="connsiteY97" fmla="*/ 22574 h 1359693"/>
                <a:gd name="connsiteX98" fmla="*/ 5287899 w 8071103"/>
                <a:gd name="connsiteY98" fmla="*/ 22574 h 1359693"/>
                <a:gd name="connsiteX99" fmla="*/ 5287899 w 8071103"/>
                <a:gd name="connsiteY99" fmla="*/ 1337215 h 1359693"/>
                <a:gd name="connsiteX100" fmla="*/ 5017485 w 8071103"/>
                <a:gd name="connsiteY100" fmla="*/ 1337215 h 1359693"/>
                <a:gd name="connsiteX101" fmla="*/ 4882230 w 8071103"/>
                <a:gd name="connsiteY101" fmla="*/ 713708 h 1359693"/>
                <a:gd name="connsiteX102" fmla="*/ 4861560 w 8071103"/>
                <a:gd name="connsiteY102" fmla="*/ 548450 h 1359693"/>
                <a:gd name="connsiteX103" fmla="*/ 4829651 w 8071103"/>
                <a:gd name="connsiteY103" fmla="*/ 548450 h 1359693"/>
                <a:gd name="connsiteX104" fmla="*/ 4850320 w 8071103"/>
                <a:gd name="connsiteY104" fmla="*/ 713708 h 1359693"/>
                <a:gd name="connsiteX105" fmla="*/ 4850320 w 8071103"/>
                <a:gd name="connsiteY105" fmla="*/ 1337215 h 1359693"/>
                <a:gd name="connsiteX106" fmla="*/ 4613720 w 8071103"/>
                <a:gd name="connsiteY106" fmla="*/ 1337215 h 1359693"/>
                <a:gd name="connsiteX107" fmla="*/ 4613720 w 8071103"/>
                <a:gd name="connsiteY107" fmla="*/ 22574 h 1359693"/>
                <a:gd name="connsiteX108" fmla="*/ 5443823 w 8071103"/>
                <a:gd name="connsiteY108" fmla="*/ 22574 h 1359693"/>
                <a:gd name="connsiteX109" fmla="*/ 5716143 w 8071103"/>
                <a:gd name="connsiteY109" fmla="*/ 22574 h 1359693"/>
                <a:gd name="connsiteX110" fmla="*/ 5851398 w 8071103"/>
                <a:gd name="connsiteY110" fmla="*/ 646081 h 1359693"/>
                <a:gd name="connsiteX111" fmla="*/ 5870162 w 8071103"/>
                <a:gd name="connsiteY111" fmla="*/ 811340 h 1359693"/>
                <a:gd name="connsiteX112" fmla="*/ 5902071 w 8071103"/>
                <a:gd name="connsiteY112" fmla="*/ 811340 h 1359693"/>
                <a:gd name="connsiteX113" fmla="*/ 5881402 w 8071103"/>
                <a:gd name="connsiteY113" fmla="*/ 646081 h 1359693"/>
                <a:gd name="connsiteX114" fmla="*/ 5881402 w 8071103"/>
                <a:gd name="connsiteY114" fmla="*/ 22574 h 1359693"/>
                <a:gd name="connsiteX115" fmla="*/ 6118003 w 8071103"/>
                <a:gd name="connsiteY115" fmla="*/ 22574 h 1359693"/>
                <a:gd name="connsiteX116" fmla="*/ 6118003 w 8071103"/>
                <a:gd name="connsiteY116" fmla="*/ 1337215 h 1359693"/>
                <a:gd name="connsiteX117" fmla="*/ 5847588 w 8071103"/>
                <a:gd name="connsiteY117" fmla="*/ 1337215 h 1359693"/>
                <a:gd name="connsiteX118" fmla="*/ 5712333 w 8071103"/>
                <a:gd name="connsiteY118" fmla="*/ 713708 h 1359693"/>
                <a:gd name="connsiteX119" fmla="*/ 5691664 w 8071103"/>
                <a:gd name="connsiteY119" fmla="*/ 548450 h 1359693"/>
                <a:gd name="connsiteX120" fmla="*/ 5659755 w 8071103"/>
                <a:gd name="connsiteY120" fmla="*/ 548450 h 1359693"/>
                <a:gd name="connsiteX121" fmla="*/ 5680424 w 8071103"/>
                <a:gd name="connsiteY121" fmla="*/ 713708 h 1359693"/>
                <a:gd name="connsiteX122" fmla="*/ 5680424 w 8071103"/>
                <a:gd name="connsiteY122" fmla="*/ 1337215 h 1359693"/>
                <a:gd name="connsiteX123" fmla="*/ 5443823 w 8071103"/>
                <a:gd name="connsiteY123" fmla="*/ 1337215 h 1359693"/>
                <a:gd name="connsiteX124" fmla="*/ 5443823 w 8071103"/>
                <a:gd name="connsiteY124" fmla="*/ 22574 h 1359693"/>
                <a:gd name="connsiteX125" fmla="*/ 6273832 w 8071103"/>
                <a:gd name="connsiteY125" fmla="*/ 22574 h 1359693"/>
                <a:gd name="connsiteX126" fmla="*/ 6720840 w 8071103"/>
                <a:gd name="connsiteY126" fmla="*/ 22574 h 1359693"/>
                <a:gd name="connsiteX127" fmla="*/ 6720840 w 8071103"/>
                <a:gd name="connsiteY127" fmla="*/ 238601 h 1359693"/>
                <a:gd name="connsiteX128" fmla="*/ 6510528 w 8071103"/>
                <a:gd name="connsiteY128" fmla="*/ 238601 h 1359693"/>
                <a:gd name="connsiteX129" fmla="*/ 6510528 w 8071103"/>
                <a:gd name="connsiteY129" fmla="*/ 565404 h 1359693"/>
                <a:gd name="connsiteX130" fmla="*/ 6700172 w 8071103"/>
                <a:gd name="connsiteY130" fmla="*/ 565404 h 1359693"/>
                <a:gd name="connsiteX131" fmla="*/ 6700172 w 8071103"/>
                <a:gd name="connsiteY131" fmla="*/ 775716 h 1359693"/>
                <a:gd name="connsiteX132" fmla="*/ 6510528 w 8071103"/>
                <a:gd name="connsiteY132" fmla="*/ 775716 h 1359693"/>
                <a:gd name="connsiteX133" fmla="*/ 6510528 w 8071103"/>
                <a:gd name="connsiteY133" fmla="*/ 1121283 h 1359693"/>
                <a:gd name="connsiteX134" fmla="*/ 6720840 w 8071103"/>
                <a:gd name="connsiteY134" fmla="*/ 1121283 h 1359693"/>
                <a:gd name="connsiteX135" fmla="*/ 6720840 w 8071103"/>
                <a:gd name="connsiteY135" fmla="*/ 1337215 h 1359693"/>
                <a:gd name="connsiteX136" fmla="*/ 6273832 w 8071103"/>
                <a:gd name="connsiteY136" fmla="*/ 1337215 h 1359693"/>
                <a:gd name="connsiteX137" fmla="*/ 6273832 w 8071103"/>
                <a:gd name="connsiteY137" fmla="*/ 22574 h 1359693"/>
                <a:gd name="connsiteX138" fmla="*/ 6846665 w 8071103"/>
                <a:gd name="connsiteY138" fmla="*/ 1074230 h 1359693"/>
                <a:gd name="connsiteX139" fmla="*/ 6846665 w 8071103"/>
                <a:gd name="connsiteY139" fmla="*/ 283559 h 1359693"/>
                <a:gd name="connsiteX140" fmla="*/ 7154704 w 8071103"/>
                <a:gd name="connsiteY140" fmla="*/ 0 h 1359693"/>
                <a:gd name="connsiteX141" fmla="*/ 7462742 w 8071103"/>
                <a:gd name="connsiteY141" fmla="*/ 283559 h 1359693"/>
                <a:gd name="connsiteX142" fmla="*/ 7462742 w 8071103"/>
                <a:gd name="connsiteY142" fmla="*/ 557784 h 1359693"/>
                <a:gd name="connsiteX143" fmla="*/ 7226142 w 8071103"/>
                <a:gd name="connsiteY143" fmla="*/ 557784 h 1359693"/>
                <a:gd name="connsiteX144" fmla="*/ 7226142 w 8071103"/>
                <a:gd name="connsiteY144" fmla="*/ 285464 h 1359693"/>
                <a:gd name="connsiteX145" fmla="*/ 7154800 w 8071103"/>
                <a:gd name="connsiteY145" fmla="*/ 215932 h 1359693"/>
                <a:gd name="connsiteX146" fmla="*/ 7083457 w 8071103"/>
                <a:gd name="connsiteY146" fmla="*/ 285464 h 1359693"/>
                <a:gd name="connsiteX147" fmla="*/ 7083457 w 8071103"/>
                <a:gd name="connsiteY147" fmla="*/ 1074230 h 1359693"/>
                <a:gd name="connsiteX148" fmla="*/ 7154800 w 8071103"/>
                <a:gd name="connsiteY148" fmla="*/ 1143667 h 1359693"/>
                <a:gd name="connsiteX149" fmla="*/ 7226142 w 8071103"/>
                <a:gd name="connsiteY149" fmla="*/ 1074230 h 1359693"/>
                <a:gd name="connsiteX150" fmla="*/ 7226142 w 8071103"/>
                <a:gd name="connsiteY150" fmla="*/ 783146 h 1359693"/>
                <a:gd name="connsiteX151" fmla="*/ 7462742 w 8071103"/>
                <a:gd name="connsiteY151" fmla="*/ 783146 h 1359693"/>
                <a:gd name="connsiteX152" fmla="*/ 7462742 w 8071103"/>
                <a:gd name="connsiteY152" fmla="*/ 1074230 h 1359693"/>
                <a:gd name="connsiteX153" fmla="*/ 7154704 w 8071103"/>
                <a:gd name="connsiteY153" fmla="*/ 1359694 h 1359693"/>
                <a:gd name="connsiteX154" fmla="*/ 6846665 w 8071103"/>
                <a:gd name="connsiteY154" fmla="*/ 1074230 h 1359693"/>
                <a:gd name="connsiteX155" fmla="*/ 7699248 w 8071103"/>
                <a:gd name="connsiteY155" fmla="*/ 238506 h 1359693"/>
                <a:gd name="connsiteX156" fmla="*/ 7563993 w 8071103"/>
                <a:gd name="connsiteY156" fmla="*/ 238506 h 1359693"/>
                <a:gd name="connsiteX157" fmla="*/ 7563993 w 8071103"/>
                <a:gd name="connsiteY157" fmla="*/ 22479 h 1359693"/>
                <a:gd name="connsiteX158" fmla="*/ 8071104 w 8071103"/>
                <a:gd name="connsiteY158" fmla="*/ 22479 h 1359693"/>
                <a:gd name="connsiteX159" fmla="*/ 8071104 w 8071103"/>
                <a:gd name="connsiteY159" fmla="*/ 238506 h 1359693"/>
                <a:gd name="connsiteX160" fmla="*/ 7935850 w 8071103"/>
                <a:gd name="connsiteY160" fmla="*/ 238506 h 1359693"/>
                <a:gd name="connsiteX161" fmla="*/ 7935850 w 8071103"/>
                <a:gd name="connsiteY161" fmla="*/ 1337120 h 1359693"/>
                <a:gd name="connsiteX162" fmla="*/ 7699248 w 8071103"/>
                <a:gd name="connsiteY162" fmla="*/ 1337120 h 1359693"/>
                <a:gd name="connsiteX163" fmla="*/ 7699248 w 8071103"/>
                <a:gd name="connsiteY163" fmla="*/ 238506 h 1359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8071103" h="1359693">
                  <a:moveTo>
                    <a:pt x="0" y="1074230"/>
                  </a:moveTo>
                  <a:lnTo>
                    <a:pt x="0" y="283559"/>
                  </a:lnTo>
                  <a:cubicBezTo>
                    <a:pt x="0" y="114490"/>
                    <a:pt x="123920" y="0"/>
                    <a:pt x="308038" y="0"/>
                  </a:cubicBezTo>
                  <a:cubicBezTo>
                    <a:pt x="492157" y="0"/>
                    <a:pt x="616077" y="114586"/>
                    <a:pt x="616077" y="283559"/>
                  </a:cubicBezTo>
                  <a:lnTo>
                    <a:pt x="616077" y="557784"/>
                  </a:lnTo>
                  <a:lnTo>
                    <a:pt x="379476" y="557784"/>
                  </a:lnTo>
                  <a:lnTo>
                    <a:pt x="379476" y="285464"/>
                  </a:lnTo>
                  <a:cubicBezTo>
                    <a:pt x="379476" y="242316"/>
                    <a:pt x="351282" y="215932"/>
                    <a:pt x="308134" y="215932"/>
                  </a:cubicBezTo>
                  <a:cubicBezTo>
                    <a:pt x="264986" y="215932"/>
                    <a:pt x="236791" y="242221"/>
                    <a:pt x="236791" y="285464"/>
                  </a:cubicBezTo>
                  <a:lnTo>
                    <a:pt x="236791" y="1074230"/>
                  </a:lnTo>
                  <a:cubicBezTo>
                    <a:pt x="236791" y="1117378"/>
                    <a:pt x="264986" y="1143667"/>
                    <a:pt x="308134" y="1143667"/>
                  </a:cubicBezTo>
                  <a:cubicBezTo>
                    <a:pt x="351282" y="1143667"/>
                    <a:pt x="379476" y="1117378"/>
                    <a:pt x="379476" y="1074230"/>
                  </a:cubicBezTo>
                  <a:lnTo>
                    <a:pt x="379476" y="783146"/>
                  </a:lnTo>
                  <a:lnTo>
                    <a:pt x="616077" y="783146"/>
                  </a:lnTo>
                  <a:lnTo>
                    <a:pt x="616077" y="1074230"/>
                  </a:lnTo>
                  <a:cubicBezTo>
                    <a:pt x="616077" y="1245108"/>
                    <a:pt x="492157" y="1359694"/>
                    <a:pt x="308038" y="1359694"/>
                  </a:cubicBezTo>
                  <a:cubicBezTo>
                    <a:pt x="123920" y="1359694"/>
                    <a:pt x="0" y="1245108"/>
                    <a:pt x="0" y="1074230"/>
                  </a:cubicBezTo>
                  <a:close/>
                  <a:moveTo>
                    <a:pt x="762476" y="22574"/>
                  </a:moveTo>
                  <a:lnTo>
                    <a:pt x="999077" y="22574"/>
                  </a:lnTo>
                  <a:lnTo>
                    <a:pt x="999077" y="1121283"/>
                  </a:lnTo>
                  <a:lnTo>
                    <a:pt x="1198150" y="1121283"/>
                  </a:lnTo>
                  <a:lnTo>
                    <a:pt x="1198150" y="1337215"/>
                  </a:lnTo>
                  <a:lnTo>
                    <a:pt x="762476" y="1337215"/>
                  </a:lnTo>
                  <a:lnTo>
                    <a:pt x="762476" y="22574"/>
                  </a:lnTo>
                  <a:close/>
                  <a:moveTo>
                    <a:pt x="1293971" y="1074230"/>
                  </a:moveTo>
                  <a:lnTo>
                    <a:pt x="1293971" y="22479"/>
                  </a:lnTo>
                  <a:lnTo>
                    <a:pt x="1530572" y="22479"/>
                  </a:lnTo>
                  <a:lnTo>
                    <a:pt x="1530572" y="1074230"/>
                  </a:lnTo>
                  <a:cubicBezTo>
                    <a:pt x="1530572" y="1117378"/>
                    <a:pt x="1558766" y="1143667"/>
                    <a:pt x="1600105" y="1143667"/>
                  </a:cubicBezTo>
                  <a:cubicBezTo>
                    <a:pt x="1641443" y="1143667"/>
                    <a:pt x="1671447" y="1117378"/>
                    <a:pt x="1671447" y="1074230"/>
                  </a:cubicBezTo>
                  <a:lnTo>
                    <a:pt x="1671447" y="22479"/>
                  </a:lnTo>
                  <a:lnTo>
                    <a:pt x="1908048" y="22479"/>
                  </a:lnTo>
                  <a:lnTo>
                    <a:pt x="1908048" y="1074230"/>
                  </a:lnTo>
                  <a:cubicBezTo>
                    <a:pt x="1908048" y="1245108"/>
                    <a:pt x="1784128" y="1359694"/>
                    <a:pt x="1600009" y="1359694"/>
                  </a:cubicBezTo>
                  <a:cubicBezTo>
                    <a:pt x="1415891" y="1359694"/>
                    <a:pt x="1293876" y="1245108"/>
                    <a:pt x="1293876" y="1074230"/>
                  </a:cubicBezTo>
                  <a:close/>
                  <a:moveTo>
                    <a:pt x="2060162" y="22574"/>
                  </a:moveTo>
                  <a:lnTo>
                    <a:pt x="2394490" y="22574"/>
                  </a:lnTo>
                  <a:cubicBezTo>
                    <a:pt x="2561654" y="22574"/>
                    <a:pt x="2674335" y="125921"/>
                    <a:pt x="2674335" y="279844"/>
                  </a:cubicBezTo>
                  <a:lnTo>
                    <a:pt x="2674335" y="458248"/>
                  </a:lnTo>
                  <a:cubicBezTo>
                    <a:pt x="2674335" y="537115"/>
                    <a:pt x="2638616" y="617887"/>
                    <a:pt x="2565369" y="651701"/>
                  </a:cubicBezTo>
                  <a:lnTo>
                    <a:pt x="2565369" y="662940"/>
                  </a:lnTo>
                  <a:cubicBezTo>
                    <a:pt x="2644235" y="696754"/>
                    <a:pt x="2685574" y="781240"/>
                    <a:pt x="2685574" y="865727"/>
                  </a:cubicBezTo>
                  <a:lnTo>
                    <a:pt x="2685574" y="1079849"/>
                  </a:lnTo>
                  <a:cubicBezTo>
                    <a:pt x="2685574" y="1233869"/>
                    <a:pt x="2574798" y="1337120"/>
                    <a:pt x="2405729" y="1337120"/>
                  </a:cubicBezTo>
                  <a:lnTo>
                    <a:pt x="2060162" y="1337120"/>
                  </a:lnTo>
                  <a:lnTo>
                    <a:pt x="2060162" y="22574"/>
                  </a:lnTo>
                  <a:close/>
                  <a:moveTo>
                    <a:pt x="2296763" y="238506"/>
                  </a:moveTo>
                  <a:lnTo>
                    <a:pt x="2296763" y="569024"/>
                  </a:lnTo>
                  <a:lnTo>
                    <a:pt x="2366296" y="569024"/>
                  </a:lnTo>
                  <a:cubicBezTo>
                    <a:pt x="2409444" y="569024"/>
                    <a:pt x="2437638" y="540830"/>
                    <a:pt x="2437638" y="497681"/>
                  </a:cubicBezTo>
                  <a:lnTo>
                    <a:pt x="2437638" y="307943"/>
                  </a:lnTo>
                  <a:cubicBezTo>
                    <a:pt x="2437638" y="264795"/>
                    <a:pt x="2409444" y="238506"/>
                    <a:pt x="2366296" y="238506"/>
                  </a:cubicBezTo>
                  <a:lnTo>
                    <a:pt x="2296763" y="238506"/>
                  </a:lnTo>
                  <a:close/>
                  <a:moveTo>
                    <a:pt x="2296763" y="770001"/>
                  </a:moveTo>
                  <a:lnTo>
                    <a:pt x="2296763" y="1121188"/>
                  </a:lnTo>
                  <a:lnTo>
                    <a:pt x="2379440" y="1121188"/>
                  </a:lnTo>
                  <a:cubicBezTo>
                    <a:pt x="2420779" y="1121188"/>
                    <a:pt x="2448973" y="1094899"/>
                    <a:pt x="2448973" y="1051655"/>
                  </a:cubicBezTo>
                  <a:lnTo>
                    <a:pt x="2448973" y="841343"/>
                  </a:lnTo>
                  <a:cubicBezTo>
                    <a:pt x="2448973" y="798195"/>
                    <a:pt x="2420779" y="770001"/>
                    <a:pt x="2379440" y="770001"/>
                  </a:cubicBezTo>
                  <a:lnTo>
                    <a:pt x="2296763" y="770001"/>
                  </a:lnTo>
                  <a:close/>
                  <a:moveTo>
                    <a:pt x="3094482" y="1074230"/>
                  </a:moveTo>
                  <a:lnTo>
                    <a:pt x="3094482" y="283559"/>
                  </a:lnTo>
                  <a:cubicBezTo>
                    <a:pt x="3094482" y="114490"/>
                    <a:pt x="3218403" y="0"/>
                    <a:pt x="3402520" y="0"/>
                  </a:cubicBezTo>
                  <a:cubicBezTo>
                    <a:pt x="3586639" y="0"/>
                    <a:pt x="3710559" y="114586"/>
                    <a:pt x="3710559" y="283559"/>
                  </a:cubicBezTo>
                  <a:lnTo>
                    <a:pt x="3710559" y="557784"/>
                  </a:lnTo>
                  <a:lnTo>
                    <a:pt x="3473958" y="557784"/>
                  </a:lnTo>
                  <a:lnTo>
                    <a:pt x="3473958" y="285464"/>
                  </a:lnTo>
                  <a:cubicBezTo>
                    <a:pt x="3473958" y="242316"/>
                    <a:pt x="3445764" y="215932"/>
                    <a:pt x="3402616" y="215932"/>
                  </a:cubicBezTo>
                  <a:cubicBezTo>
                    <a:pt x="3359468" y="215932"/>
                    <a:pt x="3331274" y="242221"/>
                    <a:pt x="3331274" y="285464"/>
                  </a:cubicBezTo>
                  <a:lnTo>
                    <a:pt x="3331274" y="1074230"/>
                  </a:lnTo>
                  <a:cubicBezTo>
                    <a:pt x="3331274" y="1117378"/>
                    <a:pt x="3359468" y="1143667"/>
                    <a:pt x="3402616" y="1143667"/>
                  </a:cubicBezTo>
                  <a:cubicBezTo>
                    <a:pt x="3445764" y="1143667"/>
                    <a:pt x="3473958" y="1117378"/>
                    <a:pt x="3473958" y="1074230"/>
                  </a:cubicBezTo>
                  <a:lnTo>
                    <a:pt x="3473958" y="783146"/>
                  </a:lnTo>
                  <a:lnTo>
                    <a:pt x="3710559" y="783146"/>
                  </a:lnTo>
                  <a:lnTo>
                    <a:pt x="3710559" y="1074230"/>
                  </a:lnTo>
                  <a:cubicBezTo>
                    <a:pt x="3710559" y="1245108"/>
                    <a:pt x="3586639" y="1359694"/>
                    <a:pt x="3402520" y="1359694"/>
                  </a:cubicBezTo>
                  <a:cubicBezTo>
                    <a:pt x="3218403" y="1359694"/>
                    <a:pt x="3094482" y="1245108"/>
                    <a:pt x="3094482" y="1074230"/>
                  </a:cubicBezTo>
                  <a:close/>
                  <a:moveTo>
                    <a:pt x="3849434" y="1074230"/>
                  </a:moveTo>
                  <a:lnTo>
                    <a:pt x="3849434" y="283559"/>
                  </a:lnTo>
                  <a:cubicBezTo>
                    <a:pt x="3849434" y="114490"/>
                    <a:pt x="3973354" y="0"/>
                    <a:pt x="4157472" y="0"/>
                  </a:cubicBezTo>
                  <a:cubicBezTo>
                    <a:pt x="4341590" y="0"/>
                    <a:pt x="4465511" y="114586"/>
                    <a:pt x="4465511" y="283559"/>
                  </a:cubicBezTo>
                  <a:lnTo>
                    <a:pt x="4465511" y="1074230"/>
                  </a:lnTo>
                  <a:cubicBezTo>
                    <a:pt x="4465511" y="1245108"/>
                    <a:pt x="4341590" y="1359694"/>
                    <a:pt x="4157472" y="1359694"/>
                  </a:cubicBezTo>
                  <a:cubicBezTo>
                    <a:pt x="3973354" y="1359694"/>
                    <a:pt x="3849434" y="1245108"/>
                    <a:pt x="3849434" y="1074230"/>
                  </a:cubicBezTo>
                  <a:close/>
                  <a:moveTo>
                    <a:pt x="4228814" y="1074230"/>
                  </a:moveTo>
                  <a:lnTo>
                    <a:pt x="4228814" y="285464"/>
                  </a:lnTo>
                  <a:cubicBezTo>
                    <a:pt x="4228814" y="242316"/>
                    <a:pt x="4200621" y="215932"/>
                    <a:pt x="4157472" y="215932"/>
                  </a:cubicBezTo>
                  <a:cubicBezTo>
                    <a:pt x="4114324" y="215932"/>
                    <a:pt x="4086130" y="242221"/>
                    <a:pt x="4086130" y="285464"/>
                  </a:cubicBezTo>
                  <a:lnTo>
                    <a:pt x="4086130" y="1074230"/>
                  </a:lnTo>
                  <a:cubicBezTo>
                    <a:pt x="4086130" y="1117378"/>
                    <a:pt x="4114324" y="1143667"/>
                    <a:pt x="4157472" y="1143667"/>
                  </a:cubicBezTo>
                  <a:cubicBezTo>
                    <a:pt x="4200621" y="1143667"/>
                    <a:pt x="4228814" y="1117378"/>
                    <a:pt x="4228814" y="1074230"/>
                  </a:cubicBezTo>
                  <a:close/>
                  <a:moveTo>
                    <a:pt x="4613720" y="22574"/>
                  </a:moveTo>
                  <a:lnTo>
                    <a:pt x="4886039" y="22574"/>
                  </a:lnTo>
                  <a:lnTo>
                    <a:pt x="5021294" y="646081"/>
                  </a:lnTo>
                  <a:lnTo>
                    <a:pt x="5040059" y="811340"/>
                  </a:lnTo>
                  <a:lnTo>
                    <a:pt x="5071967" y="811340"/>
                  </a:lnTo>
                  <a:lnTo>
                    <a:pt x="5051298" y="646081"/>
                  </a:lnTo>
                  <a:lnTo>
                    <a:pt x="5051298" y="22574"/>
                  </a:lnTo>
                  <a:lnTo>
                    <a:pt x="5287899" y="22574"/>
                  </a:lnTo>
                  <a:lnTo>
                    <a:pt x="5287899" y="1337215"/>
                  </a:lnTo>
                  <a:lnTo>
                    <a:pt x="5017485" y="1337215"/>
                  </a:lnTo>
                  <a:lnTo>
                    <a:pt x="4882230" y="713708"/>
                  </a:lnTo>
                  <a:lnTo>
                    <a:pt x="4861560" y="548450"/>
                  </a:lnTo>
                  <a:lnTo>
                    <a:pt x="4829651" y="548450"/>
                  </a:lnTo>
                  <a:lnTo>
                    <a:pt x="4850320" y="713708"/>
                  </a:lnTo>
                  <a:lnTo>
                    <a:pt x="4850320" y="1337215"/>
                  </a:lnTo>
                  <a:lnTo>
                    <a:pt x="4613720" y="1337215"/>
                  </a:lnTo>
                  <a:lnTo>
                    <a:pt x="4613720" y="22574"/>
                  </a:lnTo>
                  <a:close/>
                  <a:moveTo>
                    <a:pt x="5443823" y="22574"/>
                  </a:moveTo>
                  <a:lnTo>
                    <a:pt x="5716143" y="22574"/>
                  </a:lnTo>
                  <a:lnTo>
                    <a:pt x="5851398" y="646081"/>
                  </a:lnTo>
                  <a:lnTo>
                    <a:pt x="5870162" y="811340"/>
                  </a:lnTo>
                  <a:lnTo>
                    <a:pt x="5902071" y="811340"/>
                  </a:lnTo>
                  <a:lnTo>
                    <a:pt x="5881402" y="646081"/>
                  </a:lnTo>
                  <a:lnTo>
                    <a:pt x="5881402" y="22574"/>
                  </a:lnTo>
                  <a:lnTo>
                    <a:pt x="6118003" y="22574"/>
                  </a:lnTo>
                  <a:lnTo>
                    <a:pt x="6118003" y="1337215"/>
                  </a:lnTo>
                  <a:lnTo>
                    <a:pt x="5847588" y="1337215"/>
                  </a:lnTo>
                  <a:lnTo>
                    <a:pt x="5712333" y="713708"/>
                  </a:lnTo>
                  <a:lnTo>
                    <a:pt x="5691664" y="548450"/>
                  </a:lnTo>
                  <a:lnTo>
                    <a:pt x="5659755" y="548450"/>
                  </a:lnTo>
                  <a:lnTo>
                    <a:pt x="5680424" y="713708"/>
                  </a:lnTo>
                  <a:lnTo>
                    <a:pt x="5680424" y="1337215"/>
                  </a:lnTo>
                  <a:lnTo>
                    <a:pt x="5443823" y="1337215"/>
                  </a:lnTo>
                  <a:lnTo>
                    <a:pt x="5443823" y="22574"/>
                  </a:lnTo>
                  <a:close/>
                  <a:moveTo>
                    <a:pt x="6273832" y="22574"/>
                  </a:moveTo>
                  <a:lnTo>
                    <a:pt x="6720840" y="22574"/>
                  </a:lnTo>
                  <a:lnTo>
                    <a:pt x="6720840" y="238601"/>
                  </a:lnTo>
                  <a:lnTo>
                    <a:pt x="6510528" y="238601"/>
                  </a:lnTo>
                  <a:lnTo>
                    <a:pt x="6510528" y="565404"/>
                  </a:lnTo>
                  <a:lnTo>
                    <a:pt x="6700172" y="565404"/>
                  </a:lnTo>
                  <a:lnTo>
                    <a:pt x="6700172" y="775716"/>
                  </a:lnTo>
                  <a:lnTo>
                    <a:pt x="6510528" y="775716"/>
                  </a:lnTo>
                  <a:lnTo>
                    <a:pt x="6510528" y="1121283"/>
                  </a:lnTo>
                  <a:lnTo>
                    <a:pt x="6720840" y="1121283"/>
                  </a:lnTo>
                  <a:lnTo>
                    <a:pt x="6720840" y="1337215"/>
                  </a:lnTo>
                  <a:lnTo>
                    <a:pt x="6273832" y="1337215"/>
                  </a:lnTo>
                  <a:lnTo>
                    <a:pt x="6273832" y="22574"/>
                  </a:lnTo>
                  <a:close/>
                  <a:moveTo>
                    <a:pt x="6846665" y="1074230"/>
                  </a:moveTo>
                  <a:lnTo>
                    <a:pt x="6846665" y="283559"/>
                  </a:lnTo>
                  <a:cubicBezTo>
                    <a:pt x="6846665" y="114490"/>
                    <a:pt x="6970585" y="0"/>
                    <a:pt x="7154704" y="0"/>
                  </a:cubicBezTo>
                  <a:cubicBezTo>
                    <a:pt x="7338822" y="0"/>
                    <a:pt x="7462742" y="114586"/>
                    <a:pt x="7462742" y="283559"/>
                  </a:cubicBezTo>
                  <a:lnTo>
                    <a:pt x="7462742" y="557784"/>
                  </a:lnTo>
                  <a:lnTo>
                    <a:pt x="7226142" y="557784"/>
                  </a:lnTo>
                  <a:lnTo>
                    <a:pt x="7226142" y="285464"/>
                  </a:lnTo>
                  <a:cubicBezTo>
                    <a:pt x="7226142" y="242316"/>
                    <a:pt x="7197947" y="215932"/>
                    <a:pt x="7154800" y="215932"/>
                  </a:cubicBezTo>
                  <a:cubicBezTo>
                    <a:pt x="7111651" y="215932"/>
                    <a:pt x="7083457" y="242221"/>
                    <a:pt x="7083457" y="285464"/>
                  </a:cubicBezTo>
                  <a:lnTo>
                    <a:pt x="7083457" y="1074230"/>
                  </a:lnTo>
                  <a:cubicBezTo>
                    <a:pt x="7083457" y="1117378"/>
                    <a:pt x="7111651" y="1143667"/>
                    <a:pt x="7154800" y="1143667"/>
                  </a:cubicBezTo>
                  <a:cubicBezTo>
                    <a:pt x="7197947" y="1143667"/>
                    <a:pt x="7226142" y="1117378"/>
                    <a:pt x="7226142" y="1074230"/>
                  </a:cubicBezTo>
                  <a:lnTo>
                    <a:pt x="7226142" y="783146"/>
                  </a:lnTo>
                  <a:lnTo>
                    <a:pt x="7462742" y="783146"/>
                  </a:lnTo>
                  <a:lnTo>
                    <a:pt x="7462742" y="1074230"/>
                  </a:lnTo>
                  <a:cubicBezTo>
                    <a:pt x="7462742" y="1245108"/>
                    <a:pt x="7338822" y="1359694"/>
                    <a:pt x="7154704" y="1359694"/>
                  </a:cubicBezTo>
                  <a:cubicBezTo>
                    <a:pt x="6970585" y="1359694"/>
                    <a:pt x="6846665" y="1245108"/>
                    <a:pt x="6846665" y="1074230"/>
                  </a:cubicBezTo>
                  <a:close/>
                  <a:moveTo>
                    <a:pt x="7699248" y="238506"/>
                  </a:moveTo>
                  <a:lnTo>
                    <a:pt x="7563993" y="238506"/>
                  </a:lnTo>
                  <a:lnTo>
                    <a:pt x="7563993" y="22479"/>
                  </a:lnTo>
                  <a:lnTo>
                    <a:pt x="8071104" y="22479"/>
                  </a:lnTo>
                  <a:lnTo>
                    <a:pt x="8071104" y="238506"/>
                  </a:lnTo>
                  <a:lnTo>
                    <a:pt x="7935850" y="238506"/>
                  </a:lnTo>
                  <a:lnTo>
                    <a:pt x="7935850" y="1337120"/>
                  </a:lnTo>
                  <a:lnTo>
                    <a:pt x="7699248" y="1337120"/>
                  </a:lnTo>
                  <a:lnTo>
                    <a:pt x="7699248" y="238506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06088537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een background with a black background&#10;&#10;Description automatically generated">
            <a:extLst>
              <a:ext uri="{FF2B5EF4-FFF2-40B4-BE49-F238E27FC236}">
                <a16:creationId xmlns:a16="http://schemas.microsoft.com/office/drawing/2014/main" id="{C5A15758-18A4-F8B5-8475-885D1E2F41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3"/>
            <a:ext cx="12192000" cy="685689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C2B404-9FBA-1E87-C027-2BB6C644C1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49" y="3429000"/>
            <a:ext cx="5083175" cy="722866"/>
          </a:xfrm>
        </p:spPr>
        <p:txBody>
          <a:bodyPr anchor="b"/>
          <a:lstStyle>
            <a:lvl1pPr>
              <a:defRPr sz="5000">
                <a:solidFill>
                  <a:schemeClr val="accent2"/>
                </a:solidFill>
              </a:defRPr>
            </a:lvl1pPr>
          </a:lstStyle>
          <a:p>
            <a:r>
              <a:rPr lang="en-US"/>
              <a:t>Thank you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B53587-0701-2BC6-CC8A-7319C380CA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849" y="4614415"/>
            <a:ext cx="5083176" cy="1124818"/>
          </a:xfrm>
        </p:spPr>
        <p:txBody>
          <a:bodyPr/>
          <a:lstStyle>
            <a:lvl1pPr>
              <a:lnSpc>
                <a:spcPct val="110000"/>
              </a:lnSpc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optional contact info</a:t>
            </a:r>
            <a:endParaRPr lang="en-GB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1FCA1F3-62B5-C71B-D135-73E9DB172764}"/>
              </a:ext>
            </a:extLst>
          </p:cNvPr>
          <p:cNvGrpSpPr/>
          <p:nvPr userDrawn="1"/>
        </p:nvGrpSpPr>
        <p:grpSpPr>
          <a:xfrm>
            <a:off x="831850" y="1085024"/>
            <a:ext cx="3353494" cy="825804"/>
            <a:chOff x="13749337" y="746575"/>
            <a:chExt cx="11277504" cy="2777109"/>
          </a:xfrm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75D74723-591C-61E8-9A17-EE9A50999B0E}"/>
                </a:ext>
              </a:extLst>
            </p:cNvPr>
            <p:cNvSpPr/>
            <p:nvPr/>
          </p:nvSpPr>
          <p:spPr>
            <a:xfrm>
              <a:off x="13749337" y="746575"/>
              <a:ext cx="5114450" cy="2777109"/>
            </a:xfrm>
            <a:custGeom>
              <a:avLst/>
              <a:gdLst>
                <a:gd name="connsiteX0" fmla="*/ 5080826 w 5114450"/>
                <a:gd name="connsiteY0" fmla="*/ 664559 h 2777109"/>
                <a:gd name="connsiteX1" fmla="*/ 5114450 w 5114450"/>
                <a:gd name="connsiteY1" fmla="*/ 952786 h 2777109"/>
                <a:gd name="connsiteX2" fmla="*/ 4924234 w 5114450"/>
                <a:gd name="connsiteY2" fmla="*/ 952786 h 2777109"/>
                <a:gd name="connsiteX3" fmla="*/ 4911662 w 5114450"/>
                <a:gd name="connsiteY3" fmla="*/ 812292 h 2777109"/>
                <a:gd name="connsiteX4" fmla="*/ 4562570 w 5114450"/>
                <a:gd name="connsiteY4" fmla="*/ 812292 h 2777109"/>
                <a:gd name="connsiteX5" fmla="*/ 4196906 w 5114450"/>
                <a:gd name="connsiteY5" fmla="*/ 972026 h 2777109"/>
                <a:gd name="connsiteX6" fmla="*/ 4047362 w 5114450"/>
                <a:gd name="connsiteY6" fmla="*/ 952786 h 2777109"/>
                <a:gd name="connsiteX7" fmla="*/ 5080826 w 5114450"/>
                <a:gd name="connsiteY7" fmla="*/ 664559 h 2777109"/>
                <a:gd name="connsiteX8" fmla="*/ 4833462 w 5114450"/>
                <a:gd name="connsiteY8" fmla="*/ 250221 h 2777109"/>
                <a:gd name="connsiteX9" fmla="*/ 5031866 w 5114450"/>
                <a:gd name="connsiteY9" fmla="*/ 250221 h 2777109"/>
                <a:gd name="connsiteX10" fmla="*/ 5076634 w 5114450"/>
                <a:gd name="connsiteY10" fmla="*/ 629697 h 2777109"/>
                <a:gd name="connsiteX11" fmla="*/ 4896516 w 5114450"/>
                <a:gd name="connsiteY11" fmla="*/ 650176 h 2777109"/>
                <a:gd name="connsiteX12" fmla="*/ 4876418 w 5114450"/>
                <a:gd name="connsiteY12" fmla="*/ 423767 h 2777109"/>
                <a:gd name="connsiteX13" fmla="*/ 4658010 w 5114450"/>
                <a:gd name="connsiteY13" fmla="*/ 693610 h 2777109"/>
                <a:gd name="connsiteX14" fmla="*/ 4657914 w 5114450"/>
                <a:gd name="connsiteY14" fmla="*/ 693610 h 2777109"/>
                <a:gd name="connsiteX15" fmla="*/ 4412456 w 5114450"/>
                <a:gd name="connsiteY15" fmla="*/ 758856 h 2777109"/>
                <a:gd name="connsiteX16" fmla="*/ 4833462 w 5114450"/>
                <a:gd name="connsiteY16" fmla="*/ 250221 h 2777109"/>
                <a:gd name="connsiteX17" fmla="*/ 4326922 w 5114450"/>
                <a:gd name="connsiteY17" fmla="*/ 232600 h 2777109"/>
                <a:gd name="connsiteX18" fmla="*/ 4614670 w 5114450"/>
                <a:gd name="connsiteY18" fmla="*/ 329279 h 2777109"/>
                <a:gd name="connsiteX19" fmla="*/ 4508658 w 5114450"/>
                <a:gd name="connsiteY19" fmla="*/ 460438 h 2777109"/>
                <a:gd name="connsiteX20" fmla="*/ 4508658 w 5114450"/>
                <a:gd name="connsiteY20" fmla="*/ 460533 h 2777109"/>
                <a:gd name="connsiteX21" fmla="*/ 4299298 w 5114450"/>
                <a:gd name="connsiteY21" fmla="*/ 376999 h 2777109"/>
                <a:gd name="connsiteX22" fmla="*/ 4010024 w 5114450"/>
                <a:gd name="connsiteY22" fmla="*/ 619887 h 2777109"/>
                <a:gd name="connsiteX23" fmla="*/ 4113466 w 5114450"/>
                <a:gd name="connsiteY23" fmla="*/ 811911 h 2777109"/>
                <a:gd name="connsiteX24" fmla="*/ 4215670 w 5114450"/>
                <a:gd name="connsiteY24" fmla="*/ 826484 h 2777109"/>
                <a:gd name="connsiteX25" fmla="*/ 3928300 w 5114450"/>
                <a:gd name="connsiteY25" fmla="*/ 952881 h 2777109"/>
                <a:gd name="connsiteX26" fmla="*/ 3206400 w 5114450"/>
                <a:gd name="connsiteY26" fmla="*/ 952881 h 2777109"/>
                <a:gd name="connsiteX27" fmla="*/ 3454336 w 5114450"/>
                <a:gd name="connsiteY27" fmla="*/ 250317 h 2777109"/>
                <a:gd name="connsiteX28" fmla="*/ 3987164 w 5114450"/>
                <a:gd name="connsiteY28" fmla="*/ 250317 h 2777109"/>
                <a:gd name="connsiteX29" fmla="*/ 3871626 w 5114450"/>
                <a:gd name="connsiteY29" fmla="*/ 390810 h 2777109"/>
                <a:gd name="connsiteX30" fmla="*/ 3587590 w 5114450"/>
                <a:gd name="connsiteY30" fmla="*/ 390810 h 2777109"/>
                <a:gd name="connsiteX31" fmla="*/ 3544156 w 5114450"/>
                <a:gd name="connsiteY31" fmla="*/ 513683 h 2777109"/>
                <a:gd name="connsiteX32" fmla="*/ 3770470 w 5114450"/>
                <a:gd name="connsiteY32" fmla="*/ 513683 h 2777109"/>
                <a:gd name="connsiteX33" fmla="*/ 3655122 w 5114450"/>
                <a:gd name="connsiteY33" fmla="*/ 653796 h 2777109"/>
                <a:gd name="connsiteX34" fmla="*/ 3494722 w 5114450"/>
                <a:gd name="connsiteY34" fmla="*/ 653796 h 2777109"/>
                <a:gd name="connsiteX35" fmla="*/ 3438810 w 5114450"/>
                <a:gd name="connsiteY35" fmla="*/ 812101 h 2777109"/>
                <a:gd name="connsiteX36" fmla="*/ 3873530 w 5114450"/>
                <a:gd name="connsiteY36" fmla="*/ 812101 h 2777109"/>
                <a:gd name="connsiteX37" fmla="*/ 3829430 w 5114450"/>
                <a:gd name="connsiteY37" fmla="*/ 629793 h 2777109"/>
                <a:gd name="connsiteX38" fmla="*/ 4326922 w 5114450"/>
                <a:gd name="connsiteY38" fmla="*/ 232600 h 2777109"/>
                <a:gd name="connsiteX39" fmla="*/ 1567529 w 5114450"/>
                <a:gd name="connsiteY39" fmla="*/ 0 h 2777109"/>
                <a:gd name="connsiteX40" fmla="*/ 2797397 w 5114450"/>
                <a:gd name="connsiteY40" fmla="*/ 1388555 h 2777109"/>
                <a:gd name="connsiteX41" fmla="*/ 1567529 w 5114450"/>
                <a:gd name="connsiteY41" fmla="*/ 2777109 h 2777109"/>
                <a:gd name="connsiteX42" fmla="*/ 1567529 w 5114450"/>
                <a:gd name="connsiteY42" fmla="*/ 2003965 h 2777109"/>
                <a:gd name="connsiteX43" fmla="*/ 2036921 w 5114450"/>
                <a:gd name="connsiteY43" fmla="*/ 1388555 h 2777109"/>
                <a:gd name="connsiteX44" fmla="*/ 1567529 w 5114450"/>
                <a:gd name="connsiteY44" fmla="*/ 773144 h 2777109"/>
                <a:gd name="connsiteX45" fmla="*/ 1229868 w 5114450"/>
                <a:gd name="connsiteY45" fmla="*/ 0 h 2777109"/>
                <a:gd name="connsiteX46" fmla="*/ 1229868 w 5114450"/>
                <a:gd name="connsiteY46" fmla="*/ 773144 h 2777109"/>
                <a:gd name="connsiteX47" fmla="*/ 760476 w 5114450"/>
                <a:gd name="connsiteY47" fmla="*/ 1388555 h 2777109"/>
                <a:gd name="connsiteX48" fmla="*/ 1229868 w 5114450"/>
                <a:gd name="connsiteY48" fmla="*/ 2003965 h 2777109"/>
                <a:gd name="connsiteX49" fmla="*/ 1229868 w 5114450"/>
                <a:gd name="connsiteY49" fmla="*/ 2777109 h 2777109"/>
                <a:gd name="connsiteX50" fmla="*/ 0 w 5114450"/>
                <a:gd name="connsiteY50" fmla="*/ 1388555 h 2777109"/>
                <a:gd name="connsiteX51" fmla="*/ 1229868 w 5114450"/>
                <a:gd name="connsiteY51" fmla="*/ 0 h 2777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114450" h="2777109">
                  <a:moveTo>
                    <a:pt x="5080826" y="664559"/>
                  </a:moveTo>
                  <a:lnTo>
                    <a:pt x="5114450" y="952786"/>
                  </a:lnTo>
                  <a:lnTo>
                    <a:pt x="4924234" y="952786"/>
                  </a:lnTo>
                  <a:cubicBezTo>
                    <a:pt x="4924234" y="952786"/>
                    <a:pt x="4911662" y="812292"/>
                    <a:pt x="4911662" y="812292"/>
                  </a:cubicBezTo>
                  <a:lnTo>
                    <a:pt x="4562570" y="812292"/>
                  </a:lnTo>
                  <a:cubicBezTo>
                    <a:pt x="4448746" y="938022"/>
                    <a:pt x="4354162" y="972026"/>
                    <a:pt x="4196906" y="972026"/>
                  </a:cubicBezTo>
                  <a:cubicBezTo>
                    <a:pt x="4140136" y="972026"/>
                    <a:pt x="4086892" y="965549"/>
                    <a:pt x="4047362" y="952786"/>
                  </a:cubicBezTo>
                  <a:cubicBezTo>
                    <a:pt x="4047362" y="952786"/>
                    <a:pt x="4500562" y="719233"/>
                    <a:pt x="5080826" y="664559"/>
                  </a:cubicBezTo>
                  <a:close/>
                  <a:moveTo>
                    <a:pt x="4833462" y="250221"/>
                  </a:moveTo>
                  <a:lnTo>
                    <a:pt x="5031866" y="250221"/>
                  </a:lnTo>
                  <a:lnTo>
                    <a:pt x="5076634" y="629697"/>
                  </a:lnTo>
                  <a:cubicBezTo>
                    <a:pt x="5016626" y="636079"/>
                    <a:pt x="4955094" y="641127"/>
                    <a:pt x="4896516" y="650176"/>
                  </a:cubicBezTo>
                  <a:lnTo>
                    <a:pt x="4876418" y="423767"/>
                  </a:lnTo>
                  <a:lnTo>
                    <a:pt x="4658010" y="693610"/>
                  </a:lnTo>
                  <a:lnTo>
                    <a:pt x="4657914" y="693610"/>
                  </a:lnTo>
                  <a:cubicBezTo>
                    <a:pt x="4574094" y="712470"/>
                    <a:pt x="4492274" y="734282"/>
                    <a:pt x="4412456" y="758856"/>
                  </a:cubicBezTo>
                  <a:cubicBezTo>
                    <a:pt x="4412456" y="758856"/>
                    <a:pt x="4833462" y="250221"/>
                    <a:pt x="4833462" y="250221"/>
                  </a:cubicBezTo>
                  <a:close/>
                  <a:moveTo>
                    <a:pt x="4326922" y="232600"/>
                  </a:moveTo>
                  <a:cubicBezTo>
                    <a:pt x="4449222" y="232600"/>
                    <a:pt x="4548090" y="269271"/>
                    <a:pt x="4614670" y="329279"/>
                  </a:cubicBezTo>
                  <a:lnTo>
                    <a:pt x="4508658" y="460438"/>
                  </a:lnTo>
                  <a:lnTo>
                    <a:pt x="4508658" y="460533"/>
                  </a:lnTo>
                  <a:cubicBezTo>
                    <a:pt x="4467130" y="414051"/>
                    <a:pt x="4383498" y="376999"/>
                    <a:pt x="4299298" y="376999"/>
                  </a:cubicBezTo>
                  <a:cubicBezTo>
                    <a:pt x="4128706" y="376999"/>
                    <a:pt x="4021930" y="498538"/>
                    <a:pt x="4010024" y="619887"/>
                  </a:cubicBezTo>
                  <a:cubicBezTo>
                    <a:pt x="3999928" y="723042"/>
                    <a:pt x="4035838" y="785241"/>
                    <a:pt x="4113466" y="811911"/>
                  </a:cubicBezTo>
                  <a:cubicBezTo>
                    <a:pt x="4156518" y="822769"/>
                    <a:pt x="4180902" y="825246"/>
                    <a:pt x="4215670" y="826484"/>
                  </a:cubicBezTo>
                  <a:cubicBezTo>
                    <a:pt x="4030408" y="898017"/>
                    <a:pt x="3928300" y="952881"/>
                    <a:pt x="3928300" y="952881"/>
                  </a:cubicBezTo>
                  <a:lnTo>
                    <a:pt x="3206400" y="952881"/>
                  </a:lnTo>
                  <a:cubicBezTo>
                    <a:pt x="3206400" y="952881"/>
                    <a:pt x="3454336" y="250317"/>
                    <a:pt x="3454336" y="250317"/>
                  </a:cubicBezTo>
                  <a:lnTo>
                    <a:pt x="3987164" y="250317"/>
                  </a:lnTo>
                  <a:cubicBezTo>
                    <a:pt x="3987164" y="250317"/>
                    <a:pt x="3871626" y="390810"/>
                    <a:pt x="3871626" y="390810"/>
                  </a:cubicBezTo>
                  <a:lnTo>
                    <a:pt x="3587590" y="390810"/>
                  </a:lnTo>
                  <a:cubicBezTo>
                    <a:pt x="3587590" y="390810"/>
                    <a:pt x="3544156" y="513683"/>
                    <a:pt x="3544156" y="513683"/>
                  </a:cubicBezTo>
                  <a:lnTo>
                    <a:pt x="3770470" y="513683"/>
                  </a:lnTo>
                  <a:cubicBezTo>
                    <a:pt x="3770470" y="513683"/>
                    <a:pt x="3655122" y="653796"/>
                    <a:pt x="3655122" y="653796"/>
                  </a:cubicBezTo>
                  <a:lnTo>
                    <a:pt x="3494722" y="653796"/>
                  </a:lnTo>
                  <a:cubicBezTo>
                    <a:pt x="3494722" y="653796"/>
                    <a:pt x="3438810" y="812101"/>
                    <a:pt x="3438810" y="812101"/>
                  </a:cubicBezTo>
                  <a:lnTo>
                    <a:pt x="3873530" y="812101"/>
                  </a:lnTo>
                  <a:cubicBezTo>
                    <a:pt x="3837336" y="752284"/>
                    <a:pt x="3826192" y="691610"/>
                    <a:pt x="3829430" y="629793"/>
                  </a:cubicBezTo>
                  <a:cubicBezTo>
                    <a:pt x="3840290" y="425481"/>
                    <a:pt x="4007454" y="232600"/>
                    <a:pt x="4326922" y="232600"/>
                  </a:cubicBezTo>
                  <a:close/>
                  <a:moveTo>
                    <a:pt x="1567529" y="0"/>
                  </a:moveTo>
                  <a:cubicBezTo>
                    <a:pt x="2260473" y="83344"/>
                    <a:pt x="2797397" y="673227"/>
                    <a:pt x="2797397" y="1388555"/>
                  </a:cubicBezTo>
                  <a:cubicBezTo>
                    <a:pt x="2797397" y="2103882"/>
                    <a:pt x="2260378" y="2693765"/>
                    <a:pt x="1567529" y="2777109"/>
                  </a:cubicBezTo>
                  <a:lnTo>
                    <a:pt x="1567529" y="2003965"/>
                  </a:lnTo>
                  <a:cubicBezTo>
                    <a:pt x="1837754" y="1929765"/>
                    <a:pt x="2036921" y="1682020"/>
                    <a:pt x="2036921" y="1388555"/>
                  </a:cubicBezTo>
                  <a:cubicBezTo>
                    <a:pt x="2036921" y="1095089"/>
                    <a:pt x="1837754" y="847344"/>
                    <a:pt x="1567529" y="773144"/>
                  </a:cubicBezTo>
                  <a:close/>
                  <a:moveTo>
                    <a:pt x="1229868" y="0"/>
                  </a:moveTo>
                  <a:lnTo>
                    <a:pt x="1229868" y="773144"/>
                  </a:lnTo>
                  <a:cubicBezTo>
                    <a:pt x="959644" y="847344"/>
                    <a:pt x="760476" y="1095089"/>
                    <a:pt x="760476" y="1388555"/>
                  </a:cubicBezTo>
                  <a:cubicBezTo>
                    <a:pt x="760476" y="1682020"/>
                    <a:pt x="959644" y="1929765"/>
                    <a:pt x="1229868" y="2003965"/>
                  </a:cubicBezTo>
                  <a:lnTo>
                    <a:pt x="1229868" y="2777109"/>
                  </a:lnTo>
                  <a:cubicBezTo>
                    <a:pt x="537020" y="2693765"/>
                    <a:pt x="0" y="2103882"/>
                    <a:pt x="0" y="1388555"/>
                  </a:cubicBezTo>
                  <a:cubicBezTo>
                    <a:pt x="0" y="673227"/>
                    <a:pt x="537020" y="83344"/>
                    <a:pt x="1229868" y="0"/>
                  </a:cubicBezTo>
                  <a:close/>
                </a:path>
              </a:pathLst>
            </a:custGeom>
            <a:solidFill>
              <a:srgbClr val="96F50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F748AF8-4448-81DE-F0BA-A520C2A36C79}"/>
                </a:ext>
              </a:extLst>
            </p:cNvPr>
            <p:cNvSpPr/>
            <p:nvPr/>
          </p:nvSpPr>
          <p:spPr>
            <a:xfrm>
              <a:off x="16955738" y="1931294"/>
              <a:ext cx="8071103" cy="1359693"/>
            </a:xfrm>
            <a:custGeom>
              <a:avLst/>
              <a:gdLst>
                <a:gd name="connsiteX0" fmla="*/ 0 w 8071103"/>
                <a:gd name="connsiteY0" fmla="*/ 1074230 h 1359693"/>
                <a:gd name="connsiteX1" fmla="*/ 0 w 8071103"/>
                <a:gd name="connsiteY1" fmla="*/ 283559 h 1359693"/>
                <a:gd name="connsiteX2" fmla="*/ 308038 w 8071103"/>
                <a:gd name="connsiteY2" fmla="*/ 0 h 1359693"/>
                <a:gd name="connsiteX3" fmla="*/ 616077 w 8071103"/>
                <a:gd name="connsiteY3" fmla="*/ 283559 h 1359693"/>
                <a:gd name="connsiteX4" fmla="*/ 616077 w 8071103"/>
                <a:gd name="connsiteY4" fmla="*/ 557784 h 1359693"/>
                <a:gd name="connsiteX5" fmla="*/ 379476 w 8071103"/>
                <a:gd name="connsiteY5" fmla="*/ 557784 h 1359693"/>
                <a:gd name="connsiteX6" fmla="*/ 379476 w 8071103"/>
                <a:gd name="connsiteY6" fmla="*/ 285464 h 1359693"/>
                <a:gd name="connsiteX7" fmla="*/ 308134 w 8071103"/>
                <a:gd name="connsiteY7" fmla="*/ 215932 h 1359693"/>
                <a:gd name="connsiteX8" fmla="*/ 236791 w 8071103"/>
                <a:gd name="connsiteY8" fmla="*/ 285464 h 1359693"/>
                <a:gd name="connsiteX9" fmla="*/ 236791 w 8071103"/>
                <a:gd name="connsiteY9" fmla="*/ 1074230 h 1359693"/>
                <a:gd name="connsiteX10" fmla="*/ 308134 w 8071103"/>
                <a:gd name="connsiteY10" fmla="*/ 1143667 h 1359693"/>
                <a:gd name="connsiteX11" fmla="*/ 379476 w 8071103"/>
                <a:gd name="connsiteY11" fmla="*/ 1074230 h 1359693"/>
                <a:gd name="connsiteX12" fmla="*/ 379476 w 8071103"/>
                <a:gd name="connsiteY12" fmla="*/ 783146 h 1359693"/>
                <a:gd name="connsiteX13" fmla="*/ 616077 w 8071103"/>
                <a:gd name="connsiteY13" fmla="*/ 783146 h 1359693"/>
                <a:gd name="connsiteX14" fmla="*/ 616077 w 8071103"/>
                <a:gd name="connsiteY14" fmla="*/ 1074230 h 1359693"/>
                <a:gd name="connsiteX15" fmla="*/ 308038 w 8071103"/>
                <a:gd name="connsiteY15" fmla="*/ 1359694 h 1359693"/>
                <a:gd name="connsiteX16" fmla="*/ 0 w 8071103"/>
                <a:gd name="connsiteY16" fmla="*/ 1074230 h 1359693"/>
                <a:gd name="connsiteX17" fmla="*/ 762476 w 8071103"/>
                <a:gd name="connsiteY17" fmla="*/ 22574 h 1359693"/>
                <a:gd name="connsiteX18" fmla="*/ 999077 w 8071103"/>
                <a:gd name="connsiteY18" fmla="*/ 22574 h 1359693"/>
                <a:gd name="connsiteX19" fmla="*/ 999077 w 8071103"/>
                <a:gd name="connsiteY19" fmla="*/ 1121283 h 1359693"/>
                <a:gd name="connsiteX20" fmla="*/ 1198150 w 8071103"/>
                <a:gd name="connsiteY20" fmla="*/ 1121283 h 1359693"/>
                <a:gd name="connsiteX21" fmla="*/ 1198150 w 8071103"/>
                <a:gd name="connsiteY21" fmla="*/ 1337215 h 1359693"/>
                <a:gd name="connsiteX22" fmla="*/ 762476 w 8071103"/>
                <a:gd name="connsiteY22" fmla="*/ 1337215 h 1359693"/>
                <a:gd name="connsiteX23" fmla="*/ 762476 w 8071103"/>
                <a:gd name="connsiteY23" fmla="*/ 22574 h 1359693"/>
                <a:gd name="connsiteX24" fmla="*/ 1293971 w 8071103"/>
                <a:gd name="connsiteY24" fmla="*/ 1074230 h 1359693"/>
                <a:gd name="connsiteX25" fmla="*/ 1293971 w 8071103"/>
                <a:gd name="connsiteY25" fmla="*/ 22479 h 1359693"/>
                <a:gd name="connsiteX26" fmla="*/ 1530572 w 8071103"/>
                <a:gd name="connsiteY26" fmla="*/ 22479 h 1359693"/>
                <a:gd name="connsiteX27" fmla="*/ 1530572 w 8071103"/>
                <a:gd name="connsiteY27" fmla="*/ 1074230 h 1359693"/>
                <a:gd name="connsiteX28" fmla="*/ 1600105 w 8071103"/>
                <a:gd name="connsiteY28" fmla="*/ 1143667 h 1359693"/>
                <a:gd name="connsiteX29" fmla="*/ 1671447 w 8071103"/>
                <a:gd name="connsiteY29" fmla="*/ 1074230 h 1359693"/>
                <a:gd name="connsiteX30" fmla="*/ 1671447 w 8071103"/>
                <a:gd name="connsiteY30" fmla="*/ 22479 h 1359693"/>
                <a:gd name="connsiteX31" fmla="*/ 1908048 w 8071103"/>
                <a:gd name="connsiteY31" fmla="*/ 22479 h 1359693"/>
                <a:gd name="connsiteX32" fmla="*/ 1908048 w 8071103"/>
                <a:gd name="connsiteY32" fmla="*/ 1074230 h 1359693"/>
                <a:gd name="connsiteX33" fmla="*/ 1600009 w 8071103"/>
                <a:gd name="connsiteY33" fmla="*/ 1359694 h 1359693"/>
                <a:gd name="connsiteX34" fmla="*/ 1293876 w 8071103"/>
                <a:gd name="connsiteY34" fmla="*/ 1074230 h 1359693"/>
                <a:gd name="connsiteX35" fmla="*/ 2060162 w 8071103"/>
                <a:gd name="connsiteY35" fmla="*/ 22574 h 1359693"/>
                <a:gd name="connsiteX36" fmla="*/ 2394490 w 8071103"/>
                <a:gd name="connsiteY36" fmla="*/ 22574 h 1359693"/>
                <a:gd name="connsiteX37" fmla="*/ 2674335 w 8071103"/>
                <a:gd name="connsiteY37" fmla="*/ 279844 h 1359693"/>
                <a:gd name="connsiteX38" fmla="*/ 2674335 w 8071103"/>
                <a:gd name="connsiteY38" fmla="*/ 458248 h 1359693"/>
                <a:gd name="connsiteX39" fmla="*/ 2565369 w 8071103"/>
                <a:gd name="connsiteY39" fmla="*/ 651701 h 1359693"/>
                <a:gd name="connsiteX40" fmla="*/ 2565369 w 8071103"/>
                <a:gd name="connsiteY40" fmla="*/ 662940 h 1359693"/>
                <a:gd name="connsiteX41" fmla="*/ 2685574 w 8071103"/>
                <a:gd name="connsiteY41" fmla="*/ 865727 h 1359693"/>
                <a:gd name="connsiteX42" fmla="*/ 2685574 w 8071103"/>
                <a:gd name="connsiteY42" fmla="*/ 1079849 h 1359693"/>
                <a:gd name="connsiteX43" fmla="*/ 2405729 w 8071103"/>
                <a:gd name="connsiteY43" fmla="*/ 1337120 h 1359693"/>
                <a:gd name="connsiteX44" fmla="*/ 2060162 w 8071103"/>
                <a:gd name="connsiteY44" fmla="*/ 1337120 h 1359693"/>
                <a:gd name="connsiteX45" fmla="*/ 2060162 w 8071103"/>
                <a:gd name="connsiteY45" fmla="*/ 22574 h 1359693"/>
                <a:gd name="connsiteX46" fmla="*/ 2296763 w 8071103"/>
                <a:gd name="connsiteY46" fmla="*/ 238506 h 1359693"/>
                <a:gd name="connsiteX47" fmla="*/ 2296763 w 8071103"/>
                <a:gd name="connsiteY47" fmla="*/ 569024 h 1359693"/>
                <a:gd name="connsiteX48" fmla="*/ 2366296 w 8071103"/>
                <a:gd name="connsiteY48" fmla="*/ 569024 h 1359693"/>
                <a:gd name="connsiteX49" fmla="*/ 2437638 w 8071103"/>
                <a:gd name="connsiteY49" fmla="*/ 497681 h 1359693"/>
                <a:gd name="connsiteX50" fmla="*/ 2437638 w 8071103"/>
                <a:gd name="connsiteY50" fmla="*/ 307943 h 1359693"/>
                <a:gd name="connsiteX51" fmla="*/ 2366296 w 8071103"/>
                <a:gd name="connsiteY51" fmla="*/ 238506 h 1359693"/>
                <a:gd name="connsiteX52" fmla="*/ 2296763 w 8071103"/>
                <a:gd name="connsiteY52" fmla="*/ 238506 h 1359693"/>
                <a:gd name="connsiteX53" fmla="*/ 2296763 w 8071103"/>
                <a:gd name="connsiteY53" fmla="*/ 770001 h 1359693"/>
                <a:gd name="connsiteX54" fmla="*/ 2296763 w 8071103"/>
                <a:gd name="connsiteY54" fmla="*/ 1121188 h 1359693"/>
                <a:gd name="connsiteX55" fmla="*/ 2379440 w 8071103"/>
                <a:gd name="connsiteY55" fmla="*/ 1121188 h 1359693"/>
                <a:gd name="connsiteX56" fmla="*/ 2448973 w 8071103"/>
                <a:gd name="connsiteY56" fmla="*/ 1051655 h 1359693"/>
                <a:gd name="connsiteX57" fmla="*/ 2448973 w 8071103"/>
                <a:gd name="connsiteY57" fmla="*/ 841343 h 1359693"/>
                <a:gd name="connsiteX58" fmla="*/ 2379440 w 8071103"/>
                <a:gd name="connsiteY58" fmla="*/ 770001 h 1359693"/>
                <a:gd name="connsiteX59" fmla="*/ 2296763 w 8071103"/>
                <a:gd name="connsiteY59" fmla="*/ 770001 h 1359693"/>
                <a:gd name="connsiteX60" fmla="*/ 3094482 w 8071103"/>
                <a:gd name="connsiteY60" fmla="*/ 1074230 h 1359693"/>
                <a:gd name="connsiteX61" fmla="*/ 3094482 w 8071103"/>
                <a:gd name="connsiteY61" fmla="*/ 283559 h 1359693"/>
                <a:gd name="connsiteX62" fmla="*/ 3402520 w 8071103"/>
                <a:gd name="connsiteY62" fmla="*/ 0 h 1359693"/>
                <a:gd name="connsiteX63" fmla="*/ 3710559 w 8071103"/>
                <a:gd name="connsiteY63" fmla="*/ 283559 h 1359693"/>
                <a:gd name="connsiteX64" fmla="*/ 3710559 w 8071103"/>
                <a:gd name="connsiteY64" fmla="*/ 557784 h 1359693"/>
                <a:gd name="connsiteX65" fmla="*/ 3473958 w 8071103"/>
                <a:gd name="connsiteY65" fmla="*/ 557784 h 1359693"/>
                <a:gd name="connsiteX66" fmla="*/ 3473958 w 8071103"/>
                <a:gd name="connsiteY66" fmla="*/ 285464 h 1359693"/>
                <a:gd name="connsiteX67" fmla="*/ 3402616 w 8071103"/>
                <a:gd name="connsiteY67" fmla="*/ 215932 h 1359693"/>
                <a:gd name="connsiteX68" fmla="*/ 3331274 w 8071103"/>
                <a:gd name="connsiteY68" fmla="*/ 285464 h 1359693"/>
                <a:gd name="connsiteX69" fmla="*/ 3331274 w 8071103"/>
                <a:gd name="connsiteY69" fmla="*/ 1074230 h 1359693"/>
                <a:gd name="connsiteX70" fmla="*/ 3402616 w 8071103"/>
                <a:gd name="connsiteY70" fmla="*/ 1143667 h 1359693"/>
                <a:gd name="connsiteX71" fmla="*/ 3473958 w 8071103"/>
                <a:gd name="connsiteY71" fmla="*/ 1074230 h 1359693"/>
                <a:gd name="connsiteX72" fmla="*/ 3473958 w 8071103"/>
                <a:gd name="connsiteY72" fmla="*/ 783146 h 1359693"/>
                <a:gd name="connsiteX73" fmla="*/ 3710559 w 8071103"/>
                <a:gd name="connsiteY73" fmla="*/ 783146 h 1359693"/>
                <a:gd name="connsiteX74" fmla="*/ 3710559 w 8071103"/>
                <a:gd name="connsiteY74" fmla="*/ 1074230 h 1359693"/>
                <a:gd name="connsiteX75" fmla="*/ 3402520 w 8071103"/>
                <a:gd name="connsiteY75" fmla="*/ 1359694 h 1359693"/>
                <a:gd name="connsiteX76" fmla="*/ 3094482 w 8071103"/>
                <a:gd name="connsiteY76" fmla="*/ 1074230 h 1359693"/>
                <a:gd name="connsiteX77" fmla="*/ 3849434 w 8071103"/>
                <a:gd name="connsiteY77" fmla="*/ 1074230 h 1359693"/>
                <a:gd name="connsiteX78" fmla="*/ 3849434 w 8071103"/>
                <a:gd name="connsiteY78" fmla="*/ 283559 h 1359693"/>
                <a:gd name="connsiteX79" fmla="*/ 4157472 w 8071103"/>
                <a:gd name="connsiteY79" fmla="*/ 0 h 1359693"/>
                <a:gd name="connsiteX80" fmla="*/ 4465511 w 8071103"/>
                <a:gd name="connsiteY80" fmla="*/ 283559 h 1359693"/>
                <a:gd name="connsiteX81" fmla="*/ 4465511 w 8071103"/>
                <a:gd name="connsiteY81" fmla="*/ 1074230 h 1359693"/>
                <a:gd name="connsiteX82" fmla="*/ 4157472 w 8071103"/>
                <a:gd name="connsiteY82" fmla="*/ 1359694 h 1359693"/>
                <a:gd name="connsiteX83" fmla="*/ 3849434 w 8071103"/>
                <a:gd name="connsiteY83" fmla="*/ 1074230 h 1359693"/>
                <a:gd name="connsiteX84" fmla="*/ 4228814 w 8071103"/>
                <a:gd name="connsiteY84" fmla="*/ 1074230 h 1359693"/>
                <a:gd name="connsiteX85" fmla="*/ 4228814 w 8071103"/>
                <a:gd name="connsiteY85" fmla="*/ 285464 h 1359693"/>
                <a:gd name="connsiteX86" fmla="*/ 4157472 w 8071103"/>
                <a:gd name="connsiteY86" fmla="*/ 215932 h 1359693"/>
                <a:gd name="connsiteX87" fmla="*/ 4086130 w 8071103"/>
                <a:gd name="connsiteY87" fmla="*/ 285464 h 1359693"/>
                <a:gd name="connsiteX88" fmla="*/ 4086130 w 8071103"/>
                <a:gd name="connsiteY88" fmla="*/ 1074230 h 1359693"/>
                <a:gd name="connsiteX89" fmla="*/ 4157472 w 8071103"/>
                <a:gd name="connsiteY89" fmla="*/ 1143667 h 1359693"/>
                <a:gd name="connsiteX90" fmla="*/ 4228814 w 8071103"/>
                <a:gd name="connsiteY90" fmla="*/ 1074230 h 1359693"/>
                <a:gd name="connsiteX91" fmla="*/ 4613720 w 8071103"/>
                <a:gd name="connsiteY91" fmla="*/ 22574 h 1359693"/>
                <a:gd name="connsiteX92" fmla="*/ 4886039 w 8071103"/>
                <a:gd name="connsiteY92" fmla="*/ 22574 h 1359693"/>
                <a:gd name="connsiteX93" fmla="*/ 5021294 w 8071103"/>
                <a:gd name="connsiteY93" fmla="*/ 646081 h 1359693"/>
                <a:gd name="connsiteX94" fmla="*/ 5040059 w 8071103"/>
                <a:gd name="connsiteY94" fmla="*/ 811340 h 1359693"/>
                <a:gd name="connsiteX95" fmla="*/ 5071967 w 8071103"/>
                <a:gd name="connsiteY95" fmla="*/ 811340 h 1359693"/>
                <a:gd name="connsiteX96" fmla="*/ 5051298 w 8071103"/>
                <a:gd name="connsiteY96" fmla="*/ 646081 h 1359693"/>
                <a:gd name="connsiteX97" fmla="*/ 5051298 w 8071103"/>
                <a:gd name="connsiteY97" fmla="*/ 22574 h 1359693"/>
                <a:gd name="connsiteX98" fmla="*/ 5287899 w 8071103"/>
                <a:gd name="connsiteY98" fmla="*/ 22574 h 1359693"/>
                <a:gd name="connsiteX99" fmla="*/ 5287899 w 8071103"/>
                <a:gd name="connsiteY99" fmla="*/ 1337215 h 1359693"/>
                <a:gd name="connsiteX100" fmla="*/ 5017485 w 8071103"/>
                <a:gd name="connsiteY100" fmla="*/ 1337215 h 1359693"/>
                <a:gd name="connsiteX101" fmla="*/ 4882230 w 8071103"/>
                <a:gd name="connsiteY101" fmla="*/ 713708 h 1359693"/>
                <a:gd name="connsiteX102" fmla="*/ 4861560 w 8071103"/>
                <a:gd name="connsiteY102" fmla="*/ 548450 h 1359693"/>
                <a:gd name="connsiteX103" fmla="*/ 4829651 w 8071103"/>
                <a:gd name="connsiteY103" fmla="*/ 548450 h 1359693"/>
                <a:gd name="connsiteX104" fmla="*/ 4850320 w 8071103"/>
                <a:gd name="connsiteY104" fmla="*/ 713708 h 1359693"/>
                <a:gd name="connsiteX105" fmla="*/ 4850320 w 8071103"/>
                <a:gd name="connsiteY105" fmla="*/ 1337215 h 1359693"/>
                <a:gd name="connsiteX106" fmla="*/ 4613720 w 8071103"/>
                <a:gd name="connsiteY106" fmla="*/ 1337215 h 1359693"/>
                <a:gd name="connsiteX107" fmla="*/ 4613720 w 8071103"/>
                <a:gd name="connsiteY107" fmla="*/ 22574 h 1359693"/>
                <a:gd name="connsiteX108" fmla="*/ 5443823 w 8071103"/>
                <a:gd name="connsiteY108" fmla="*/ 22574 h 1359693"/>
                <a:gd name="connsiteX109" fmla="*/ 5716143 w 8071103"/>
                <a:gd name="connsiteY109" fmla="*/ 22574 h 1359693"/>
                <a:gd name="connsiteX110" fmla="*/ 5851398 w 8071103"/>
                <a:gd name="connsiteY110" fmla="*/ 646081 h 1359693"/>
                <a:gd name="connsiteX111" fmla="*/ 5870162 w 8071103"/>
                <a:gd name="connsiteY111" fmla="*/ 811340 h 1359693"/>
                <a:gd name="connsiteX112" fmla="*/ 5902071 w 8071103"/>
                <a:gd name="connsiteY112" fmla="*/ 811340 h 1359693"/>
                <a:gd name="connsiteX113" fmla="*/ 5881402 w 8071103"/>
                <a:gd name="connsiteY113" fmla="*/ 646081 h 1359693"/>
                <a:gd name="connsiteX114" fmla="*/ 5881402 w 8071103"/>
                <a:gd name="connsiteY114" fmla="*/ 22574 h 1359693"/>
                <a:gd name="connsiteX115" fmla="*/ 6118003 w 8071103"/>
                <a:gd name="connsiteY115" fmla="*/ 22574 h 1359693"/>
                <a:gd name="connsiteX116" fmla="*/ 6118003 w 8071103"/>
                <a:gd name="connsiteY116" fmla="*/ 1337215 h 1359693"/>
                <a:gd name="connsiteX117" fmla="*/ 5847588 w 8071103"/>
                <a:gd name="connsiteY117" fmla="*/ 1337215 h 1359693"/>
                <a:gd name="connsiteX118" fmla="*/ 5712333 w 8071103"/>
                <a:gd name="connsiteY118" fmla="*/ 713708 h 1359693"/>
                <a:gd name="connsiteX119" fmla="*/ 5691664 w 8071103"/>
                <a:gd name="connsiteY119" fmla="*/ 548450 h 1359693"/>
                <a:gd name="connsiteX120" fmla="*/ 5659755 w 8071103"/>
                <a:gd name="connsiteY120" fmla="*/ 548450 h 1359693"/>
                <a:gd name="connsiteX121" fmla="*/ 5680424 w 8071103"/>
                <a:gd name="connsiteY121" fmla="*/ 713708 h 1359693"/>
                <a:gd name="connsiteX122" fmla="*/ 5680424 w 8071103"/>
                <a:gd name="connsiteY122" fmla="*/ 1337215 h 1359693"/>
                <a:gd name="connsiteX123" fmla="*/ 5443823 w 8071103"/>
                <a:gd name="connsiteY123" fmla="*/ 1337215 h 1359693"/>
                <a:gd name="connsiteX124" fmla="*/ 5443823 w 8071103"/>
                <a:gd name="connsiteY124" fmla="*/ 22574 h 1359693"/>
                <a:gd name="connsiteX125" fmla="*/ 6273832 w 8071103"/>
                <a:gd name="connsiteY125" fmla="*/ 22574 h 1359693"/>
                <a:gd name="connsiteX126" fmla="*/ 6720840 w 8071103"/>
                <a:gd name="connsiteY126" fmla="*/ 22574 h 1359693"/>
                <a:gd name="connsiteX127" fmla="*/ 6720840 w 8071103"/>
                <a:gd name="connsiteY127" fmla="*/ 238601 h 1359693"/>
                <a:gd name="connsiteX128" fmla="*/ 6510528 w 8071103"/>
                <a:gd name="connsiteY128" fmla="*/ 238601 h 1359693"/>
                <a:gd name="connsiteX129" fmla="*/ 6510528 w 8071103"/>
                <a:gd name="connsiteY129" fmla="*/ 565404 h 1359693"/>
                <a:gd name="connsiteX130" fmla="*/ 6700172 w 8071103"/>
                <a:gd name="connsiteY130" fmla="*/ 565404 h 1359693"/>
                <a:gd name="connsiteX131" fmla="*/ 6700172 w 8071103"/>
                <a:gd name="connsiteY131" fmla="*/ 775716 h 1359693"/>
                <a:gd name="connsiteX132" fmla="*/ 6510528 w 8071103"/>
                <a:gd name="connsiteY132" fmla="*/ 775716 h 1359693"/>
                <a:gd name="connsiteX133" fmla="*/ 6510528 w 8071103"/>
                <a:gd name="connsiteY133" fmla="*/ 1121283 h 1359693"/>
                <a:gd name="connsiteX134" fmla="*/ 6720840 w 8071103"/>
                <a:gd name="connsiteY134" fmla="*/ 1121283 h 1359693"/>
                <a:gd name="connsiteX135" fmla="*/ 6720840 w 8071103"/>
                <a:gd name="connsiteY135" fmla="*/ 1337215 h 1359693"/>
                <a:gd name="connsiteX136" fmla="*/ 6273832 w 8071103"/>
                <a:gd name="connsiteY136" fmla="*/ 1337215 h 1359693"/>
                <a:gd name="connsiteX137" fmla="*/ 6273832 w 8071103"/>
                <a:gd name="connsiteY137" fmla="*/ 22574 h 1359693"/>
                <a:gd name="connsiteX138" fmla="*/ 6846665 w 8071103"/>
                <a:gd name="connsiteY138" fmla="*/ 1074230 h 1359693"/>
                <a:gd name="connsiteX139" fmla="*/ 6846665 w 8071103"/>
                <a:gd name="connsiteY139" fmla="*/ 283559 h 1359693"/>
                <a:gd name="connsiteX140" fmla="*/ 7154704 w 8071103"/>
                <a:gd name="connsiteY140" fmla="*/ 0 h 1359693"/>
                <a:gd name="connsiteX141" fmla="*/ 7462742 w 8071103"/>
                <a:gd name="connsiteY141" fmla="*/ 283559 h 1359693"/>
                <a:gd name="connsiteX142" fmla="*/ 7462742 w 8071103"/>
                <a:gd name="connsiteY142" fmla="*/ 557784 h 1359693"/>
                <a:gd name="connsiteX143" fmla="*/ 7226142 w 8071103"/>
                <a:gd name="connsiteY143" fmla="*/ 557784 h 1359693"/>
                <a:gd name="connsiteX144" fmla="*/ 7226142 w 8071103"/>
                <a:gd name="connsiteY144" fmla="*/ 285464 h 1359693"/>
                <a:gd name="connsiteX145" fmla="*/ 7154800 w 8071103"/>
                <a:gd name="connsiteY145" fmla="*/ 215932 h 1359693"/>
                <a:gd name="connsiteX146" fmla="*/ 7083457 w 8071103"/>
                <a:gd name="connsiteY146" fmla="*/ 285464 h 1359693"/>
                <a:gd name="connsiteX147" fmla="*/ 7083457 w 8071103"/>
                <a:gd name="connsiteY147" fmla="*/ 1074230 h 1359693"/>
                <a:gd name="connsiteX148" fmla="*/ 7154800 w 8071103"/>
                <a:gd name="connsiteY148" fmla="*/ 1143667 h 1359693"/>
                <a:gd name="connsiteX149" fmla="*/ 7226142 w 8071103"/>
                <a:gd name="connsiteY149" fmla="*/ 1074230 h 1359693"/>
                <a:gd name="connsiteX150" fmla="*/ 7226142 w 8071103"/>
                <a:gd name="connsiteY150" fmla="*/ 783146 h 1359693"/>
                <a:gd name="connsiteX151" fmla="*/ 7462742 w 8071103"/>
                <a:gd name="connsiteY151" fmla="*/ 783146 h 1359693"/>
                <a:gd name="connsiteX152" fmla="*/ 7462742 w 8071103"/>
                <a:gd name="connsiteY152" fmla="*/ 1074230 h 1359693"/>
                <a:gd name="connsiteX153" fmla="*/ 7154704 w 8071103"/>
                <a:gd name="connsiteY153" fmla="*/ 1359694 h 1359693"/>
                <a:gd name="connsiteX154" fmla="*/ 6846665 w 8071103"/>
                <a:gd name="connsiteY154" fmla="*/ 1074230 h 1359693"/>
                <a:gd name="connsiteX155" fmla="*/ 7699248 w 8071103"/>
                <a:gd name="connsiteY155" fmla="*/ 238506 h 1359693"/>
                <a:gd name="connsiteX156" fmla="*/ 7563993 w 8071103"/>
                <a:gd name="connsiteY156" fmla="*/ 238506 h 1359693"/>
                <a:gd name="connsiteX157" fmla="*/ 7563993 w 8071103"/>
                <a:gd name="connsiteY157" fmla="*/ 22479 h 1359693"/>
                <a:gd name="connsiteX158" fmla="*/ 8071104 w 8071103"/>
                <a:gd name="connsiteY158" fmla="*/ 22479 h 1359693"/>
                <a:gd name="connsiteX159" fmla="*/ 8071104 w 8071103"/>
                <a:gd name="connsiteY159" fmla="*/ 238506 h 1359693"/>
                <a:gd name="connsiteX160" fmla="*/ 7935850 w 8071103"/>
                <a:gd name="connsiteY160" fmla="*/ 238506 h 1359693"/>
                <a:gd name="connsiteX161" fmla="*/ 7935850 w 8071103"/>
                <a:gd name="connsiteY161" fmla="*/ 1337120 h 1359693"/>
                <a:gd name="connsiteX162" fmla="*/ 7699248 w 8071103"/>
                <a:gd name="connsiteY162" fmla="*/ 1337120 h 1359693"/>
                <a:gd name="connsiteX163" fmla="*/ 7699248 w 8071103"/>
                <a:gd name="connsiteY163" fmla="*/ 238506 h 1359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8071103" h="1359693">
                  <a:moveTo>
                    <a:pt x="0" y="1074230"/>
                  </a:moveTo>
                  <a:lnTo>
                    <a:pt x="0" y="283559"/>
                  </a:lnTo>
                  <a:cubicBezTo>
                    <a:pt x="0" y="114490"/>
                    <a:pt x="123920" y="0"/>
                    <a:pt x="308038" y="0"/>
                  </a:cubicBezTo>
                  <a:cubicBezTo>
                    <a:pt x="492157" y="0"/>
                    <a:pt x="616077" y="114586"/>
                    <a:pt x="616077" y="283559"/>
                  </a:cubicBezTo>
                  <a:lnTo>
                    <a:pt x="616077" y="557784"/>
                  </a:lnTo>
                  <a:lnTo>
                    <a:pt x="379476" y="557784"/>
                  </a:lnTo>
                  <a:lnTo>
                    <a:pt x="379476" y="285464"/>
                  </a:lnTo>
                  <a:cubicBezTo>
                    <a:pt x="379476" y="242316"/>
                    <a:pt x="351282" y="215932"/>
                    <a:pt x="308134" y="215932"/>
                  </a:cubicBezTo>
                  <a:cubicBezTo>
                    <a:pt x="264986" y="215932"/>
                    <a:pt x="236791" y="242221"/>
                    <a:pt x="236791" y="285464"/>
                  </a:cubicBezTo>
                  <a:lnTo>
                    <a:pt x="236791" y="1074230"/>
                  </a:lnTo>
                  <a:cubicBezTo>
                    <a:pt x="236791" y="1117378"/>
                    <a:pt x="264986" y="1143667"/>
                    <a:pt x="308134" y="1143667"/>
                  </a:cubicBezTo>
                  <a:cubicBezTo>
                    <a:pt x="351282" y="1143667"/>
                    <a:pt x="379476" y="1117378"/>
                    <a:pt x="379476" y="1074230"/>
                  </a:cubicBezTo>
                  <a:lnTo>
                    <a:pt x="379476" y="783146"/>
                  </a:lnTo>
                  <a:lnTo>
                    <a:pt x="616077" y="783146"/>
                  </a:lnTo>
                  <a:lnTo>
                    <a:pt x="616077" y="1074230"/>
                  </a:lnTo>
                  <a:cubicBezTo>
                    <a:pt x="616077" y="1245108"/>
                    <a:pt x="492157" y="1359694"/>
                    <a:pt x="308038" y="1359694"/>
                  </a:cubicBezTo>
                  <a:cubicBezTo>
                    <a:pt x="123920" y="1359694"/>
                    <a:pt x="0" y="1245108"/>
                    <a:pt x="0" y="1074230"/>
                  </a:cubicBezTo>
                  <a:close/>
                  <a:moveTo>
                    <a:pt x="762476" y="22574"/>
                  </a:moveTo>
                  <a:lnTo>
                    <a:pt x="999077" y="22574"/>
                  </a:lnTo>
                  <a:lnTo>
                    <a:pt x="999077" y="1121283"/>
                  </a:lnTo>
                  <a:lnTo>
                    <a:pt x="1198150" y="1121283"/>
                  </a:lnTo>
                  <a:lnTo>
                    <a:pt x="1198150" y="1337215"/>
                  </a:lnTo>
                  <a:lnTo>
                    <a:pt x="762476" y="1337215"/>
                  </a:lnTo>
                  <a:lnTo>
                    <a:pt x="762476" y="22574"/>
                  </a:lnTo>
                  <a:close/>
                  <a:moveTo>
                    <a:pt x="1293971" y="1074230"/>
                  </a:moveTo>
                  <a:lnTo>
                    <a:pt x="1293971" y="22479"/>
                  </a:lnTo>
                  <a:lnTo>
                    <a:pt x="1530572" y="22479"/>
                  </a:lnTo>
                  <a:lnTo>
                    <a:pt x="1530572" y="1074230"/>
                  </a:lnTo>
                  <a:cubicBezTo>
                    <a:pt x="1530572" y="1117378"/>
                    <a:pt x="1558766" y="1143667"/>
                    <a:pt x="1600105" y="1143667"/>
                  </a:cubicBezTo>
                  <a:cubicBezTo>
                    <a:pt x="1641443" y="1143667"/>
                    <a:pt x="1671447" y="1117378"/>
                    <a:pt x="1671447" y="1074230"/>
                  </a:cubicBezTo>
                  <a:lnTo>
                    <a:pt x="1671447" y="22479"/>
                  </a:lnTo>
                  <a:lnTo>
                    <a:pt x="1908048" y="22479"/>
                  </a:lnTo>
                  <a:lnTo>
                    <a:pt x="1908048" y="1074230"/>
                  </a:lnTo>
                  <a:cubicBezTo>
                    <a:pt x="1908048" y="1245108"/>
                    <a:pt x="1784128" y="1359694"/>
                    <a:pt x="1600009" y="1359694"/>
                  </a:cubicBezTo>
                  <a:cubicBezTo>
                    <a:pt x="1415891" y="1359694"/>
                    <a:pt x="1293876" y="1245108"/>
                    <a:pt x="1293876" y="1074230"/>
                  </a:cubicBezTo>
                  <a:close/>
                  <a:moveTo>
                    <a:pt x="2060162" y="22574"/>
                  </a:moveTo>
                  <a:lnTo>
                    <a:pt x="2394490" y="22574"/>
                  </a:lnTo>
                  <a:cubicBezTo>
                    <a:pt x="2561654" y="22574"/>
                    <a:pt x="2674335" y="125921"/>
                    <a:pt x="2674335" y="279844"/>
                  </a:cubicBezTo>
                  <a:lnTo>
                    <a:pt x="2674335" y="458248"/>
                  </a:lnTo>
                  <a:cubicBezTo>
                    <a:pt x="2674335" y="537115"/>
                    <a:pt x="2638616" y="617887"/>
                    <a:pt x="2565369" y="651701"/>
                  </a:cubicBezTo>
                  <a:lnTo>
                    <a:pt x="2565369" y="662940"/>
                  </a:lnTo>
                  <a:cubicBezTo>
                    <a:pt x="2644235" y="696754"/>
                    <a:pt x="2685574" y="781240"/>
                    <a:pt x="2685574" y="865727"/>
                  </a:cubicBezTo>
                  <a:lnTo>
                    <a:pt x="2685574" y="1079849"/>
                  </a:lnTo>
                  <a:cubicBezTo>
                    <a:pt x="2685574" y="1233869"/>
                    <a:pt x="2574798" y="1337120"/>
                    <a:pt x="2405729" y="1337120"/>
                  </a:cubicBezTo>
                  <a:lnTo>
                    <a:pt x="2060162" y="1337120"/>
                  </a:lnTo>
                  <a:lnTo>
                    <a:pt x="2060162" y="22574"/>
                  </a:lnTo>
                  <a:close/>
                  <a:moveTo>
                    <a:pt x="2296763" y="238506"/>
                  </a:moveTo>
                  <a:lnTo>
                    <a:pt x="2296763" y="569024"/>
                  </a:lnTo>
                  <a:lnTo>
                    <a:pt x="2366296" y="569024"/>
                  </a:lnTo>
                  <a:cubicBezTo>
                    <a:pt x="2409444" y="569024"/>
                    <a:pt x="2437638" y="540830"/>
                    <a:pt x="2437638" y="497681"/>
                  </a:cubicBezTo>
                  <a:lnTo>
                    <a:pt x="2437638" y="307943"/>
                  </a:lnTo>
                  <a:cubicBezTo>
                    <a:pt x="2437638" y="264795"/>
                    <a:pt x="2409444" y="238506"/>
                    <a:pt x="2366296" y="238506"/>
                  </a:cubicBezTo>
                  <a:lnTo>
                    <a:pt x="2296763" y="238506"/>
                  </a:lnTo>
                  <a:close/>
                  <a:moveTo>
                    <a:pt x="2296763" y="770001"/>
                  </a:moveTo>
                  <a:lnTo>
                    <a:pt x="2296763" y="1121188"/>
                  </a:lnTo>
                  <a:lnTo>
                    <a:pt x="2379440" y="1121188"/>
                  </a:lnTo>
                  <a:cubicBezTo>
                    <a:pt x="2420779" y="1121188"/>
                    <a:pt x="2448973" y="1094899"/>
                    <a:pt x="2448973" y="1051655"/>
                  </a:cubicBezTo>
                  <a:lnTo>
                    <a:pt x="2448973" y="841343"/>
                  </a:lnTo>
                  <a:cubicBezTo>
                    <a:pt x="2448973" y="798195"/>
                    <a:pt x="2420779" y="770001"/>
                    <a:pt x="2379440" y="770001"/>
                  </a:cubicBezTo>
                  <a:lnTo>
                    <a:pt x="2296763" y="770001"/>
                  </a:lnTo>
                  <a:close/>
                  <a:moveTo>
                    <a:pt x="3094482" y="1074230"/>
                  </a:moveTo>
                  <a:lnTo>
                    <a:pt x="3094482" y="283559"/>
                  </a:lnTo>
                  <a:cubicBezTo>
                    <a:pt x="3094482" y="114490"/>
                    <a:pt x="3218403" y="0"/>
                    <a:pt x="3402520" y="0"/>
                  </a:cubicBezTo>
                  <a:cubicBezTo>
                    <a:pt x="3586639" y="0"/>
                    <a:pt x="3710559" y="114586"/>
                    <a:pt x="3710559" y="283559"/>
                  </a:cubicBezTo>
                  <a:lnTo>
                    <a:pt x="3710559" y="557784"/>
                  </a:lnTo>
                  <a:lnTo>
                    <a:pt x="3473958" y="557784"/>
                  </a:lnTo>
                  <a:lnTo>
                    <a:pt x="3473958" y="285464"/>
                  </a:lnTo>
                  <a:cubicBezTo>
                    <a:pt x="3473958" y="242316"/>
                    <a:pt x="3445764" y="215932"/>
                    <a:pt x="3402616" y="215932"/>
                  </a:cubicBezTo>
                  <a:cubicBezTo>
                    <a:pt x="3359468" y="215932"/>
                    <a:pt x="3331274" y="242221"/>
                    <a:pt x="3331274" y="285464"/>
                  </a:cubicBezTo>
                  <a:lnTo>
                    <a:pt x="3331274" y="1074230"/>
                  </a:lnTo>
                  <a:cubicBezTo>
                    <a:pt x="3331274" y="1117378"/>
                    <a:pt x="3359468" y="1143667"/>
                    <a:pt x="3402616" y="1143667"/>
                  </a:cubicBezTo>
                  <a:cubicBezTo>
                    <a:pt x="3445764" y="1143667"/>
                    <a:pt x="3473958" y="1117378"/>
                    <a:pt x="3473958" y="1074230"/>
                  </a:cubicBezTo>
                  <a:lnTo>
                    <a:pt x="3473958" y="783146"/>
                  </a:lnTo>
                  <a:lnTo>
                    <a:pt x="3710559" y="783146"/>
                  </a:lnTo>
                  <a:lnTo>
                    <a:pt x="3710559" y="1074230"/>
                  </a:lnTo>
                  <a:cubicBezTo>
                    <a:pt x="3710559" y="1245108"/>
                    <a:pt x="3586639" y="1359694"/>
                    <a:pt x="3402520" y="1359694"/>
                  </a:cubicBezTo>
                  <a:cubicBezTo>
                    <a:pt x="3218403" y="1359694"/>
                    <a:pt x="3094482" y="1245108"/>
                    <a:pt x="3094482" y="1074230"/>
                  </a:cubicBezTo>
                  <a:close/>
                  <a:moveTo>
                    <a:pt x="3849434" y="1074230"/>
                  </a:moveTo>
                  <a:lnTo>
                    <a:pt x="3849434" y="283559"/>
                  </a:lnTo>
                  <a:cubicBezTo>
                    <a:pt x="3849434" y="114490"/>
                    <a:pt x="3973354" y="0"/>
                    <a:pt x="4157472" y="0"/>
                  </a:cubicBezTo>
                  <a:cubicBezTo>
                    <a:pt x="4341590" y="0"/>
                    <a:pt x="4465511" y="114586"/>
                    <a:pt x="4465511" y="283559"/>
                  </a:cubicBezTo>
                  <a:lnTo>
                    <a:pt x="4465511" y="1074230"/>
                  </a:lnTo>
                  <a:cubicBezTo>
                    <a:pt x="4465511" y="1245108"/>
                    <a:pt x="4341590" y="1359694"/>
                    <a:pt x="4157472" y="1359694"/>
                  </a:cubicBezTo>
                  <a:cubicBezTo>
                    <a:pt x="3973354" y="1359694"/>
                    <a:pt x="3849434" y="1245108"/>
                    <a:pt x="3849434" y="1074230"/>
                  </a:cubicBezTo>
                  <a:close/>
                  <a:moveTo>
                    <a:pt x="4228814" y="1074230"/>
                  </a:moveTo>
                  <a:lnTo>
                    <a:pt x="4228814" y="285464"/>
                  </a:lnTo>
                  <a:cubicBezTo>
                    <a:pt x="4228814" y="242316"/>
                    <a:pt x="4200621" y="215932"/>
                    <a:pt x="4157472" y="215932"/>
                  </a:cubicBezTo>
                  <a:cubicBezTo>
                    <a:pt x="4114324" y="215932"/>
                    <a:pt x="4086130" y="242221"/>
                    <a:pt x="4086130" y="285464"/>
                  </a:cubicBezTo>
                  <a:lnTo>
                    <a:pt x="4086130" y="1074230"/>
                  </a:lnTo>
                  <a:cubicBezTo>
                    <a:pt x="4086130" y="1117378"/>
                    <a:pt x="4114324" y="1143667"/>
                    <a:pt x="4157472" y="1143667"/>
                  </a:cubicBezTo>
                  <a:cubicBezTo>
                    <a:pt x="4200621" y="1143667"/>
                    <a:pt x="4228814" y="1117378"/>
                    <a:pt x="4228814" y="1074230"/>
                  </a:cubicBezTo>
                  <a:close/>
                  <a:moveTo>
                    <a:pt x="4613720" y="22574"/>
                  </a:moveTo>
                  <a:lnTo>
                    <a:pt x="4886039" y="22574"/>
                  </a:lnTo>
                  <a:lnTo>
                    <a:pt x="5021294" y="646081"/>
                  </a:lnTo>
                  <a:lnTo>
                    <a:pt x="5040059" y="811340"/>
                  </a:lnTo>
                  <a:lnTo>
                    <a:pt x="5071967" y="811340"/>
                  </a:lnTo>
                  <a:lnTo>
                    <a:pt x="5051298" y="646081"/>
                  </a:lnTo>
                  <a:lnTo>
                    <a:pt x="5051298" y="22574"/>
                  </a:lnTo>
                  <a:lnTo>
                    <a:pt x="5287899" y="22574"/>
                  </a:lnTo>
                  <a:lnTo>
                    <a:pt x="5287899" y="1337215"/>
                  </a:lnTo>
                  <a:lnTo>
                    <a:pt x="5017485" y="1337215"/>
                  </a:lnTo>
                  <a:lnTo>
                    <a:pt x="4882230" y="713708"/>
                  </a:lnTo>
                  <a:lnTo>
                    <a:pt x="4861560" y="548450"/>
                  </a:lnTo>
                  <a:lnTo>
                    <a:pt x="4829651" y="548450"/>
                  </a:lnTo>
                  <a:lnTo>
                    <a:pt x="4850320" y="713708"/>
                  </a:lnTo>
                  <a:lnTo>
                    <a:pt x="4850320" y="1337215"/>
                  </a:lnTo>
                  <a:lnTo>
                    <a:pt x="4613720" y="1337215"/>
                  </a:lnTo>
                  <a:lnTo>
                    <a:pt x="4613720" y="22574"/>
                  </a:lnTo>
                  <a:close/>
                  <a:moveTo>
                    <a:pt x="5443823" y="22574"/>
                  </a:moveTo>
                  <a:lnTo>
                    <a:pt x="5716143" y="22574"/>
                  </a:lnTo>
                  <a:lnTo>
                    <a:pt x="5851398" y="646081"/>
                  </a:lnTo>
                  <a:lnTo>
                    <a:pt x="5870162" y="811340"/>
                  </a:lnTo>
                  <a:lnTo>
                    <a:pt x="5902071" y="811340"/>
                  </a:lnTo>
                  <a:lnTo>
                    <a:pt x="5881402" y="646081"/>
                  </a:lnTo>
                  <a:lnTo>
                    <a:pt x="5881402" y="22574"/>
                  </a:lnTo>
                  <a:lnTo>
                    <a:pt x="6118003" y="22574"/>
                  </a:lnTo>
                  <a:lnTo>
                    <a:pt x="6118003" y="1337215"/>
                  </a:lnTo>
                  <a:lnTo>
                    <a:pt x="5847588" y="1337215"/>
                  </a:lnTo>
                  <a:lnTo>
                    <a:pt x="5712333" y="713708"/>
                  </a:lnTo>
                  <a:lnTo>
                    <a:pt x="5691664" y="548450"/>
                  </a:lnTo>
                  <a:lnTo>
                    <a:pt x="5659755" y="548450"/>
                  </a:lnTo>
                  <a:lnTo>
                    <a:pt x="5680424" y="713708"/>
                  </a:lnTo>
                  <a:lnTo>
                    <a:pt x="5680424" y="1337215"/>
                  </a:lnTo>
                  <a:lnTo>
                    <a:pt x="5443823" y="1337215"/>
                  </a:lnTo>
                  <a:lnTo>
                    <a:pt x="5443823" y="22574"/>
                  </a:lnTo>
                  <a:close/>
                  <a:moveTo>
                    <a:pt x="6273832" y="22574"/>
                  </a:moveTo>
                  <a:lnTo>
                    <a:pt x="6720840" y="22574"/>
                  </a:lnTo>
                  <a:lnTo>
                    <a:pt x="6720840" y="238601"/>
                  </a:lnTo>
                  <a:lnTo>
                    <a:pt x="6510528" y="238601"/>
                  </a:lnTo>
                  <a:lnTo>
                    <a:pt x="6510528" y="565404"/>
                  </a:lnTo>
                  <a:lnTo>
                    <a:pt x="6700172" y="565404"/>
                  </a:lnTo>
                  <a:lnTo>
                    <a:pt x="6700172" y="775716"/>
                  </a:lnTo>
                  <a:lnTo>
                    <a:pt x="6510528" y="775716"/>
                  </a:lnTo>
                  <a:lnTo>
                    <a:pt x="6510528" y="1121283"/>
                  </a:lnTo>
                  <a:lnTo>
                    <a:pt x="6720840" y="1121283"/>
                  </a:lnTo>
                  <a:lnTo>
                    <a:pt x="6720840" y="1337215"/>
                  </a:lnTo>
                  <a:lnTo>
                    <a:pt x="6273832" y="1337215"/>
                  </a:lnTo>
                  <a:lnTo>
                    <a:pt x="6273832" y="22574"/>
                  </a:lnTo>
                  <a:close/>
                  <a:moveTo>
                    <a:pt x="6846665" y="1074230"/>
                  </a:moveTo>
                  <a:lnTo>
                    <a:pt x="6846665" y="283559"/>
                  </a:lnTo>
                  <a:cubicBezTo>
                    <a:pt x="6846665" y="114490"/>
                    <a:pt x="6970585" y="0"/>
                    <a:pt x="7154704" y="0"/>
                  </a:cubicBezTo>
                  <a:cubicBezTo>
                    <a:pt x="7338822" y="0"/>
                    <a:pt x="7462742" y="114586"/>
                    <a:pt x="7462742" y="283559"/>
                  </a:cubicBezTo>
                  <a:lnTo>
                    <a:pt x="7462742" y="557784"/>
                  </a:lnTo>
                  <a:lnTo>
                    <a:pt x="7226142" y="557784"/>
                  </a:lnTo>
                  <a:lnTo>
                    <a:pt x="7226142" y="285464"/>
                  </a:lnTo>
                  <a:cubicBezTo>
                    <a:pt x="7226142" y="242316"/>
                    <a:pt x="7197947" y="215932"/>
                    <a:pt x="7154800" y="215932"/>
                  </a:cubicBezTo>
                  <a:cubicBezTo>
                    <a:pt x="7111651" y="215932"/>
                    <a:pt x="7083457" y="242221"/>
                    <a:pt x="7083457" y="285464"/>
                  </a:cubicBezTo>
                  <a:lnTo>
                    <a:pt x="7083457" y="1074230"/>
                  </a:lnTo>
                  <a:cubicBezTo>
                    <a:pt x="7083457" y="1117378"/>
                    <a:pt x="7111651" y="1143667"/>
                    <a:pt x="7154800" y="1143667"/>
                  </a:cubicBezTo>
                  <a:cubicBezTo>
                    <a:pt x="7197947" y="1143667"/>
                    <a:pt x="7226142" y="1117378"/>
                    <a:pt x="7226142" y="1074230"/>
                  </a:cubicBezTo>
                  <a:lnTo>
                    <a:pt x="7226142" y="783146"/>
                  </a:lnTo>
                  <a:lnTo>
                    <a:pt x="7462742" y="783146"/>
                  </a:lnTo>
                  <a:lnTo>
                    <a:pt x="7462742" y="1074230"/>
                  </a:lnTo>
                  <a:cubicBezTo>
                    <a:pt x="7462742" y="1245108"/>
                    <a:pt x="7338822" y="1359694"/>
                    <a:pt x="7154704" y="1359694"/>
                  </a:cubicBezTo>
                  <a:cubicBezTo>
                    <a:pt x="6970585" y="1359694"/>
                    <a:pt x="6846665" y="1245108"/>
                    <a:pt x="6846665" y="1074230"/>
                  </a:cubicBezTo>
                  <a:close/>
                  <a:moveTo>
                    <a:pt x="7699248" y="238506"/>
                  </a:moveTo>
                  <a:lnTo>
                    <a:pt x="7563993" y="238506"/>
                  </a:lnTo>
                  <a:lnTo>
                    <a:pt x="7563993" y="22479"/>
                  </a:lnTo>
                  <a:lnTo>
                    <a:pt x="8071104" y="22479"/>
                  </a:lnTo>
                  <a:lnTo>
                    <a:pt x="8071104" y="238506"/>
                  </a:lnTo>
                  <a:lnTo>
                    <a:pt x="7935850" y="238506"/>
                  </a:lnTo>
                  <a:lnTo>
                    <a:pt x="7935850" y="1337120"/>
                  </a:lnTo>
                  <a:lnTo>
                    <a:pt x="7699248" y="1337120"/>
                  </a:lnTo>
                  <a:lnTo>
                    <a:pt x="7699248" y="238506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06111909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74AAAE8-F118-0E03-4598-DECA6286D5B0}"/>
              </a:ext>
            </a:extLst>
          </p:cNvPr>
          <p:cNvSpPr/>
          <p:nvPr userDrawn="1"/>
        </p:nvSpPr>
        <p:spPr>
          <a:xfrm>
            <a:off x="-1" y="-1"/>
            <a:ext cx="11477625" cy="68500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1CEA65-8B76-C3F7-0CA1-FE5A6B507C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362" y="273499"/>
            <a:ext cx="10739437" cy="5845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Add tit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38BFAF-A622-25EC-FA43-C1DDC0906ED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362" y="1376363"/>
            <a:ext cx="10739437" cy="5119686"/>
          </a:xfrm>
        </p:spPr>
        <p:txBody>
          <a:bodyPr/>
          <a:lstStyle>
            <a:lvl1pPr>
              <a:lnSpc>
                <a:spcPct val="110000"/>
              </a:lnSpc>
              <a:spcAft>
                <a:spcPts val="600"/>
              </a:spcAft>
              <a:defRPr/>
            </a:lvl1pPr>
            <a:lvl2pPr>
              <a:lnSpc>
                <a:spcPct val="110000"/>
              </a:lnSpc>
              <a:spcAft>
                <a:spcPts val="600"/>
              </a:spcAft>
              <a:defRPr/>
            </a:lvl2pPr>
            <a:lvl3pPr>
              <a:lnSpc>
                <a:spcPct val="110000"/>
              </a:lnSpc>
              <a:spcAft>
                <a:spcPts val="600"/>
              </a:spcAft>
              <a:defRPr/>
            </a:lvl3pPr>
            <a:lvl4pPr>
              <a:lnSpc>
                <a:spcPct val="110000"/>
              </a:lnSpc>
              <a:spcAft>
                <a:spcPts val="600"/>
              </a:spcAft>
              <a:defRPr/>
            </a:lvl4pPr>
            <a:lvl5pPr>
              <a:lnSpc>
                <a:spcPct val="110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85A147-4715-EE5E-25D6-CD6EC9DDE5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0362" y="884148"/>
            <a:ext cx="10739438" cy="300924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Add optional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59744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cxnSp>
        <p:nvCxnSpPr>
          <p:cNvPr id="11" name="Łącznik prosty 10">
            <a:extLst>
              <a:ext uri="{FF2B5EF4-FFF2-40B4-BE49-F238E27FC236}">
                <a16:creationId xmlns:a16="http://schemas.microsoft.com/office/drawing/2014/main" id="{C2D73FA2-095C-41E7-BF3D-3E65D4600830}"/>
              </a:ext>
            </a:extLst>
          </p:cNvPr>
          <p:cNvCxnSpPr>
            <a:cxnSpLocks/>
          </p:cNvCxnSpPr>
          <p:nvPr userDrawn="1"/>
        </p:nvCxnSpPr>
        <p:spPr>
          <a:xfrm>
            <a:off x="1013426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Łącznik prosty 24">
            <a:extLst>
              <a:ext uri="{FF2B5EF4-FFF2-40B4-BE49-F238E27FC236}">
                <a16:creationId xmlns:a16="http://schemas.microsoft.com/office/drawing/2014/main" id="{3C1EBD96-FC8B-467F-BA05-89B6A01E6C87}"/>
              </a:ext>
            </a:extLst>
          </p:cNvPr>
          <p:cNvCxnSpPr>
            <a:cxnSpLocks/>
          </p:cNvCxnSpPr>
          <p:nvPr userDrawn="1"/>
        </p:nvCxnSpPr>
        <p:spPr>
          <a:xfrm>
            <a:off x="3066742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Łącznik prosty 36">
            <a:extLst>
              <a:ext uri="{FF2B5EF4-FFF2-40B4-BE49-F238E27FC236}">
                <a16:creationId xmlns:a16="http://schemas.microsoft.com/office/drawing/2014/main" id="{EA249D0D-D9C0-4F41-8C2D-B54A8594B1C9}"/>
              </a:ext>
            </a:extLst>
          </p:cNvPr>
          <p:cNvCxnSpPr>
            <a:cxnSpLocks/>
          </p:cNvCxnSpPr>
          <p:nvPr userDrawn="1"/>
        </p:nvCxnSpPr>
        <p:spPr>
          <a:xfrm>
            <a:off x="5115042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Łącznik prosty 40">
            <a:extLst>
              <a:ext uri="{FF2B5EF4-FFF2-40B4-BE49-F238E27FC236}">
                <a16:creationId xmlns:a16="http://schemas.microsoft.com/office/drawing/2014/main" id="{6373FCD6-8FF8-401A-AABF-0E3D085F8D23}"/>
              </a:ext>
            </a:extLst>
          </p:cNvPr>
          <p:cNvCxnSpPr>
            <a:cxnSpLocks/>
          </p:cNvCxnSpPr>
          <p:nvPr userDrawn="1"/>
        </p:nvCxnSpPr>
        <p:spPr>
          <a:xfrm>
            <a:off x="7168358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Łącznik prosty 50">
            <a:extLst>
              <a:ext uri="{FF2B5EF4-FFF2-40B4-BE49-F238E27FC236}">
                <a16:creationId xmlns:a16="http://schemas.microsoft.com/office/drawing/2014/main" id="{AE19DA18-FFDD-4D42-829E-2A06AA4C3EB1}"/>
              </a:ext>
            </a:extLst>
          </p:cNvPr>
          <p:cNvCxnSpPr>
            <a:cxnSpLocks/>
          </p:cNvCxnSpPr>
          <p:nvPr userDrawn="1"/>
        </p:nvCxnSpPr>
        <p:spPr>
          <a:xfrm>
            <a:off x="9199914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EC355DE3-C9CA-CD42-8086-6CD72154393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39792" y="4509711"/>
            <a:ext cx="1839291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64" name="Text Placeholder 60">
            <a:extLst>
              <a:ext uri="{FF2B5EF4-FFF2-40B4-BE49-F238E27FC236}">
                <a16:creationId xmlns:a16="http://schemas.microsoft.com/office/drawing/2014/main" id="{AB50EBF6-5D95-BC45-9C63-954D03F72C5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00840" y="3637944"/>
            <a:ext cx="1881427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1.</a:t>
            </a:r>
          </a:p>
        </p:txBody>
      </p:sp>
      <p:sp>
        <p:nvSpPr>
          <p:cNvPr id="65" name="Text Placeholder 60">
            <a:extLst>
              <a:ext uri="{FF2B5EF4-FFF2-40B4-BE49-F238E27FC236}">
                <a16:creationId xmlns:a16="http://schemas.microsoft.com/office/drawing/2014/main" id="{F720E689-39B1-9245-AB65-DD6F312DBB6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00840" y="4124820"/>
            <a:ext cx="1881427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66" name="Text Placeholder 60">
            <a:extLst>
              <a:ext uri="{FF2B5EF4-FFF2-40B4-BE49-F238E27FC236}">
                <a16:creationId xmlns:a16="http://schemas.microsoft.com/office/drawing/2014/main" id="{1B0F2A70-062F-4040-81EE-C7AC88A1CC6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59511" y="3625828"/>
            <a:ext cx="1881428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2.</a:t>
            </a:r>
          </a:p>
        </p:txBody>
      </p:sp>
      <p:sp>
        <p:nvSpPr>
          <p:cNvPr id="67" name="Text Placeholder 60">
            <a:extLst>
              <a:ext uri="{FF2B5EF4-FFF2-40B4-BE49-F238E27FC236}">
                <a16:creationId xmlns:a16="http://schemas.microsoft.com/office/drawing/2014/main" id="{7DA62FC7-0C6B-304B-B58D-884BDDE546E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154494" y="4112704"/>
            <a:ext cx="1873484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68" name="Text Placeholder 60">
            <a:extLst>
              <a:ext uri="{FF2B5EF4-FFF2-40B4-BE49-F238E27FC236}">
                <a16:creationId xmlns:a16="http://schemas.microsoft.com/office/drawing/2014/main" id="{80356AD0-D55F-B948-84CA-DF589D91D80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40584" y="3637944"/>
            <a:ext cx="1837742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3.</a:t>
            </a:r>
          </a:p>
        </p:txBody>
      </p:sp>
      <p:sp>
        <p:nvSpPr>
          <p:cNvPr id="70" name="Text Placeholder 60">
            <a:extLst>
              <a:ext uri="{FF2B5EF4-FFF2-40B4-BE49-F238E27FC236}">
                <a16:creationId xmlns:a16="http://schemas.microsoft.com/office/drawing/2014/main" id="{EC756B4B-EFF8-B34C-AEB0-8AC3B293B96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40582" y="4124821"/>
            <a:ext cx="1837741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71" name="Text Placeholder 60">
            <a:extLst>
              <a:ext uri="{FF2B5EF4-FFF2-40B4-BE49-F238E27FC236}">
                <a16:creationId xmlns:a16="http://schemas.microsoft.com/office/drawing/2014/main" id="{714DF4FC-C50D-9446-B0D3-6D6D9AFBC23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52917" y="4495093"/>
            <a:ext cx="1875060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72" name="Text Placeholder 60">
            <a:extLst>
              <a:ext uri="{FF2B5EF4-FFF2-40B4-BE49-F238E27FC236}">
                <a16:creationId xmlns:a16="http://schemas.microsoft.com/office/drawing/2014/main" id="{A07194BE-D76F-BF4B-A421-877DB1635F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00059" y="4502207"/>
            <a:ext cx="1881427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3" name="Text Placeholder 60">
            <a:extLst>
              <a:ext uri="{FF2B5EF4-FFF2-40B4-BE49-F238E27FC236}">
                <a16:creationId xmlns:a16="http://schemas.microsoft.com/office/drawing/2014/main" id="{70049643-AD52-8C45-8843-942514BF015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260611" y="4497595"/>
            <a:ext cx="1839291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4" name="Text Placeholder 60">
            <a:extLst>
              <a:ext uri="{FF2B5EF4-FFF2-40B4-BE49-F238E27FC236}">
                <a16:creationId xmlns:a16="http://schemas.microsoft.com/office/drawing/2014/main" id="{A9FD836D-BD8F-7A4F-9578-B2A1840A401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61403" y="3625828"/>
            <a:ext cx="1837742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4.</a:t>
            </a:r>
          </a:p>
        </p:txBody>
      </p:sp>
      <p:sp>
        <p:nvSpPr>
          <p:cNvPr id="85" name="Text Placeholder 60">
            <a:extLst>
              <a:ext uri="{FF2B5EF4-FFF2-40B4-BE49-F238E27FC236}">
                <a16:creationId xmlns:a16="http://schemas.microsoft.com/office/drawing/2014/main" id="{1F11E0C5-BB90-C54C-9F45-07BA01346F8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61401" y="4112705"/>
            <a:ext cx="1837741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89" name="Text Placeholder 60">
            <a:extLst>
              <a:ext uri="{FF2B5EF4-FFF2-40B4-BE49-F238E27FC236}">
                <a16:creationId xmlns:a16="http://schemas.microsoft.com/office/drawing/2014/main" id="{0CD43120-E7F9-E84C-AB53-D7B8D88DF91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96861" y="4490091"/>
            <a:ext cx="1839291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90" name="Text Placeholder 60">
            <a:extLst>
              <a:ext uri="{FF2B5EF4-FFF2-40B4-BE49-F238E27FC236}">
                <a16:creationId xmlns:a16="http://schemas.microsoft.com/office/drawing/2014/main" id="{9A1C3D79-D53B-8044-988E-FC39BF636A7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297653" y="3618324"/>
            <a:ext cx="1837742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5.</a:t>
            </a:r>
          </a:p>
        </p:txBody>
      </p:sp>
      <p:sp>
        <p:nvSpPr>
          <p:cNvPr id="91" name="Text Placeholder 60">
            <a:extLst>
              <a:ext uri="{FF2B5EF4-FFF2-40B4-BE49-F238E27FC236}">
                <a16:creationId xmlns:a16="http://schemas.microsoft.com/office/drawing/2014/main" id="{8A5DB2EF-B467-2A43-865F-C95DC9A39FD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297651" y="4105201"/>
            <a:ext cx="1837741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394B4A0-15B9-0942-BD0C-49F1B5DBE61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Process</a:t>
            </a:r>
            <a:endParaRPr lang="pl-PL"/>
          </a:p>
        </p:txBody>
      </p:sp>
      <p:graphicFrame>
        <p:nvGraphicFramePr>
          <p:cNvPr id="36" name="Diagram 35">
            <a:extLst>
              <a:ext uri="{FF2B5EF4-FFF2-40B4-BE49-F238E27FC236}">
                <a16:creationId xmlns:a16="http://schemas.microsoft.com/office/drawing/2014/main" id="{CD23FAA5-A7A5-8C49-8E0D-F024CE455463}"/>
              </a:ext>
            </a:extLst>
          </p:cNvPr>
          <p:cNvGraphicFramePr/>
          <p:nvPr userDrawn="1"/>
        </p:nvGraphicFramePr>
        <p:xfrm>
          <a:off x="868137" y="2328182"/>
          <a:ext cx="10477501" cy="7565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60C20CF-B865-8B44-BD36-17589A21A6C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209031" y="2326909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16181BA-1FC1-E741-B679-9810D1ECAB6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68870" y="2328182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FE33DAE9-07C3-DB48-897C-2C0141E4A66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91486" y="2326909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64B5A0C-DD98-B342-82AE-38923E82673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44177" y="2337820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2081F07E-5101-144B-84C2-23242040AD7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366362" y="2337820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840059F9-9774-47EA-9875-CA53E16FEC2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943370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C0B482C-0237-2740-B4BE-16951D83A5D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4126" y="0"/>
            <a:ext cx="12196126" cy="6858000"/>
          </a:xfrm>
          <a:prstGeom prst="rect">
            <a:avLst/>
          </a:prstGeom>
          <a:blipFill dpi="0" rotWithShape="1">
            <a:blip r:embed="rId3">
              <a:alphaModFix amt="20000"/>
            </a:blip>
            <a:srcRect/>
            <a:stretch>
              <a:fillRect/>
            </a:stretch>
          </a:blipFill>
          <a:effectLst>
            <a:outerShdw sx="1000" sy="1000" algn="ctr" rotWithShape="0">
              <a:srgbClr val="000000"/>
            </a:outerShdw>
          </a:effectLst>
        </p:spPr>
        <p:txBody>
          <a:bodyPr>
            <a:noAutofit/>
          </a:bodyPr>
          <a:lstStyle/>
          <a:p>
            <a:r>
              <a:rPr lang="en-GB"/>
              <a:t>Click icon to add picture</a:t>
            </a:r>
            <a:endParaRPr lang="en-VN"/>
          </a:p>
        </p:txBody>
      </p:sp>
      <p:sp>
        <p:nvSpPr>
          <p:cNvPr id="12" name="Tytuł 1">
            <a:extLst>
              <a:ext uri="{FF2B5EF4-FFF2-40B4-BE49-F238E27FC236}">
                <a16:creationId xmlns:a16="http://schemas.microsoft.com/office/drawing/2014/main" id="{F4EAC152-F372-4816-A602-00DBD66C95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8048" y="1332689"/>
            <a:ext cx="10447652" cy="2177274"/>
          </a:xfrm>
        </p:spPr>
        <p:txBody>
          <a:bodyPr anchor="b">
            <a:normAutofit/>
          </a:bodyPr>
          <a:lstStyle>
            <a:lvl1pPr algn="l">
              <a:defRPr sz="5500" b="1" spc="-150">
                <a:solidFill>
                  <a:schemeClr val="bg1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the Presentation</a:t>
            </a:r>
          </a:p>
        </p:txBody>
      </p:sp>
      <p:sp>
        <p:nvSpPr>
          <p:cNvPr id="13" name="Podtytuł 2">
            <a:extLst>
              <a:ext uri="{FF2B5EF4-FFF2-40B4-BE49-F238E27FC236}">
                <a16:creationId xmlns:a16="http://schemas.microsoft.com/office/drawing/2014/main" id="{EDB4A035-E21E-4EC5-9789-42558FE880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8048" y="3602038"/>
            <a:ext cx="10107562" cy="1655762"/>
          </a:xfrm>
        </p:spPr>
        <p:txBody>
          <a:bodyPr/>
          <a:lstStyle>
            <a:lvl1pPr marL="0" indent="0" algn="l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err="1"/>
              <a:t>Subtitle</a:t>
            </a:r>
            <a:r>
              <a:rPr lang="pl-PL"/>
              <a:t> and a </a:t>
            </a:r>
            <a:r>
              <a:rPr lang="pl-PL" err="1"/>
              <a:t>short</a:t>
            </a:r>
            <a:r>
              <a:rPr lang="pl-PL"/>
              <a:t> </a:t>
            </a:r>
            <a:r>
              <a:rPr lang="pl-PL" err="1"/>
              <a:t>description</a:t>
            </a:r>
            <a:r>
              <a:rPr lang="pl-PL"/>
              <a:t> </a:t>
            </a:r>
            <a:r>
              <a:rPr lang="pl-PL" err="1"/>
              <a:t>if</a:t>
            </a:r>
            <a:r>
              <a:rPr lang="pl-PL"/>
              <a:t> </a:t>
            </a:r>
            <a:r>
              <a:rPr lang="pl-PL" err="1"/>
              <a:t>needed</a:t>
            </a:r>
            <a:endParaRPr lang="pl-PL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63D02DFB-AAE1-FA46-B2A4-ECE431BBD610}"/>
              </a:ext>
            </a:extLst>
          </p:cNvPr>
          <p:cNvSpPr txBox="1">
            <a:spLocks/>
          </p:cNvSpPr>
          <p:nvPr userDrawn="1"/>
        </p:nvSpPr>
        <p:spPr>
          <a:xfrm>
            <a:off x="4038600" y="560594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l-PL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20E0931-98D8-5D4C-9576-F225FB07B7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8047" y="5788505"/>
            <a:ext cx="5396457" cy="4875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eneva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day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6 </a:t>
            </a: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une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020</a:t>
            </a:r>
          </a:p>
        </p:txBody>
      </p:sp>
      <p:pic>
        <p:nvPicPr>
          <p:cNvPr id="4" name="Obraz 3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2953E1F1-44AD-4567-9B59-548AD9BBE1A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347" y="335280"/>
            <a:ext cx="1820897" cy="997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086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1DD86EA-EA42-44C7-8A4A-0066D92A8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578" y="1759729"/>
            <a:ext cx="6465218" cy="1032526"/>
          </a:xfrm>
        </p:spPr>
        <p:txBody>
          <a:bodyPr anchor="b">
            <a:noAutofit/>
          </a:bodyPr>
          <a:lstStyle>
            <a:lvl1pPr>
              <a:defRPr sz="5500" b="1">
                <a:solidFill>
                  <a:schemeClr val="tx1"/>
                </a:solidFill>
              </a:defRPr>
            </a:lvl1pPr>
          </a:lstStyle>
          <a:p>
            <a:r>
              <a:rPr lang="pl-PL"/>
              <a:t>Agenda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DAA3A8F5-9D41-4044-A68D-5DA4A767332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3578" y="3137245"/>
            <a:ext cx="6465219" cy="2877661"/>
          </a:xfrm>
        </p:spPr>
        <p:txBody>
          <a:bodyPr>
            <a:noAutofit/>
          </a:bodyPr>
          <a:lstStyle>
            <a:lvl1pPr marL="514350" marR="0" indent="-51435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rabicPeriod"/>
              <a:tabLst/>
              <a:defRPr sz="2400" b="0" i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</a:t>
            </a:r>
          </a:p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</a:t>
            </a:r>
          </a:p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E216245F-23B8-415E-9B16-3CDC42FB6A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D5B67A01-B87F-437B-ADF6-66164C9CDA1D}" type="slidenum">
              <a:rPr lang="pl-PL" smtClean="0"/>
              <a:pPr/>
              <a:t>‹#›</a:t>
            </a:fld>
            <a:r>
              <a:rPr lang="pl-PL"/>
              <a:t> 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C1F7378-57A6-394E-AE98-91A760952C0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21649" y="0"/>
            <a:ext cx="4070351" cy="68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/>
          <a:p>
            <a:r>
              <a:rPr lang="en-GB"/>
              <a:t>Click icon to add picture</a:t>
            </a:r>
            <a:endParaRPr lang="en-VN"/>
          </a:p>
        </p:txBody>
      </p:sp>
      <p:pic>
        <p:nvPicPr>
          <p:cNvPr id="7" name="Obraz 6" descr="Obraz zawierający znak, zegar&#10;&#10;Opis wygenerowany automatycznie">
            <a:extLst>
              <a:ext uri="{FF2B5EF4-FFF2-40B4-BE49-F238E27FC236}">
                <a16:creationId xmlns:a16="http://schemas.microsoft.com/office/drawing/2014/main" id="{A775012A-FA67-4EDF-87A8-9F8B04F42D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622" y="289845"/>
            <a:ext cx="1885007" cy="1032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553949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ec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3FAEAC0-0E6D-444A-95B5-0A3C93C47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9434" y="2970926"/>
            <a:ext cx="6697683" cy="1724480"/>
          </a:xfrm>
        </p:spPr>
        <p:txBody>
          <a:bodyPr anchor="t">
            <a:normAutofit/>
          </a:bodyPr>
          <a:lstStyle>
            <a:lvl1pPr>
              <a:defRPr sz="5500" b="1">
                <a:solidFill>
                  <a:schemeClr val="bg1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3072B88E-60B1-4951-ACB4-62501281AA6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149434" y="5018314"/>
            <a:ext cx="9198015" cy="996592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err="1"/>
              <a:t>Sub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7" name="Symbol zastępczy numeru slajdu 5">
            <a:extLst>
              <a:ext uri="{FF2B5EF4-FFF2-40B4-BE49-F238E27FC236}">
                <a16:creationId xmlns:a16="http://schemas.microsoft.com/office/drawing/2014/main" id="{2BFFDC2F-69F9-4006-A2A6-11998BCE2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C37AD4BE-6D4A-446E-9235-69971E43B1B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74713" y="2970926"/>
            <a:ext cx="1274721" cy="852930"/>
          </a:xfrm>
        </p:spPr>
        <p:txBody>
          <a:bodyPr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55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1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C190FFA-0216-90FA-6647-2FF796D4F78D}"/>
              </a:ext>
            </a:extLst>
          </p:cNvPr>
          <p:cNvGrpSpPr/>
          <p:nvPr userDrawn="1"/>
        </p:nvGrpSpPr>
        <p:grpSpPr>
          <a:xfrm>
            <a:off x="558987" y="334537"/>
            <a:ext cx="3137300" cy="1025911"/>
            <a:chOff x="558987" y="334537"/>
            <a:chExt cx="3137300" cy="1025911"/>
          </a:xfrm>
        </p:grpSpPr>
        <p:pic>
          <p:nvPicPr>
            <p:cNvPr id="6" name="Obraz 6" descr="Obraz zawierający zegar, rysunek, znak&#10;&#10;Opis wygenerowany automatycznie">
              <a:extLst>
                <a:ext uri="{FF2B5EF4-FFF2-40B4-BE49-F238E27FC236}">
                  <a16:creationId xmlns:a16="http://schemas.microsoft.com/office/drawing/2014/main" id="{A1E900DC-0041-305D-9436-1D43CCA003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8987" y="334537"/>
              <a:ext cx="1872929" cy="1025911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7305713-B9CD-9C76-DFD2-A404874B95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951" t="31825" r="4655" b="27130"/>
            <a:stretch/>
          </p:blipFill>
          <p:spPr>
            <a:xfrm>
              <a:off x="2431917" y="568005"/>
              <a:ext cx="1264370" cy="4622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73853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BAE40"/>
          </p15:clr>
        </p15:guide>
        <p15:guide id="2" pos="7129">
          <p15:clr>
            <a:srgbClr val="FBAE40"/>
          </p15:clr>
        </p15:guide>
      </p15:sldGuideLst>
    </p:ext>
  </p:extLs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3FAEAC0-0E6D-444A-95B5-0A3C93C47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9434" y="2970926"/>
            <a:ext cx="6697683" cy="1724480"/>
          </a:xfrm>
        </p:spPr>
        <p:txBody>
          <a:bodyPr anchor="t">
            <a:normAutofit/>
          </a:bodyPr>
          <a:lstStyle>
            <a:lvl1pPr>
              <a:defRPr sz="5500" b="1">
                <a:solidFill>
                  <a:schemeClr val="bg1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3072B88E-60B1-4951-ACB4-62501281AA6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149434" y="5018314"/>
            <a:ext cx="9198015" cy="996592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err="1"/>
              <a:t>Sub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7" name="Symbol zastępczy numeru slajdu 5">
            <a:extLst>
              <a:ext uri="{FF2B5EF4-FFF2-40B4-BE49-F238E27FC236}">
                <a16:creationId xmlns:a16="http://schemas.microsoft.com/office/drawing/2014/main" id="{2BFFDC2F-69F9-4006-A2A6-11998BCE2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C37AD4BE-6D4A-446E-9235-69971E43B1B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74713" y="2970926"/>
            <a:ext cx="1274721" cy="852930"/>
          </a:xfrm>
        </p:spPr>
        <p:txBody>
          <a:bodyPr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55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1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6F7B1A7-FBAC-0BDA-650A-8264F6EBB9B6}"/>
              </a:ext>
            </a:extLst>
          </p:cNvPr>
          <p:cNvGrpSpPr/>
          <p:nvPr userDrawn="1"/>
        </p:nvGrpSpPr>
        <p:grpSpPr>
          <a:xfrm>
            <a:off x="545858" y="481975"/>
            <a:ext cx="1932429" cy="629463"/>
            <a:chOff x="558987" y="334537"/>
            <a:chExt cx="3149515" cy="1025911"/>
          </a:xfrm>
        </p:grpSpPr>
        <p:pic>
          <p:nvPicPr>
            <p:cNvPr id="6" name="Obraz 6" descr="Obraz zawierający zegar, rysunek, znak&#10;&#10;Opis wygenerowany automatycznie">
              <a:extLst>
                <a:ext uri="{FF2B5EF4-FFF2-40B4-BE49-F238E27FC236}">
                  <a16:creationId xmlns:a16="http://schemas.microsoft.com/office/drawing/2014/main" id="{A901D59D-0C35-C896-F989-66F3A645B2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8987" y="334537"/>
              <a:ext cx="1872929" cy="1025911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8A7FBF6-176B-E663-055D-3139D0FB8F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951" t="31825" r="4655" b="27130"/>
            <a:stretch/>
          </p:blipFill>
          <p:spPr>
            <a:xfrm>
              <a:off x="2407485" y="566822"/>
              <a:ext cx="1301017" cy="4756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44962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BAE40"/>
          </p15:clr>
        </p15:guide>
        <p15:guide id="2" pos="7129">
          <p15:clr>
            <a:srgbClr val="FBAE40"/>
          </p15:clr>
        </p15:guide>
      </p15:sldGuideLst>
    </p:ext>
  </p:extLs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3072B88E-60B1-4951-ACB4-62501281AA6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73577" y="1553671"/>
            <a:ext cx="5260523" cy="1417255"/>
          </a:xfrm>
        </p:spPr>
        <p:txBody>
          <a:bodyPr anchor="b">
            <a:normAutofit/>
          </a:bodyPr>
          <a:lstStyle>
            <a:lvl1pPr marL="0" indent="0">
              <a:buNone/>
              <a:defRPr sz="45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Intro to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7" name="Symbol zastępczy numeru slajdu 5">
            <a:extLst>
              <a:ext uri="{FF2B5EF4-FFF2-40B4-BE49-F238E27FC236}">
                <a16:creationId xmlns:a16="http://schemas.microsoft.com/office/drawing/2014/main" id="{2BFFDC2F-69F9-4006-A2A6-11998BCE2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1" name="Symbol zastępczy tekstu 2">
            <a:extLst>
              <a:ext uri="{FF2B5EF4-FFF2-40B4-BE49-F238E27FC236}">
                <a16:creationId xmlns:a16="http://schemas.microsoft.com/office/drawing/2014/main" id="{5F2C6574-FF98-442E-A4D4-981D37C5B14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68047" y="3150926"/>
            <a:ext cx="5266053" cy="2674972"/>
          </a:xfrm>
        </p:spPr>
        <p:txBody>
          <a:bodyPr>
            <a:no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 sz="24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err="1"/>
              <a:t>Proin</a:t>
            </a:r>
            <a:r>
              <a:rPr lang="pl-PL"/>
              <a:t> vitae </a:t>
            </a:r>
            <a:r>
              <a:rPr lang="pl-PL" err="1"/>
              <a:t>odio</a:t>
            </a:r>
            <a:r>
              <a:rPr lang="pl-PL"/>
              <a:t>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auctor</a:t>
            </a:r>
            <a:r>
              <a:rPr lang="pl-PL"/>
              <a:t> </a:t>
            </a:r>
            <a:r>
              <a:rPr lang="pl-PL" err="1"/>
              <a:t>faucibus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pic>
        <p:nvPicPr>
          <p:cNvPr id="2" name="Obraz 1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7CA51BF7-F49F-499A-9FBB-1CBBB2B4EA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587" y="466261"/>
            <a:ext cx="1820897" cy="997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102972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1DD86EA-EA42-44C7-8A4A-0066D92A8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9434" y="3073673"/>
            <a:ext cx="7445706" cy="1427075"/>
          </a:xfrm>
        </p:spPr>
        <p:txBody>
          <a:bodyPr anchor="t">
            <a:noAutofit/>
          </a:bodyPr>
          <a:lstStyle>
            <a:lvl1pPr marL="0" indent="0">
              <a:defRPr sz="4500" b="1" spc="-15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the </a:t>
            </a:r>
            <a:r>
              <a:rPr lang="pl-PL" err="1"/>
              <a:t>subsection</a:t>
            </a:r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E216245F-23B8-415E-9B16-3CDC42FB6A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91A28437-09C3-4BD5-A0ED-FE65C08B3832}"/>
              </a:ext>
            </a:extLst>
          </p:cNvPr>
          <p:cNvSpPr/>
          <p:nvPr userDrawn="1"/>
        </p:nvSpPr>
        <p:spPr>
          <a:xfrm>
            <a:off x="11206843" y="0"/>
            <a:ext cx="98515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1" name="Symbol zastępczy tekstu 2">
            <a:extLst>
              <a:ext uri="{FF2B5EF4-FFF2-40B4-BE49-F238E27FC236}">
                <a16:creationId xmlns:a16="http://schemas.microsoft.com/office/drawing/2014/main" id="{47C8ADBB-ACFA-574D-A9FF-6F34AD09FA91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74712" y="3073673"/>
            <a:ext cx="1274722" cy="744868"/>
          </a:xfrm>
        </p:spPr>
        <p:txBody>
          <a:bodyPr>
            <a:norm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4500" b="1" kern="1200" spc="-15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1.1.</a:t>
            </a:r>
          </a:p>
        </p:txBody>
      </p:sp>
      <p:pic>
        <p:nvPicPr>
          <p:cNvPr id="5" name="Obraz 4" descr="Obraz zawierający znak, zegar&#10;&#10;Opis wygenerowany automatycznie">
            <a:extLst>
              <a:ext uri="{FF2B5EF4-FFF2-40B4-BE49-F238E27FC236}">
                <a16:creationId xmlns:a16="http://schemas.microsoft.com/office/drawing/2014/main" id="{448DD1C7-DA96-44B0-88A4-CB7360BEA4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622" y="289845"/>
            <a:ext cx="1885007" cy="1032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3894721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7" name="Tytuł 1">
            <a:extLst>
              <a:ext uri="{FF2B5EF4-FFF2-40B4-BE49-F238E27FC236}">
                <a16:creationId xmlns:a16="http://schemas.microsoft.com/office/drawing/2014/main" id="{929E80EC-ABB5-FC47-BF91-33C7057C3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2220840-5540-F14A-BC1E-444C1BD005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EA3DE48-E235-B948-82FC-0FD10B1AA6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6359" y="2537783"/>
            <a:ext cx="10499281" cy="348201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err="1"/>
              <a:t>Proin</a:t>
            </a:r>
            <a:r>
              <a:rPr lang="pl-PL"/>
              <a:t> vitae </a:t>
            </a:r>
            <a:r>
              <a:rPr lang="pl-PL" err="1"/>
              <a:t>odio</a:t>
            </a:r>
            <a:r>
              <a:rPr lang="pl-PL"/>
              <a:t>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auctor</a:t>
            </a:r>
            <a:r>
              <a:rPr lang="pl-PL"/>
              <a:t> </a:t>
            </a:r>
            <a:r>
              <a:rPr lang="pl-PL" err="1"/>
              <a:t>faucibus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pic>
        <p:nvPicPr>
          <p:cNvPr id="4" name="Obraz 3" descr="Obraz zawierający znak, zegar&#10;&#10;Opis wygenerowany automatycznie">
            <a:extLst>
              <a:ext uri="{FF2B5EF4-FFF2-40B4-BE49-F238E27FC236}">
                <a16:creationId xmlns:a16="http://schemas.microsoft.com/office/drawing/2014/main" id="{4B9CABC8-B237-46DF-B1EC-029DE6B3F5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354224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_column_text_and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E5A33A5-C501-854D-8332-AB6B555464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50350" y="0"/>
            <a:ext cx="3041650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en-GB"/>
              <a:t>Click icon to add picture</a:t>
            </a:r>
            <a:endParaRPr lang="en-VN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E921302-7DE3-BD41-8B22-8AC8ECE8B1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6359" y="2840349"/>
            <a:ext cx="7770561" cy="317944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sp>
        <p:nvSpPr>
          <p:cNvPr id="28" name="Tytuł 1">
            <a:extLst>
              <a:ext uri="{FF2B5EF4-FFF2-40B4-BE49-F238E27FC236}">
                <a16:creationId xmlns:a16="http://schemas.microsoft.com/office/drawing/2014/main" id="{1DF88112-C106-6D44-87FF-A650FE327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862546"/>
            <a:ext cx="7770559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A04151-C436-4A41-A014-CB3407F0CC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920598"/>
            <a:ext cx="7770559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AA1D4B21-02EC-484F-93D1-352AD0ADF2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485898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_colum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EB70E64-4362-AA4D-BF7F-5F8D00AB9F6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50350" y="0"/>
            <a:ext cx="3041650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en-GB"/>
              <a:t>Click icon to add picture</a:t>
            </a:r>
            <a:endParaRPr lang="en-VN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0798991-C02A-DB44-844E-8D4A26B467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6359" y="1280598"/>
            <a:ext cx="7770561" cy="47392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err="1"/>
              <a:t>Proin</a:t>
            </a:r>
            <a:r>
              <a:rPr lang="pl-PL"/>
              <a:t> vitae </a:t>
            </a:r>
            <a:r>
              <a:rPr lang="pl-PL" err="1"/>
              <a:t>odio</a:t>
            </a:r>
            <a:r>
              <a:rPr lang="pl-PL"/>
              <a:t>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auctor</a:t>
            </a:r>
            <a:r>
              <a:rPr lang="pl-PL"/>
              <a:t> </a:t>
            </a:r>
            <a:r>
              <a:rPr lang="pl-PL" err="1"/>
              <a:t>faucibus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FEAF2F6B-F8FB-4040-8850-B1DAFE9236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7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567531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_text_and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C781BEA-A0D4-CF4E-8171-90B52C8EBE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63349" y="2537783"/>
            <a:ext cx="3162299" cy="3477123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304D130-51A3-F548-B74D-31E02331B55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65648" y="2537783"/>
            <a:ext cx="3162299" cy="3477123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8" name="Tytuł 1">
            <a:extLst>
              <a:ext uri="{FF2B5EF4-FFF2-40B4-BE49-F238E27FC236}">
                <a16:creationId xmlns:a16="http://schemas.microsoft.com/office/drawing/2014/main" id="{BABF2F3A-98AC-E54A-B8FB-FBABA6A48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A7B1259-50F3-AC40-8743-F5628495C4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74625BDF-1CB1-4C9C-9286-C46C20F1B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58154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cxnSp>
        <p:nvCxnSpPr>
          <p:cNvPr id="11" name="Łącznik prosty 10">
            <a:extLst>
              <a:ext uri="{FF2B5EF4-FFF2-40B4-BE49-F238E27FC236}">
                <a16:creationId xmlns:a16="http://schemas.microsoft.com/office/drawing/2014/main" id="{C2D73FA2-095C-41E7-BF3D-3E65D4600830}"/>
              </a:ext>
            </a:extLst>
          </p:cNvPr>
          <p:cNvCxnSpPr>
            <a:cxnSpLocks/>
          </p:cNvCxnSpPr>
          <p:nvPr userDrawn="1"/>
        </p:nvCxnSpPr>
        <p:spPr>
          <a:xfrm>
            <a:off x="1013426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Łącznik prosty 24">
            <a:extLst>
              <a:ext uri="{FF2B5EF4-FFF2-40B4-BE49-F238E27FC236}">
                <a16:creationId xmlns:a16="http://schemas.microsoft.com/office/drawing/2014/main" id="{3C1EBD96-FC8B-467F-BA05-89B6A01E6C87}"/>
              </a:ext>
            </a:extLst>
          </p:cNvPr>
          <p:cNvCxnSpPr>
            <a:cxnSpLocks/>
          </p:cNvCxnSpPr>
          <p:nvPr userDrawn="1"/>
        </p:nvCxnSpPr>
        <p:spPr>
          <a:xfrm>
            <a:off x="3066742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Łącznik prosty 36">
            <a:extLst>
              <a:ext uri="{FF2B5EF4-FFF2-40B4-BE49-F238E27FC236}">
                <a16:creationId xmlns:a16="http://schemas.microsoft.com/office/drawing/2014/main" id="{EA249D0D-D9C0-4F41-8C2D-B54A8594B1C9}"/>
              </a:ext>
            </a:extLst>
          </p:cNvPr>
          <p:cNvCxnSpPr>
            <a:cxnSpLocks/>
          </p:cNvCxnSpPr>
          <p:nvPr userDrawn="1"/>
        </p:nvCxnSpPr>
        <p:spPr>
          <a:xfrm>
            <a:off x="5115042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Łącznik prosty 40">
            <a:extLst>
              <a:ext uri="{FF2B5EF4-FFF2-40B4-BE49-F238E27FC236}">
                <a16:creationId xmlns:a16="http://schemas.microsoft.com/office/drawing/2014/main" id="{6373FCD6-8FF8-401A-AABF-0E3D085F8D23}"/>
              </a:ext>
            </a:extLst>
          </p:cNvPr>
          <p:cNvCxnSpPr>
            <a:cxnSpLocks/>
          </p:cNvCxnSpPr>
          <p:nvPr userDrawn="1"/>
        </p:nvCxnSpPr>
        <p:spPr>
          <a:xfrm>
            <a:off x="7168358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Łącznik prosty 50">
            <a:extLst>
              <a:ext uri="{FF2B5EF4-FFF2-40B4-BE49-F238E27FC236}">
                <a16:creationId xmlns:a16="http://schemas.microsoft.com/office/drawing/2014/main" id="{AE19DA18-FFDD-4D42-829E-2A06AA4C3EB1}"/>
              </a:ext>
            </a:extLst>
          </p:cNvPr>
          <p:cNvCxnSpPr>
            <a:cxnSpLocks/>
          </p:cNvCxnSpPr>
          <p:nvPr userDrawn="1"/>
        </p:nvCxnSpPr>
        <p:spPr>
          <a:xfrm>
            <a:off x="9199914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EC355DE3-C9CA-CD42-8086-6CD72154393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39792" y="4509711"/>
            <a:ext cx="1839291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64" name="Text Placeholder 60">
            <a:extLst>
              <a:ext uri="{FF2B5EF4-FFF2-40B4-BE49-F238E27FC236}">
                <a16:creationId xmlns:a16="http://schemas.microsoft.com/office/drawing/2014/main" id="{AB50EBF6-5D95-BC45-9C63-954D03F72C5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00840" y="3637944"/>
            <a:ext cx="1881427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1.</a:t>
            </a:r>
          </a:p>
        </p:txBody>
      </p:sp>
      <p:sp>
        <p:nvSpPr>
          <p:cNvPr id="65" name="Text Placeholder 60">
            <a:extLst>
              <a:ext uri="{FF2B5EF4-FFF2-40B4-BE49-F238E27FC236}">
                <a16:creationId xmlns:a16="http://schemas.microsoft.com/office/drawing/2014/main" id="{F720E689-39B1-9245-AB65-DD6F312DBB6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00840" y="4124820"/>
            <a:ext cx="1881427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66" name="Text Placeholder 60">
            <a:extLst>
              <a:ext uri="{FF2B5EF4-FFF2-40B4-BE49-F238E27FC236}">
                <a16:creationId xmlns:a16="http://schemas.microsoft.com/office/drawing/2014/main" id="{1B0F2A70-062F-4040-81EE-C7AC88A1CC6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59511" y="3625828"/>
            <a:ext cx="1881428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2.</a:t>
            </a:r>
          </a:p>
        </p:txBody>
      </p:sp>
      <p:sp>
        <p:nvSpPr>
          <p:cNvPr id="67" name="Text Placeholder 60">
            <a:extLst>
              <a:ext uri="{FF2B5EF4-FFF2-40B4-BE49-F238E27FC236}">
                <a16:creationId xmlns:a16="http://schemas.microsoft.com/office/drawing/2014/main" id="{7DA62FC7-0C6B-304B-B58D-884BDDE546E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154494" y="4112704"/>
            <a:ext cx="1873484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68" name="Text Placeholder 60">
            <a:extLst>
              <a:ext uri="{FF2B5EF4-FFF2-40B4-BE49-F238E27FC236}">
                <a16:creationId xmlns:a16="http://schemas.microsoft.com/office/drawing/2014/main" id="{80356AD0-D55F-B948-84CA-DF589D91D80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40584" y="3637944"/>
            <a:ext cx="1837742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3.</a:t>
            </a:r>
          </a:p>
        </p:txBody>
      </p:sp>
      <p:sp>
        <p:nvSpPr>
          <p:cNvPr id="70" name="Text Placeholder 60">
            <a:extLst>
              <a:ext uri="{FF2B5EF4-FFF2-40B4-BE49-F238E27FC236}">
                <a16:creationId xmlns:a16="http://schemas.microsoft.com/office/drawing/2014/main" id="{EC756B4B-EFF8-B34C-AEB0-8AC3B293B96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40582" y="4124821"/>
            <a:ext cx="1837741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71" name="Text Placeholder 60">
            <a:extLst>
              <a:ext uri="{FF2B5EF4-FFF2-40B4-BE49-F238E27FC236}">
                <a16:creationId xmlns:a16="http://schemas.microsoft.com/office/drawing/2014/main" id="{714DF4FC-C50D-9446-B0D3-6D6D9AFBC23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52917" y="4495093"/>
            <a:ext cx="1875060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72" name="Text Placeholder 60">
            <a:extLst>
              <a:ext uri="{FF2B5EF4-FFF2-40B4-BE49-F238E27FC236}">
                <a16:creationId xmlns:a16="http://schemas.microsoft.com/office/drawing/2014/main" id="{A07194BE-D76F-BF4B-A421-877DB1635F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00059" y="4502207"/>
            <a:ext cx="1881427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3" name="Text Placeholder 60">
            <a:extLst>
              <a:ext uri="{FF2B5EF4-FFF2-40B4-BE49-F238E27FC236}">
                <a16:creationId xmlns:a16="http://schemas.microsoft.com/office/drawing/2014/main" id="{70049643-AD52-8C45-8843-942514BF015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260611" y="4497595"/>
            <a:ext cx="1839291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4" name="Text Placeholder 60">
            <a:extLst>
              <a:ext uri="{FF2B5EF4-FFF2-40B4-BE49-F238E27FC236}">
                <a16:creationId xmlns:a16="http://schemas.microsoft.com/office/drawing/2014/main" id="{A9FD836D-BD8F-7A4F-9578-B2A1840A401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61403" y="3625828"/>
            <a:ext cx="1837742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4.</a:t>
            </a:r>
          </a:p>
        </p:txBody>
      </p:sp>
      <p:sp>
        <p:nvSpPr>
          <p:cNvPr id="85" name="Text Placeholder 60">
            <a:extLst>
              <a:ext uri="{FF2B5EF4-FFF2-40B4-BE49-F238E27FC236}">
                <a16:creationId xmlns:a16="http://schemas.microsoft.com/office/drawing/2014/main" id="{1F11E0C5-BB90-C54C-9F45-07BA01346F8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61401" y="4112705"/>
            <a:ext cx="1837741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89" name="Text Placeholder 60">
            <a:extLst>
              <a:ext uri="{FF2B5EF4-FFF2-40B4-BE49-F238E27FC236}">
                <a16:creationId xmlns:a16="http://schemas.microsoft.com/office/drawing/2014/main" id="{0CD43120-E7F9-E84C-AB53-D7B8D88DF91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96861" y="4490091"/>
            <a:ext cx="1839291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90" name="Text Placeholder 60">
            <a:extLst>
              <a:ext uri="{FF2B5EF4-FFF2-40B4-BE49-F238E27FC236}">
                <a16:creationId xmlns:a16="http://schemas.microsoft.com/office/drawing/2014/main" id="{9A1C3D79-D53B-8044-988E-FC39BF636A7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297653" y="3618324"/>
            <a:ext cx="1837742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5.</a:t>
            </a:r>
          </a:p>
        </p:txBody>
      </p:sp>
      <p:sp>
        <p:nvSpPr>
          <p:cNvPr id="91" name="Text Placeholder 60">
            <a:extLst>
              <a:ext uri="{FF2B5EF4-FFF2-40B4-BE49-F238E27FC236}">
                <a16:creationId xmlns:a16="http://schemas.microsoft.com/office/drawing/2014/main" id="{8A5DB2EF-B467-2A43-865F-C95DC9A39FD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297651" y="4105201"/>
            <a:ext cx="1837741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394B4A0-15B9-0942-BD0C-49F1B5DBE61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Process</a:t>
            </a:r>
            <a:endParaRPr lang="pl-PL"/>
          </a:p>
        </p:txBody>
      </p:sp>
      <p:graphicFrame>
        <p:nvGraphicFramePr>
          <p:cNvPr id="36" name="Diagram 35">
            <a:extLst>
              <a:ext uri="{FF2B5EF4-FFF2-40B4-BE49-F238E27FC236}">
                <a16:creationId xmlns:a16="http://schemas.microsoft.com/office/drawing/2014/main" id="{CD23FAA5-A7A5-8C49-8E0D-F024CE45546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86440504"/>
              </p:ext>
            </p:extLst>
          </p:nvPr>
        </p:nvGraphicFramePr>
        <p:xfrm>
          <a:off x="868137" y="2328182"/>
          <a:ext cx="10477501" cy="7565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60C20CF-B865-8B44-BD36-17589A21A6C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209031" y="2326909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16181BA-1FC1-E741-B679-9810D1ECAB6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68870" y="2328182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FE33DAE9-07C3-DB48-897C-2C0141E4A66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91486" y="2326909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64B5A0C-DD98-B342-82AE-38923E82673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44177" y="2337820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2081F07E-5101-144B-84C2-23242040AD7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366362" y="2337820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840059F9-9774-47EA-9875-CA53E16FEC2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190091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1D9E27F-F165-3E44-B3F0-AF418E227E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249" y="1280598"/>
            <a:ext cx="4952420" cy="47392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07F197B-A2B7-804E-A6FD-92D4CE51C21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66331" y="1280598"/>
            <a:ext cx="4952420" cy="47392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08EF6039-6B91-4C3A-B107-D5E3139663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503627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_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ymbol zastępczy numeru slajdu 5">
            <a:extLst>
              <a:ext uri="{FF2B5EF4-FFF2-40B4-BE49-F238E27FC236}">
                <a16:creationId xmlns:a16="http://schemas.microsoft.com/office/drawing/2014/main" id="{D526C90E-13B5-4D95-8BE9-03ED11780FC9}"/>
              </a:ext>
            </a:extLst>
          </p:cNvPr>
          <p:cNvSpPr>
            <a:spLocks noGrp="1"/>
          </p:cNvSpPr>
          <p:nvPr userDrawn="1">
            <p:ph type="sldNum" sz="quarter" idx="19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7" name="Tytuł 1">
            <a:extLst>
              <a:ext uri="{FF2B5EF4-FFF2-40B4-BE49-F238E27FC236}">
                <a16:creationId xmlns:a16="http://schemas.microsoft.com/office/drawing/2014/main" id="{1F842593-776B-B443-AD88-08F7296B68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876FF36-F330-A24E-AA7B-14CA144DFC3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Timeline</a:t>
            </a:r>
            <a:endParaRPr lang="pl-PL"/>
          </a:p>
        </p:txBody>
      </p:sp>
      <p:pic>
        <p:nvPicPr>
          <p:cNvPr id="3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FFAD60F4-ACCD-4639-B663-4D424DF1863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438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1" name="Text Placeholder 60">
            <a:extLst>
              <a:ext uri="{FF2B5EF4-FFF2-40B4-BE49-F238E27FC236}">
                <a16:creationId xmlns:a16="http://schemas.microsoft.com/office/drawing/2014/main" id="{DFD8D30E-966A-7843-8DE0-595893F134C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69382" y="4620079"/>
            <a:ext cx="3081485" cy="138102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.</a:t>
            </a:r>
          </a:p>
        </p:txBody>
      </p:sp>
      <p:sp>
        <p:nvSpPr>
          <p:cNvPr id="22" name="Text Placeholder 60">
            <a:extLst>
              <a:ext uri="{FF2B5EF4-FFF2-40B4-BE49-F238E27FC236}">
                <a16:creationId xmlns:a16="http://schemas.microsoft.com/office/drawing/2014/main" id="{19041B1D-CD02-B349-9FCB-41959E33872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690909" y="4620078"/>
            <a:ext cx="3081485" cy="138102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.</a:t>
            </a:r>
          </a:p>
        </p:txBody>
      </p:sp>
      <p:sp>
        <p:nvSpPr>
          <p:cNvPr id="23" name="Text Placeholder 60">
            <a:extLst>
              <a:ext uri="{FF2B5EF4-FFF2-40B4-BE49-F238E27FC236}">
                <a16:creationId xmlns:a16="http://schemas.microsoft.com/office/drawing/2014/main" id="{07AF3E05-35E0-464C-BA8A-4A064BCE59C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12436" y="4620078"/>
            <a:ext cx="3081485" cy="138102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.</a:t>
            </a:r>
          </a:p>
        </p:txBody>
      </p:sp>
      <p:sp>
        <p:nvSpPr>
          <p:cNvPr id="42" name="Text Placeholder 60">
            <a:extLst>
              <a:ext uri="{FF2B5EF4-FFF2-40B4-BE49-F238E27FC236}">
                <a16:creationId xmlns:a16="http://schemas.microsoft.com/office/drawing/2014/main" id="{D84BA214-BCEF-E74D-8682-DA2C88B2B1F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12149" y="2613943"/>
            <a:ext cx="1499495" cy="946594"/>
          </a:xfrm>
        </p:spPr>
        <p:txBody>
          <a:bodyPr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i="0" kern="1200" spc="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en-VN"/>
              <a:t>90</a:t>
            </a:r>
          </a:p>
        </p:txBody>
      </p:sp>
      <p:sp>
        <p:nvSpPr>
          <p:cNvPr id="43" name="Text Placeholder 60">
            <a:extLst>
              <a:ext uri="{FF2B5EF4-FFF2-40B4-BE49-F238E27FC236}">
                <a16:creationId xmlns:a16="http://schemas.microsoft.com/office/drawing/2014/main" id="{0012AB77-93BB-804A-86A3-E396540AE4C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731324" y="2619277"/>
            <a:ext cx="1499495" cy="946594"/>
          </a:xfrm>
        </p:spPr>
        <p:txBody>
          <a:bodyPr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i="0" kern="1200" spc="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en-VN"/>
              <a:t>70</a:t>
            </a:r>
          </a:p>
        </p:txBody>
      </p:sp>
      <p:sp>
        <p:nvSpPr>
          <p:cNvPr id="44" name="Text Placeholder 60">
            <a:extLst>
              <a:ext uri="{FF2B5EF4-FFF2-40B4-BE49-F238E27FC236}">
                <a16:creationId xmlns:a16="http://schemas.microsoft.com/office/drawing/2014/main" id="{114745FC-72D4-A34F-9EB4-CBDE315BCF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252852" y="2613943"/>
            <a:ext cx="1499495" cy="946594"/>
          </a:xfrm>
        </p:spPr>
        <p:txBody>
          <a:bodyPr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i="0" kern="1200" spc="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en-VN"/>
              <a:t>50</a:t>
            </a:r>
          </a:p>
        </p:txBody>
      </p:sp>
      <p:sp>
        <p:nvSpPr>
          <p:cNvPr id="47" name="Text Placeholder 60">
            <a:extLst>
              <a:ext uri="{FF2B5EF4-FFF2-40B4-BE49-F238E27FC236}">
                <a16:creationId xmlns:a16="http://schemas.microsoft.com/office/drawing/2014/main" id="{BB04F1DD-DC73-B64F-8D95-470D3C9DE20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69357" y="3804469"/>
            <a:ext cx="3094240" cy="57167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-15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Headline</a:t>
            </a:r>
            <a:endParaRPr lang="pl-PL"/>
          </a:p>
        </p:txBody>
      </p:sp>
      <p:sp>
        <p:nvSpPr>
          <p:cNvPr id="48" name="Text Placeholder 60">
            <a:extLst>
              <a:ext uri="{FF2B5EF4-FFF2-40B4-BE49-F238E27FC236}">
                <a16:creationId xmlns:a16="http://schemas.microsoft.com/office/drawing/2014/main" id="{25F60B0D-B742-0042-88EE-1ABCF1A260B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690908" y="3804469"/>
            <a:ext cx="3081485" cy="57167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-15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Headline</a:t>
            </a:r>
            <a:endParaRPr lang="pl-PL"/>
          </a:p>
        </p:txBody>
      </p:sp>
      <p:sp>
        <p:nvSpPr>
          <p:cNvPr id="50" name="Text Placeholder 60">
            <a:extLst>
              <a:ext uri="{FF2B5EF4-FFF2-40B4-BE49-F238E27FC236}">
                <a16:creationId xmlns:a16="http://schemas.microsoft.com/office/drawing/2014/main" id="{DE9DABA4-C2D8-8E4E-AA85-55EE5E6132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212436" y="3808741"/>
            <a:ext cx="3081485" cy="57167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-15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Headline</a:t>
            </a:r>
            <a:endParaRPr lang="pl-PL"/>
          </a:p>
        </p:txBody>
      </p:sp>
      <p:sp>
        <p:nvSpPr>
          <p:cNvPr id="24" name="Tytuł 1">
            <a:extLst>
              <a:ext uri="{FF2B5EF4-FFF2-40B4-BE49-F238E27FC236}">
                <a16:creationId xmlns:a16="http://schemas.microsoft.com/office/drawing/2014/main" id="{46B78CD4-6DC0-104F-B4BD-0566E5541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2AB964A-EF59-DE48-AD8F-EEA61505B3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tatistics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D7E5FB14-933E-4364-B3D1-C09D685904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A2F4E2AC-1087-4DFC-850A-D9F3A645579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767012" y="2601437"/>
            <a:ext cx="1136930" cy="94659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2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%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5C0A0ADB-A1D9-49E0-8F6D-4C0B1164EC7C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278786" y="2610063"/>
            <a:ext cx="1136930" cy="94659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2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%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504EFA6F-F170-44CA-BAB1-4CD9E4F9790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790560" y="2610063"/>
            <a:ext cx="1136930" cy="94659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2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3724204933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8" name="Text Placeholder 60">
            <a:extLst>
              <a:ext uri="{FF2B5EF4-FFF2-40B4-BE49-F238E27FC236}">
                <a16:creationId xmlns:a16="http://schemas.microsoft.com/office/drawing/2014/main" id="{E2FE5B23-E796-9845-AEB3-C0E6F3C3AD0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73575" y="2553992"/>
            <a:ext cx="2429131" cy="342674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9" name="Tytuł 1">
            <a:extLst>
              <a:ext uri="{FF2B5EF4-FFF2-40B4-BE49-F238E27FC236}">
                <a16:creationId xmlns:a16="http://schemas.microsoft.com/office/drawing/2014/main" id="{4EC41BCE-7E61-D64D-AE59-BED013FB7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67F42A08-C50E-F94C-BBE1-66A51F0CFFC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Pie Chart</a:t>
            </a:r>
          </a:p>
        </p:txBody>
      </p:sp>
      <p:sp>
        <p:nvSpPr>
          <p:cNvPr id="11" name="Chart Placeholder 2">
            <a:extLst>
              <a:ext uri="{FF2B5EF4-FFF2-40B4-BE49-F238E27FC236}">
                <a16:creationId xmlns:a16="http://schemas.microsoft.com/office/drawing/2014/main" id="{164FAD95-5B35-C04C-960B-FF68DB61F234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3840187" y="2553992"/>
            <a:ext cx="7505451" cy="3452807"/>
          </a:xfrm>
        </p:spPr>
        <p:txBody>
          <a:bodyPr/>
          <a:lstStyle/>
          <a:p>
            <a:r>
              <a:rPr lang="en-GB"/>
              <a:t>Click icon to add chart</a:t>
            </a:r>
            <a:endParaRPr lang="en-VN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C99B4826-B08E-408F-B8D3-9A05CF3AA0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091332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1" name="Text Placeholder 60">
            <a:extLst>
              <a:ext uri="{FF2B5EF4-FFF2-40B4-BE49-F238E27FC236}">
                <a16:creationId xmlns:a16="http://schemas.microsoft.com/office/drawing/2014/main" id="{DAD57A10-2378-C042-829B-CEFB0227B17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16507" y="2545433"/>
            <a:ext cx="2401916" cy="342674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2" name="Tytuł 1">
            <a:extLst>
              <a:ext uri="{FF2B5EF4-FFF2-40B4-BE49-F238E27FC236}">
                <a16:creationId xmlns:a16="http://schemas.microsoft.com/office/drawing/2014/main" id="{EB1AA903-786F-F64D-B96A-0589677BEA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D2CF7D0-12DF-BF46-848D-E5FE5C0598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Bar Chart</a:t>
            </a:r>
          </a:p>
        </p:txBody>
      </p:sp>
      <p:sp>
        <p:nvSpPr>
          <p:cNvPr id="15" name="Chart Placeholder 2">
            <a:extLst>
              <a:ext uri="{FF2B5EF4-FFF2-40B4-BE49-F238E27FC236}">
                <a16:creationId xmlns:a16="http://schemas.microsoft.com/office/drawing/2014/main" id="{AA973FBF-1D29-9D49-9CD1-CE28522BEE26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873575" y="2537783"/>
            <a:ext cx="7502933" cy="3434392"/>
          </a:xfrm>
        </p:spPr>
        <p:txBody>
          <a:bodyPr/>
          <a:lstStyle/>
          <a:p>
            <a:r>
              <a:rPr lang="en-GB"/>
              <a:t>Click icon to add chart</a:t>
            </a:r>
            <a:endParaRPr lang="en-VN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F365A329-3473-4832-BEFC-096C4691D3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587501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cxnSp>
        <p:nvCxnSpPr>
          <p:cNvPr id="11" name="Łącznik prosty 10">
            <a:extLst>
              <a:ext uri="{FF2B5EF4-FFF2-40B4-BE49-F238E27FC236}">
                <a16:creationId xmlns:a16="http://schemas.microsoft.com/office/drawing/2014/main" id="{C2D73FA2-095C-41E7-BF3D-3E65D4600830}"/>
              </a:ext>
            </a:extLst>
          </p:cNvPr>
          <p:cNvCxnSpPr>
            <a:cxnSpLocks/>
          </p:cNvCxnSpPr>
          <p:nvPr userDrawn="1"/>
        </p:nvCxnSpPr>
        <p:spPr>
          <a:xfrm>
            <a:off x="1013426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Łącznik prosty 24">
            <a:extLst>
              <a:ext uri="{FF2B5EF4-FFF2-40B4-BE49-F238E27FC236}">
                <a16:creationId xmlns:a16="http://schemas.microsoft.com/office/drawing/2014/main" id="{3C1EBD96-FC8B-467F-BA05-89B6A01E6C87}"/>
              </a:ext>
            </a:extLst>
          </p:cNvPr>
          <p:cNvCxnSpPr>
            <a:cxnSpLocks/>
          </p:cNvCxnSpPr>
          <p:nvPr userDrawn="1"/>
        </p:nvCxnSpPr>
        <p:spPr>
          <a:xfrm>
            <a:off x="3066742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Łącznik prosty 36">
            <a:extLst>
              <a:ext uri="{FF2B5EF4-FFF2-40B4-BE49-F238E27FC236}">
                <a16:creationId xmlns:a16="http://schemas.microsoft.com/office/drawing/2014/main" id="{EA249D0D-D9C0-4F41-8C2D-B54A8594B1C9}"/>
              </a:ext>
            </a:extLst>
          </p:cNvPr>
          <p:cNvCxnSpPr>
            <a:cxnSpLocks/>
          </p:cNvCxnSpPr>
          <p:nvPr userDrawn="1"/>
        </p:nvCxnSpPr>
        <p:spPr>
          <a:xfrm>
            <a:off x="5115042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Łącznik prosty 40">
            <a:extLst>
              <a:ext uri="{FF2B5EF4-FFF2-40B4-BE49-F238E27FC236}">
                <a16:creationId xmlns:a16="http://schemas.microsoft.com/office/drawing/2014/main" id="{6373FCD6-8FF8-401A-AABF-0E3D085F8D23}"/>
              </a:ext>
            </a:extLst>
          </p:cNvPr>
          <p:cNvCxnSpPr>
            <a:cxnSpLocks/>
          </p:cNvCxnSpPr>
          <p:nvPr userDrawn="1"/>
        </p:nvCxnSpPr>
        <p:spPr>
          <a:xfrm>
            <a:off x="7168358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Łącznik prosty 50">
            <a:extLst>
              <a:ext uri="{FF2B5EF4-FFF2-40B4-BE49-F238E27FC236}">
                <a16:creationId xmlns:a16="http://schemas.microsoft.com/office/drawing/2014/main" id="{AE19DA18-FFDD-4D42-829E-2A06AA4C3EB1}"/>
              </a:ext>
            </a:extLst>
          </p:cNvPr>
          <p:cNvCxnSpPr>
            <a:cxnSpLocks/>
          </p:cNvCxnSpPr>
          <p:nvPr userDrawn="1"/>
        </p:nvCxnSpPr>
        <p:spPr>
          <a:xfrm>
            <a:off x="9199914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EC355DE3-C9CA-CD42-8086-6CD72154393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39792" y="4509711"/>
            <a:ext cx="1839291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64" name="Text Placeholder 60">
            <a:extLst>
              <a:ext uri="{FF2B5EF4-FFF2-40B4-BE49-F238E27FC236}">
                <a16:creationId xmlns:a16="http://schemas.microsoft.com/office/drawing/2014/main" id="{AB50EBF6-5D95-BC45-9C63-954D03F72C5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00840" y="3637944"/>
            <a:ext cx="1881427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1.</a:t>
            </a:r>
          </a:p>
        </p:txBody>
      </p:sp>
      <p:sp>
        <p:nvSpPr>
          <p:cNvPr id="65" name="Text Placeholder 60">
            <a:extLst>
              <a:ext uri="{FF2B5EF4-FFF2-40B4-BE49-F238E27FC236}">
                <a16:creationId xmlns:a16="http://schemas.microsoft.com/office/drawing/2014/main" id="{F720E689-39B1-9245-AB65-DD6F312DBB6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00840" y="4124820"/>
            <a:ext cx="1881427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66" name="Text Placeholder 60">
            <a:extLst>
              <a:ext uri="{FF2B5EF4-FFF2-40B4-BE49-F238E27FC236}">
                <a16:creationId xmlns:a16="http://schemas.microsoft.com/office/drawing/2014/main" id="{1B0F2A70-062F-4040-81EE-C7AC88A1CC6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59511" y="3625828"/>
            <a:ext cx="1881428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2.</a:t>
            </a:r>
          </a:p>
        </p:txBody>
      </p:sp>
      <p:sp>
        <p:nvSpPr>
          <p:cNvPr id="67" name="Text Placeholder 60">
            <a:extLst>
              <a:ext uri="{FF2B5EF4-FFF2-40B4-BE49-F238E27FC236}">
                <a16:creationId xmlns:a16="http://schemas.microsoft.com/office/drawing/2014/main" id="{7DA62FC7-0C6B-304B-B58D-884BDDE546E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154494" y="4112704"/>
            <a:ext cx="1873484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68" name="Text Placeholder 60">
            <a:extLst>
              <a:ext uri="{FF2B5EF4-FFF2-40B4-BE49-F238E27FC236}">
                <a16:creationId xmlns:a16="http://schemas.microsoft.com/office/drawing/2014/main" id="{80356AD0-D55F-B948-84CA-DF589D91D80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40584" y="3637944"/>
            <a:ext cx="1837742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3.</a:t>
            </a:r>
          </a:p>
        </p:txBody>
      </p:sp>
      <p:sp>
        <p:nvSpPr>
          <p:cNvPr id="70" name="Text Placeholder 60">
            <a:extLst>
              <a:ext uri="{FF2B5EF4-FFF2-40B4-BE49-F238E27FC236}">
                <a16:creationId xmlns:a16="http://schemas.microsoft.com/office/drawing/2014/main" id="{EC756B4B-EFF8-B34C-AEB0-8AC3B293B96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40582" y="4124821"/>
            <a:ext cx="1837741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71" name="Text Placeholder 60">
            <a:extLst>
              <a:ext uri="{FF2B5EF4-FFF2-40B4-BE49-F238E27FC236}">
                <a16:creationId xmlns:a16="http://schemas.microsoft.com/office/drawing/2014/main" id="{714DF4FC-C50D-9446-B0D3-6D6D9AFBC23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52917" y="4495093"/>
            <a:ext cx="1875060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72" name="Text Placeholder 60">
            <a:extLst>
              <a:ext uri="{FF2B5EF4-FFF2-40B4-BE49-F238E27FC236}">
                <a16:creationId xmlns:a16="http://schemas.microsoft.com/office/drawing/2014/main" id="{A07194BE-D76F-BF4B-A421-877DB1635F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00059" y="4502207"/>
            <a:ext cx="1881427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3" name="Text Placeholder 60">
            <a:extLst>
              <a:ext uri="{FF2B5EF4-FFF2-40B4-BE49-F238E27FC236}">
                <a16:creationId xmlns:a16="http://schemas.microsoft.com/office/drawing/2014/main" id="{70049643-AD52-8C45-8843-942514BF015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260611" y="4497595"/>
            <a:ext cx="1839291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4" name="Text Placeholder 60">
            <a:extLst>
              <a:ext uri="{FF2B5EF4-FFF2-40B4-BE49-F238E27FC236}">
                <a16:creationId xmlns:a16="http://schemas.microsoft.com/office/drawing/2014/main" id="{A9FD836D-BD8F-7A4F-9578-B2A1840A401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61403" y="3625828"/>
            <a:ext cx="1837742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4.</a:t>
            </a:r>
          </a:p>
        </p:txBody>
      </p:sp>
      <p:sp>
        <p:nvSpPr>
          <p:cNvPr id="85" name="Text Placeholder 60">
            <a:extLst>
              <a:ext uri="{FF2B5EF4-FFF2-40B4-BE49-F238E27FC236}">
                <a16:creationId xmlns:a16="http://schemas.microsoft.com/office/drawing/2014/main" id="{1F11E0C5-BB90-C54C-9F45-07BA01346F8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61401" y="4112705"/>
            <a:ext cx="1837741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89" name="Text Placeholder 60">
            <a:extLst>
              <a:ext uri="{FF2B5EF4-FFF2-40B4-BE49-F238E27FC236}">
                <a16:creationId xmlns:a16="http://schemas.microsoft.com/office/drawing/2014/main" id="{0CD43120-E7F9-E84C-AB53-D7B8D88DF91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96861" y="4490091"/>
            <a:ext cx="1839291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90" name="Text Placeholder 60">
            <a:extLst>
              <a:ext uri="{FF2B5EF4-FFF2-40B4-BE49-F238E27FC236}">
                <a16:creationId xmlns:a16="http://schemas.microsoft.com/office/drawing/2014/main" id="{9A1C3D79-D53B-8044-988E-FC39BF636A7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297653" y="3618324"/>
            <a:ext cx="1837742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5.</a:t>
            </a:r>
          </a:p>
        </p:txBody>
      </p:sp>
      <p:sp>
        <p:nvSpPr>
          <p:cNvPr id="91" name="Text Placeholder 60">
            <a:extLst>
              <a:ext uri="{FF2B5EF4-FFF2-40B4-BE49-F238E27FC236}">
                <a16:creationId xmlns:a16="http://schemas.microsoft.com/office/drawing/2014/main" id="{8A5DB2EF-B467-2A43-865F-C95DC9A39FD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297651" y="4105201"/>
            <a:ext cx="1837741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394B4A0-15B9-0942-BD0C-49F1B5DBE61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Process</a:t>
            </a:r>
            <a:endParaRPr lang="pl-PL"/>
          </a:p>
        </p:txBody>
      </p:sp>
      <p:graphicFrame>
        <p:nvGraphicFramePr>
          <p:cNvPr id="36" name="Diagram 35">
            <a:extLst>
              <a:ext uri="{FF2B5EF4-FFF2-40B4-BE49-F238E27FC236}">
                <a16:creationId xmlns:a16="http://schemas.microsoft.com/office/drawing/2014/main" id="{CD23FAA5-A7A5-8C49-8E0D-F024CE45546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86440504"/>
              </p:ext>
            </p:extLst>
          </p:nvPr>
        </p:nvGraphicFramePr>
        <p:xfrm>
          <a:off x="868137" y="2328182"/>
          <a:ext cx="10477501" cy="7565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60C20CF-B865-8B44-BD36-17589A21A6C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209031" y="2326909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16181BA-1FC1-E741-B679-9810D1ECAB6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68870" y="2328182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FE33DAE9-07C3-DB48-897C-2C0141E4A66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91486" y="2326909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64B5A0C-DD98-B342-82AE-38923E82673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44177" y="2337820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2081F07E-5101-144B-84C2-23242040AD7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366362" y="2337820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840059F9-9774-47EA-9875-CA53E16FEC2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536942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394B4A0-15B9-0942-BD0C-49F1B5DBE61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Process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840059F9-9774-47EA-9875-CA53E16FEC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566602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7" name="Text Placeholder 60">
            <a:extLst>
              <a:ext uri="{FF2B5EF4-FFF2-40B4-BE49-F238E27FC236}">
                <a16:creationId xmlns:a16="http://schemas.microsoft.com/office/drawing/2014/main" id="{F533D588-1515-E547-96E5-043A829923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39792" y="3650061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8" name="Text Placeholder 60">
            <a:extLst>
              <a:ext uri="{FF2B5EF4-FFF2-40B4-BE49-F238E27FC236}">
                <a16:creationId xmlns:a16="http://schemas.microsoft.com/office/drawing/2014/main" id="{4865FDAA-D4A0-BC42-8267-B5190D5B069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52917" y="3635443"/>
            <a:ext cx="1875060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9" name="Text Placeholder 60">
            <a:extLst>
              <a:ext uri="{FF2B5EF4-FFF2-40B4-BE49-F238E27FC236}">
                <a16:creationId xmlns:a16="http://schemas.microsoft.com/office/drawing/2014/main" id="{71180699-D64D-B848-91D2-41B5FAF2B1C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00059" y="3642557"/>
            <a:ext cx="1881427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0" name="Text Placeholder 60">
            <a:extLst>
              <a:ext uri="{FF2B5EF4-FFF2-40B4-BE49-F238E27FC236}">
                <a16:creationId xmlns:a16="http://schemas.microsoft.com/office/drawing/2014/main" id="{2CC46ADD-3E85-7445-9ECB-4CEF56C89D4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260611" y="3637945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1" name="Text Placeholder 60">
            <a:extLst>
              <a:ext uri="{FF2B5EF4-FFF2-40B4-BE49-F238E27FC236}">
                <a16:creationId xmlns:a16="http://schemas.microsoft.com/office/drawing/2014/main" id="{B78575ED-8EC4-A94D-ACEF-B945C14B7EE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96861" y="3630441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160E82-699B-1C42-A277-29C0FB7F381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209031" y="2398038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23A3B784-A354-024B-BD60-48D83FC3DDA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68870" y="2399311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2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976A9BDD-C86A-7341-8A72-F1B2836D58F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91486" y="2398038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3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6611BAE4-7EC3-B94A-98B0-7E3079F5872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44177" y="2408949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4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6FF69C6-D619-FA4B-8368-EAD10E1DB11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366362" y="2408949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5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4D9182F9-6A85-CC40-87F5-1190C0ECE7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Process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FD1838F8-5100-47A1-9BE2-6D817650F7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574605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7" name="Text Placeholder 60">
            <a:extLst>
              <a:ext uri="{FF2B5EF4-FFF2-40B4-BE49-F238E27FC236}">
                <a16:creationId xmlns:a16="http://schemas.microsoft.com/office/drawing/2014/main" id="{F533D588-1515-E547-96E5-043A829923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39792" y="3650061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8" name="Text Placeholder 60">
            <a:extLst>
              <a:ext uri="{FF2B5EF4-FFF2-40B4-BE49-F238E27FC236}">
                <a16:creationId xmlns:a16="http://schemas.microsoft.com/office/drawing/2014/main" id="{4865FDAA-D4A0-BC42-8267-B5190D5B069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52917" y="3635443"/>
            <a:ext cx="1875060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9" name="Text Placeholder 60">
            <a:extLst>
              <a:ext uri="{FF2B5EF4-FFF2-40B4-BE49-F238E27FC236}">
                <a16:creationId xmlns:a16="http://schemas.microsoft.com/office/drawing/2014/main" id="{71180699-D64D-B848-91D2-41B5FAF2B1C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00059" y="3642557"/>
            <a:ext cx="1881427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0" name="Text Placeholder 60">
            <a:extLst>
              <a:ext uri="{FF2B5EF4-FFF2-40B4-BE49-F238E27FC236}">
                <a16:creationId xmlns:a16="http://schemas.microsoft.com/office/drawing/2014/main" id="{2CC46ADD-3E85-7445-9ECB-4CEF56C89D4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260611" y="3637945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1" name="Text Placeholder 60">
            <a:extLst>
              <a:ext uri="{FF2B5EF4-FFF2-40B4-BE49-F238E27FC236}">
                <a16:creationId xmlns:a16="http://schemas.microsoft.com/office/drawing/2014/main" id="{B78575ED-8EC4-A94D-ACEF-B945C14B7EE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96861" y="3630441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graphicFrame>
        <p:nvGraphicFramePr>
          <p:cNvPr id="17" name="Diagram 16">
            <a:extLst>
              <a:ext uri="{FF2B5EF4-FFF2-40B4-BE49-F238E27FC236}">
                <a16:creationId xmlns:a16="http://schemas.microsoft.com/office/drawing/2014/main" id="{DFC05E75-E2B2-8446-8D26-025F7CBA2B16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742539720"/>
              </p:ext>
            </p:extLst>
          </p:nvPr>
        </p:nvGraphicFramePr>
        <p:xfrm>
          <a:off x="868137" y="2328182"/>
          <a:ext cx="10477501" cy="7565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160E82-699B-1C42-A277-29C0FB7F381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209031" y="2398038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23A3B784-A354-024B-BD60-48D83FC3DDA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68870" y="2399311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2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976A9BDD-C86A-7341-8A72-F1B2836D58F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91486" y="2398038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3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6611BAE4-7EC3-B94A-98B0-7E3079F5872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44177" y="2408949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4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6FF69C6-D619-FA4B-8368-EAD10E1DB11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366362" y="2408949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5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4D9182F9-6A85-CC40-87F5-1190C0ECE7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Process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FD1838F8-5100-47A1-9BE2-6D817650F78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665093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rganisational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4" name="SmartArt Placeholder 2">
            <a:extLst>
              <a:ext uri="{FF2B5EF4-FFF2-40B4-BE49-F238E27FC236}">
                <a16:creationId xmlns:a16="http://schemas.microsoft.com/office/drawing/2014/main" id="{C9EE6DDF-4503-8B4F-8836-08F07EAC62C0}"/>
              </a:ext>
            </a:extLst>
          </p:cNvPr>
          <p:cNvSpPr>
            <a:spLocks noGrp="1"/>
          </p:cNvSpPr>
          <p:nvPr>
            <p:ph type="dgm" sz="quarter" idx="17"/>
          </p:nvPr>
        </p:nvSpPr>
        <p:spPr>
          <a:xfrm>
            <a:off x="868790" y="2545887"/>
            <a:ext cx="10476847" cy="3434391"/>
          </a:xfrm>
        </p:spPr>
        <p:txBody>
          <a:bodyPr/>
          <a:lstStyle/>
          <a:p>
            <a:r>
              <a:rPr lang="en-GB"/>
              <a:t>Click icon to add SmartArt graphic</a:t>
            </a:r>
            <a:endParaRPr lang="en-VN"/>
          </a:p>
        </p:txBody>
      </p:sp>
      <p:sp>
        <p:nvSpPr>
          <p:cNvPr id="11" name="Tytuł 1">
            <a:extLst>
              <a:ext uri="{FF2B5EF4-FFF2-40B4-BE49-F238E27FC236}">
                <a16:creationId xmlns:a16="http://schemas.microsoft.com/office/drawing/2014/main" id="{EEC792C8-E504-3F40-ACD9-AB64AF98C4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/>
              <a:t>Char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4FD9722D-4087-514F-AABA-0E8F73EC51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Organisational</a:t>
            </a:r>
            <a:endParaRPr lang="pl-PL"/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9EADA050-CE5F-4E62-8280-485DFF5021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6324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394B4A0-15B9-0942-BD0C-49F1B5DBE61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Process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840059F9-9774-47EA-9875-CA53E16FEC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565428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ymbol zastępczy numeru slajdu 5">
            <a:extLst>
              <a:ext uri="{FF2B5EF4-FFF2-40B4-BE49-F238E27FC236}">
                <a16:creationId xmlns:a16="http://schemas.microsoft.com/office/drawing/2014/main" id="{1E56DE1E-2F16-46AE-AF32-B444265136E2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7"/>
            <a:ext cx="10504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l" defTabSz="914400" rtl="0" eaLnBrk="1" latinLnBrk="0" hangingPunct="1">
              <a:defRPr sz="1200" b="1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4" name="Tytuł 1">
            <a:extLst>
              <a:ext uri="{FF2B5EF4-FFF2-40B4-BE49-F238E27FC236}">
                <a16:creationId xmlns:a16="http://schemas.microsoft.com/office/drawing/2014/main" id="{A63FB9EB-CE12-3847-9139-913B0510B4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577" y="1460598"/>
            <a:ext cx="4716942" cy="717184"/>
          </a:xfrm>
        </p:spPr>
        <p:txBody>
          <a:bodyPr anchor="b">
            <a:normAutofit/>
          </a:bodyPr>
          <a:lstStyle>
            <a:lvl1pPr>
              <a:defRPr sz="3000" b="1" spc="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</a:t>
            </a:r>
            <a:r>
              <a:rPr lang="pl-PL" err="1"/>
              <a:t>paragraph</a:t>
            </a:r>
            <a:endParaRPr lang="pl-PL"/>
          </a:p>
        </p:txBody>
      </p:sp>
      <p:sp>
        <p:nvSpPr>
          <p:cNvPr id="14" name="Text Placeholder 60">
            <a:extLst>
              <a:ext uri="{FF2B5EF4-FFF2-40B4-BE49-F238E27FC236}">
                <a16:creationId xmlns:a16="http://schemas.microsoft.com/office/drawing/2014/main" id="{1168994B-C1E1-0847-92B6-623DE198D29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80879" y="4283358"/>
            <a:ext cx="4716941" cy="172242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9" name="Text Placeholder 60">
            <a:extLst>
              <a:ext uri="{FF2B5EF4-FFF2-40B4-BE49-F238E27FC236}">
                <a16:creationId xmlns:a16="http://schemas.microsoft.com/office/drawing/2014/main" id="{7CB87D47-F384-424D-8293-412E9135705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73578" y="2537783"/>
            <a:ext cx="4716941" cy="1555246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19647EF6-33D9-46E1-8DAF-A15A227C27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005858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Map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5" name="Tytuł 1">
            <a:extLst>
              <a:ext uri="{FF2B5EF4-FFF2-40B4-BE49-F238E27FC236}">
                <a16:creationId xmlns:a16="http://schemas.microsoft.com/office/drawing/2014/main" id="{734E2013-0338-7F3B-ACE7-4ED8BF7F93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47588AD-7F96-7036-53E2-88E70E106A16}"/>
              </a:ext>
            </a:extLst>
          </p:cNvPr>
          <p:cNvGrpSpPr/>
          <p:nvPr userDrawn="1"/>
        </p:nvGrpSpPr>
        <p:grpSpPr>
          <a:xfrm>
            <a:off x="9613647" y="311734"/>
            <a:ext cx="1948392" cy="674051"/>
            <a:chOff x="9613647" y="311734"/>
            <a:chExt cx="1948392" cy="674051"/>
          </a:xfrm>
        </p:grpSpPr>
        <p:pic>
          <p:nvPicPr>
            <p:cNvPr id="4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F151420E-BF6B-3E08-F5EF-8D91F312A6D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647" y="311734"/>
              <a:ext cx="1230566" cy="674051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BF40041-733D-ED63-4BAB-74D41C23D99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827" t="30157" r="4529" b="27153"/>
            <a:stretch/>
          </p:blipFill>
          <p:spPr>
            <a:xfrm>
              <a:off x="10760830" y="477407"/>
              <a:ext cx="801209" cy="3038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523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ap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5" name="Tytuł 1">
            <a:extLst>
              <a:ext uri="{FF2B5EF4-FFF2-40B4-BE49-F238E27FC236}">
                <a16:creationId xmlns:a16="http://schemas.microsoft.com/office/drawing/2014/main" id="{734E2013-0338-7F3B-ACE7-4ED8BF7F93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9CC35F2-563A-9B64-E341-E9F98970DD44}"/>
              </a:ext>
            </a:extLst>
          </p:cNvPr>
          <p:cNvGrpSpPr/>
          <p:nvPr userDrawn="1"/>
        </p:nvGrpSpPr>
        <p:grpSpPr>
          <a:xfrm>
            <a:off x="9613647" y="311734"/>
            <a:ext cx="1948392" cy="674051"/>
            <a:chOff x="9613647" y="311734"/>
            <a:chExt cx="1948392" cy="674051"/>
          </a:xfrm>
        </p:grpSpPr>
        <p:pic>
          <p:nvPicPr>
            <p:cNvPr id="4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0E2FB071-3461-7FD1-54F8-076A24D9A3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647" y="311734"/>
              <a:ext cx="1230566" cy="674051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105B10B-585E-DAED-A8E0-05580E47290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827" t="30157" r="4529" b="27153"/>
            <a:stretch/>
          </p:blipFill>
          <p:spPr>
            <a:xfrm>
              <a:off x="10760830" y="477407"/>
              <a:ext cx="801209" cy="3038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2634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p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AC34C07-0340-29B4-F888-AC4291E85BEE}"/>
              </a:ext>
            </a:extLst>
          </p:cNvPr>
          <p:cNvGrpSpPr/>
          <p:nvPr userDrawn="1"/>
        </p:nvGrpSpPr>
        <p:grpSpPr>
          <a:xfrm>
            <a:off x="9613647" y="311734"/>
            <a:ext cx="1948392" cy="674051"/>
            <a:chOff x="9613647" y="311734"/>
            <a:chExt cx="1948392" cy="674051"/>
          </a:xfrm>
        </p:grpSpPr>
        <p:pic>
          <p:nvPicPr>
            <p:cNvPr id="4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AA6F8F45-381E-079B-C33A-05BEA323977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647" y="311734"/>
              <a:ext cx="1230566" cy="674051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9296582-462F-2D19-65B0-378991815A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827" t="30157" r="4529" b="27153"/>
            <a:stretch/>
          </p:blipFill>
          <p:spPr>
            <a:xfrm>
              <a:off x="10760830" y="477407"/>
              <a:ext cx="801209" cy="3038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9093841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5" name="Tytuł 1">
            <a:extLst>
              <a:ext uri="{FF2B5EF4-FFF2-40B4-BE49-F238E27FC236}">
                <a16:creationId xmlns:a16="http://schemas.microsoft.com/office/drawing/2014/main" id="{734E2013-0338-7F3B-ACE7-4ED8BF7F93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B32506F-5A74-9FF7-B317-A8AE98EB4FC3}"/>
              </a:ext>
            </a:extLst>
          </p:cNvPr>
          <p:cNvGrpSpPr/>
          <p:nvPr userDrawn="1"/>
        </p:nvGrpSpPr>
        <p:grpSpPr>
          <a:xfrm>
            <a:off x="9613647" y="311734"/>
            <a:ext cx="1948392" cy="674051"/>
            <a:chOff x="9613647" y="311734"/>
            <a:chExt cx="1948392" cy="674051"/>
          </a:xfrm>
        </p:grpSpPr>
        <p:pic>
          <p:nvPicPr>
            <p:cNvPr id="4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644B3443-A310-F0D8-3A52-77F7CD102AB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647" y="311734"/>
              <a:ext cx="1230566" cy="674051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E0659A6B-778B-E87A-5FE4-76BAC4F229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827" t="30157" r="4529" b="27153"/>
            <a:stretch/>
          </p:blipFill>
          <p:spPr>
            <a:xfrm>
              <a:off x="10760830" y="477407"/>
              <a:ext cx="801209" cy="3038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6197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p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5" name="Tytuł 1">
            <a:extLst>
              <a:ext uri="{FF2B5EF4-FFF2-40B4-BE49-F238E27FC236}">
                <a16:creationId xmlns:a16="http://schemas.microsoft.com/office/drawing/2014/main" id="{734E2013-0338-7F3B-ACE7-4ED8BF7F93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DB9178B-8A89-0A14-ADFD-1074F5963224}"/>
              </a:ext>
            </a:extLst>
          </p:cNvPr>
          <p:cNvGrpSpPr/>
          <p:nvPr userDrawn="1"/>
        </p:nvGrpSpPr>
        <p:grpSpPr>
          <a:xfrm>
            <a:off x="9613647" y="311734"/>
            <a:ext cx="1948392" cy="674051"/>
            <a:chOff x="9613647" y="311734"/>
            <a:chExt cx="1948392" cy="674051"/>
          </a:xfrm>
        </p:grpSpPr>
        <p:pic>
          <p:nvPicPr>
            <p:cNvPr id="4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B02FBACA-270F-61EC-7674-9DDCDCEFB6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647" y="311734"/>
              <a:ext cx="1230566" cy="674051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23F32E4-6A83-115C-7ADD-04F886443ED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827" t="30157" r="4529" b="27153"/>
            <a:stretch/>
          </p:blipFill>
          <p:spPr>
            <a:xfrm>
              <a:off x="10760830" y="477407"/>
              <a:ext cx="801209" cy="3038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26190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619E9F3A-9366-DE75-7B06-15511A9F6301}"/>
              </a:ext>
            </a:extLst>
          </p:cNvPr>
          <p:cNvGrpSpPr/>
          <p:nvPr userDrawn="1"/>
        </p:nvGrpSpPr>
        <p:grpSpPr>
          <a:xfrm>
            <a:off x="9613647" y="311734"/>
            <a:ext cx="1948392" cy="674051"/>
            <a:chOff x="9613647" y="311734"/>
            <a:chExt cx="1948392" cy="674051"/>
          </a:xfrm>
        </p:grpSpPr>
        <p:pic>
          <p:nvPicPr>
            <p:cNvPr id="8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3E8C8131-1890-6241-4460-7EC4C76A73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647" y="311734"/>
              <a:ext cx="1230566" cy="674051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468B7EA-A2DC-B02D-F192-D2A6E3DD10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827" t="30157" r="4529" b="27153"/>
            <a:stretch/>
          </p:blipFill>
          <p:spPr>
            <a:xfrm>
              <a:off x="10760830" y="477407"/>
              <a:ext cx="801209" cy="3038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63726773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3422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Dwa elementy zawartości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6" name="Media Placeholder 2">
            <a:extLst>
              <a:ext uri="{FF2B5EF4-FFF2-40B4-BE49-F238E27FC236}">
                <a16:creationId xmlns:a16="http://schemas.microsoft.com/office/drawing/2014/main" id="{8420CF63-BCBF-DD47-94BE-F5E550B49AE6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2600960" y="1660071"/>
            <a:ext cx="6990080" cy="3931920"/>
          </a:xfrm>
        </p:spPr>
      </p:sp>
      <p:pic>
        <p:nvPicPr>
          <p:cNvPr id="2" name="Obraz 1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54CFD476-AD99-4BA6-8E9B-509B5FA299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906659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_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90227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7" name="Text Placeholder 60">
            <a:extLst>
              <a:ext uri="{FF2B5EF4-FFF2-40B4-BE49-F238E27FC236}">
                <a16:creationId xmlns:a16="http://schemas.microsoft.com/office/drawing/2014/main" id="{F533D588-1515-E547-96E5-043A829923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39792" y="3650061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8" name="Text Placeholder 60">
            <a:extLst>
              <a:ext uri="{FF2B5EF4-FFF2-40B4-BE49-F238E27FC236}">
                <a16:creationId xmlns:a16="http://schemas.microsoft.com/office/drawing/2014/main" id="{4865FDAA-D4A0-BC42-8267-B5190D5B069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52917" y="3635443"/>
            <a:ext cx="1875060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9" name="Text Placeholder 60">
            <a:extLst>
              <a:ext uri="{FF2B5EF4-FFF2-40B4-BE49-F238E27FC236}">
                <a16:creationId xmlns:a16="http://schemas.microsoft.com/office/drawing/2014/main" id="{71180699-D64D-B848-91D2-41B5FAF2B1C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00059" y="3642557"/>
            <a:ext cx="1881427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0" name="Text Placeholder 60">
            <a:extLst>
              <a:ext uri="{FF2B5EF4-FFF2-40B4-BE49-F238E27FC236}">
                <a16:creationId xmlns:a16="http://schemas.microsoft.com/office/drawing/2014/main" id="{2CC46ADD-3E85-7445-9ECB-4CEF56C89D4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260611" y="3637945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1" name="Text Placeholder 60">
            <a:extLst>
              <a:ext uri="{FF2B5EF4-FFF2-40B4-BE49-F238E27FC236}">
                <a16:creationId xmlns:a16="http://schemas.microsoft.com/office/drawing/2014/main" id="{B78575ED-8EC4-A94D-ACEF-B945C14B7EE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96861" y="3630441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160E82-699B-1C42-A277-29C0FB7F381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209031" y="2398038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23A3B784-A354-024B-BD60-48D83FC3DDA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68870" y="2399311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2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976A9BDD-C86A-7341-8A72-F1B2836D58F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91486" y="2398038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3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6611BAE4-7EC3-B94A-98B0-7E3079F5872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44177" y="2408949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4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6FF69C6-D619-FA4B-8368-EAD10E1DB11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366362" y="2408949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5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4D9182F9-6A85-CC40-87F5-1190C0ECE7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Process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FD1838F8-5100-47A1-9BE2-6D817650F7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329930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RO_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1318110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7" name="Tytuł 1">
            <a:extLst>
              <a:ext uri="{FF2B5EF4-FFF2-40B4-BE49-F238E27FC236}">
                <a16:creationId xmlns:a16="http://schemas.microsoft.com/office/drawing/2014/main" id="{929E80EC-ABB5-FC47-BF91-33C7057C3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2220840-5540-F14A-BC1E-444C1BD005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253927"/>
            <a:ext cx="8806338" cy="679767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BE213F-335F-374B-8577-A74A6B6B78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651982"/>
            <a:ext cx="12192000" cy="2730211"/>
          </a:xfrm>
          <a:prstGeom prst="rect">
            <a:avLst/>
          </a:prstGeom>
        </p:spPr>
      </p:pic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901FBC4E-6063-FC45-8F8D-AB80DEB785C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541569" y="1769149"/>
            <a:ext cx="2824828" cy="283242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>
            <a:outerShdw dist="127000" dir="2400000" sx="101000" sy="101000" algn="tl" rotWithShape="0">
              <a:schemeClr val="tx1"/>
            </a:outerShdw>
          </a:effectLst>
        </p:spPr>
        <p:txBody>
          <a:bodyPr lIns="0" rIns="0" anchor="ctr">
            <a:normAutofit/>
          </a:bodyPr>
          <a:lstStyle>
            <a:lvl1pPr marL="17100" indent="0" algn="ctr">
              <a:buNone/>
              <a:defRPr sz="800"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1DF16560-BC8E-A145-BF9B-B40A5F68F3A8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097867" y="3665790"/>
            <a:ext cx="903780" cy="906210"/>
          </a:xfrm>
          <a:prstGeom prst="ellipse">
            <a:avLst/>
          </a:prstGeom>
          <a:solidFill>
            <a:schemeClr val="bg1"/>
          </a:solidFill>
          <a:effectLst>
            <a:outerShdw blurRad="179075" dist="38100" dir="2700000" algn="tl" rotWithShape="0">
              <a:prstClr val="black">
                <a:alpha val="25000"/>
              </a:prstClr>
            </a:outerShdw>
          </a:effectLst>
        </p:spPr>
        <p:txBody>
          <a:bodyPr lIns="0" rIns="0" anchor="ctr">
            <a:normAutofit/>
          </a:bodyPr>
          <a:lstStyle>
            <a:lvl1pPr marL="17100" indent="0" algn="ctr">
              <a:buNone/>
              <a:defRPr sz="800"/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502F427-20CA-814F-AD64-D4106772D34A}"/>
              </a:ext>
            </a:extLst>
          </p:cNvPr>
          <p:cNvGrpSpPr/>
          <p:nvPr userDrawn="1"/>
        </p:nvGrpSpPr>
        <p:grpSpPr>
          <a:xfrm>
            <a:off x="9613647" y="311734"/>
            <a:ext cx="1924081" cy="674051"/>
            <a:chOff x="9613647" y="311734"/>
            <a:chExt cx="1924081" cy="674051"/>
          </a:xfrm>
        </p:grpSpPr>
        <p:pic>
          <p:nvPicPr>
            <p:cNvPr id="12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5C313D6C-1DC4-1647-9682-FD6B364AC0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647" y="311734"/>
              <a:ext cx="1230566" cy="674051"/>
            </a:xfrm>
            <a:prstGeom prst="rect">
              <a:avLst/>
            </a:prstGeom>
          </p:spPr>
        </p:pic>
        <p:pic>
          <p:nvPicPr>
            <p:cNvPr id="13" name="Grafika 11">
              <a:extLst>
                <a:ext uri="{FF2B5EF4-FFF2-40B4-BE49-F238E27FC236}">
                  <a16:creationId xmlns:a16="http://schemas.microsoft.com/office/drawing/2014/main" id="{9303ECB0-A893-A64B-A48F-43967DDFB7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768325" y="516268"/>
              <a:ext cx="769403" cy="2649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47434022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O_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pic>
        <p:nvPicPr>
          <p:cNvPr id="2" name="Obraz 1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D0710F1B-4FF1-4EA4-89F7-ECFC74939E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  <p:sp>
        <p:nvSpPr>
          <p:cNvPr id="4" name="Tytuł 1">
            <a:extLst>
              <a:ext uri="{FF2B5EF4-FFF2-40B4-BE49-F238E27FC236}">
                <a16:creationId xmlns:a16="http://schemas.microsoft.com/office/drawing/2014/main" id="{84E3662E-028D-2B46-A24D-9D675B2C07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D11E547-AE72-0D40-8BDD-2839E49D6FF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253927"/>
            <a:ext cx="8806338" cy="679767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55198934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IDEO_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4" name="Tytuł 1">
            <a:extLst>
              <a:ext uri="{FF2B5EF4-FFF2-40B4-BE49-F238E27FC236}">
                <a16:creationId xmlns:a16="http://schemas.microsoft.com/office/drawing/2014/main" id="{84E3662E-028D-2B46-A24D-9D675B2C07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D11E547-AE72-0D40-8BDD-2839E49D6FF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253927"/>
            <a:ext cx="8806338" cy="679767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7122186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ec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3FAEAC0-0E6D-444A-95B5-0A3C93C47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9434" y="2970926"/>
            <a:ext cx="6697683" cy="1724480"/>
          </a:xfrm>
        </p:spPr>
        <p:txBody>
          <a:bodyPr anchor="t">
            <a:normAutofit/>
          </a:bodyPr>
          <a:lstStyle>
            <a:lvl1pPr>
              <a:defRPr sz="5500" b="1">
                <a:solidFill>
                  <a:schemeClr val="bg1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3072B88E-60B1-4951-ACB4-62501281AA6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149434" y="5018314"/>
            <a:ext cx="9198015" cy="996592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err="1"/>
              <a:t>Sub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7" name="Symbol zastępczy numeru slajdu 5">
            <a:extLst>
              <a:ext uri="{FF2B5EF4-FFF2-40B4-BE49-F238E27FC236}">
                <a16:creationId xmlns:a16="http://schemas.microsoft.com/office/drawing/2014/main" id="{2BFFDC2F-69F9-4006-A2A6-11998BCE2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C37AD4BE-6D4A-446E-9235-69971E43B1B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74713" y="2970926"/>
            <a:ext cx="1274721" cy="852930"/>
          </a:xfrm>
        </p:spPr>
        <p:txBody>
          <a:bodyPr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55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1.</a:t>
            </a:r>
          </a:p>
        </p:txBody>
      </p:sp>
      <p:pic>
        <p:nvPicPr>
          <p:cNvPr id="4" name="Obraz 3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184D79CA-607E-444B-93DC-91C7C53957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284" y="344389"/>
            <a:ext cx="1820897" cy="997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495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BAE40"/>
          </p15:clr>
        </p15:guide>
        <p15:guide id="2" pos="7129">
          <p15:clr>
            <a:srgbClr val="FBAE40"/>
          </p15:clr>
        </p15:guide>
      </p15:sldGuideLst>
    </p:ext>
  </p:extLs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m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ytuł 1">
            <a:extLst>
              <a:ext uri="{FF2B5EF4-FFF2-40B4-BE49-F238E27FC236}">
                <a16:creationId xmlns:a16="http://schemas.microsoft.com/office/drawing/2014/main" id="{C7C5C807-78F5-3041-998A-E4F74E4A8D44}"/>
              </a:ext>
            </a:extLst>
          </p:cNvPr>
          <p:cNvSpPr txBox="1">
            <a:spLocks/>
          </p:cNvSpPr>
          <p:nvPr userDrawn="1"/>
        </p:nvSpPr>
        <p:spPr>
          <a:xfrm>
            <a:off x="846359" y="1474091"/>
            <a:ext cx="8806338" cy="43780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0" name="Tytuł 1">
            <a:extLst>
              <a:ext uri="{FF2B5EF4-FFF2-40B4-BE49-F238E27FC236}">
                <a16:creationId xmlns:a16="http://schemas.microsoft.com/office/drawing/2014/main" id="{2643A83C-AAA4-4441-87C4-1A950A2C9E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7" y="1474091"/>
            <a:ext cx="2886699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D1E7FBC-F14A-2948-AEA4-48D7FA9FD82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46361" y="528300"/>
            <a:ext cx="2886699" cy="10143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lim</a:t>
            </a:r>
            <a:endParaRPr lang="pl-PL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1517ED6-FE85-7A49-89E7-07C46460F18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84760" y="1280598"/>
            <a:ext cx="4333662" cy="4739200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imperdiet</a:t>
            </a:r>
            <a:r>
              <a:rPr lang="pl-PL"/>
              <a:t> </a:t>
            </a:r>
            <a:r>
              <a:rPr lang="pl-PL" err="1"/>
              <a:t>aliquet</a:t>
            </a:r>
            <a:r>
              <a:rPr lang="pl-PL"/>
              <a:t>. In </a:t>
            </a:r>
            <a:r>
              <a:rPr lang="pl-PL" err="1"/>
              <a:t>sodales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ultricies</a:t>
            </a:r>
            <a:r>
              <a:rPr lang="pl-PL"/>
              <a:t>.</a:t>
            </a:r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C0BBD46A-EAEB-4280-9F6D-049BBD8A95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230685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_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9" name="Tytuł 1">
            <a:extLst>
              <a:ext uri="{FF2B5EF4-FFF2-40B4-BE49-F238E27FC236}">
                <a16:creationId xmlns:a16="http://schemas.microsoft.com/office/drawing/2014/main" id="{E183F67A-02E0-4469-AE89-66E65C6B1F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8754" y="528300"/>
            <a:ext cx="4098471" cy="617802"/>
          </a:xfrm>
        </p:spPr>
        <p:txBody>
          <a:bodyPr anchor="b">
            <a:noAutofit/>
          </a:bodyPr>
          <a:lstStyle>
            <a:lvl1pPr>
              <a:defRPr sz="3000" b="1" spc="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Subtitle</a:t>
            </a:r>
            <a:endParaRPr lang="pl-PL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B9C214D-75C5-A14C-8EC9-F837F8D035C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448300" y="1326100"/>
            <a:ext cx="4098471" cy="1922902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49EF738-0323-0848-9CF5-BA746FE0982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3125" y="561975"/>
            <a:ext cx="4035425" cy="1668463"/>
          </a:xfrm>
        </p:spPr>
        <p:txBody>
          <a:bodyPr>
            <a:normAutofit/>
          </a:bodyPr>
          <a:lstStyle>
            <a:lvl1pPr marL="0" indent="0">
              <a:lnSpc>
                <a:spcPts val="4300"/>
              </a:lnSpc>
              <a:buNone/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Bullet</a:t>
            </a:r>
            <a:br>
              <a:rPr lang="en-US"/>
            </a:br>
            <a:r>
              <a:rPr lang="en-US"/>
              <a:t>points</a:t>
            </a:r>
            <a:endParaRPr lang="en-VN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EA85DD0-D7B6-E54F-9F47-578AB4C9DD9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448300" y="3429000"/>
            <a:ext cx="4098925" cy="2590800"/>
          </a:xfrm>
        </p:spPr>
        <p:txBody>
          <a:bodyPr/>
          <a:lstStyle/>
          <a:p>
            <a:pPr lvl="0"/>
            <a:r>
              <a:rPr lang="en-US"/>
              <a:t>First level of bullet poi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VN"/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9DB470B4-EDB0-43D8-A5F8-E671FAB773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144417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_half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2" name="Tytuł 1">
            <a:extLst>
              <a:ext uri="{FF2B5EF4-FFF2-40B4-BE49-F238E27FC236}">
                <a16:creationId xmlns:a16="http://schemas.microsoft.com/office/drawing/2014/main" id="{B7F482A2-531E-BB4D-BD3D-FFAF891C6D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249" y="2415141"/>
            <a:ext cx="4682421" cy="43177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985AE5C-CEED-704C-9F59-D34509271E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249" y="1467165"/>
            <a:ext cx="4682421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A224EE3-8E13-1445-8C1E-7D484F612A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249" y="4557650"/>
            <a:ext cx="4682421" cy="121515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6696BEB-0B93-7541-893D-B1E11196EDF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3249" y="3386917"/>
            <a:ext cx="4682421" cy="1015246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172632EE-5F54-4FEC-A8D0-15A69CBD03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747985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_half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418F9703-983A-8140-84AD-55F2F0D1F67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20907" y="1467165"/>
            <a:ext cx="4682421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45EE0EF7-BB07-FF46-8BBB-4ACBB7124A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20907" y="4557650"/>
            <a:ext cx="4682421" cy="121515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EBA941A-E641-B444-9EDE-DF471733142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620907" y="3386917"/>
            <a:ext cx="4682421" cy="1015246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27" name="Tytuł 1">
            <a:extLst>
              <a:ext uri="{FF2B5EF4-FFF2-40B4-BE49-F238E27FC236}">
                <a16:creationId xmlns:a16="http://schemas.microsoft.com/office/drawing/2014/main" id="{BEB4EBF9-CC08-6F40-A449-CA3F226A9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0905" y="2401227"/>
            <a:ext cx="4682423" cy="440875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99E1AD6D-2107-4059-A5A3-2E6FC89D16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106932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_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rostokąt 3">
            <a:extLst>
              <a:ext uri="{FF2B5EF4-FFF2-40B4-BE49-F238E27FC236}">
                <a16:creationId xmlns:a16="http://schemas.microsoft.com/office/drawing/2014/main" id="{3E29B53B-339F-4180-8021-D6DDFB296C8C}"/>
              </a:ext>
            </a:extLst>
          </p:cNvPr>
          <p:cNvSpPr/>
          <p:nvPr userDrawn="1"/>
        </p:nvSpPr>
        <p:spPr>
          <a:xfrm>
            <a:off x="-1" y="4434114"/>
            <a:ext cx="3946915" cy="24238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8" name="Tytuł 1">
            <a:extLst>
              <a:ext uri="{FF2B5EF4-FFF2-40B4-BE49-F238E27FC236}">
                <a16:creationId xmlns:a16="http://schemas.microsoft.com/office/drawing/2014/main" id="{F6BC0242-D8EE-2C4F-9F92-63D6E60774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4120" y="2408014"/>
            <a:ext cx="6839413" cy="440875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7778E96-5404-AD47-83A5-021270E9AE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74121" y="1460598"/>
            <a:ext cx="6839413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780203A-BFFA-3048-AA87-4D52350831E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74120" y="3382851"/>
            <a:ext cx="6839413" cy="263694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imperdiet</a:t>
            </a:r>
            <a:r>
              <a:rPr lang="pl-PL"/>
              <a:t> </a:t>
            </a:r>
            <a:r>
              <a:rPr lang="pl-PL" err="1"/>
              <a:t>aliquet</a:t>
            </a:r>
            <a:r>
              <a:rPr lang="pl-PL"/>
              <a:t>. In </a:t>
            </a:r>
            <a:r>
              <a:rPr lang="pl-PL" err="1"/>
              <a:t>sodales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ultricies</a:t>
            </a:r>
            <a:r>
              <a:rPr lang="pl-PL"/>
              <a:t>.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CAC3FFF-CE94-C344-9FCB-4F85D73E047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5801" y="4820501"/>
            <a:ext cx="3223583" cy="119929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628E5E2F-2132-475A-B102-3EF9E365F2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1716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7" name="Text Placeholder 60">
            <a:extLst>
              <a:ext uri="{FF2B5EF4-FFF2-40B4-BE49-F238E27FC236}">
                <a16:creationId xmlns:a16="http://schemas.microsoft.com/office/drawing/2014/main" id="{F533D588-1515-E547-96E5-043A829923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39792" y="3650061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8" name="Text Placeholder 60">
            <a:extLst>
              <a:ext uri="{FF2B5EF4-FFF2-40B4-BE49-F238E27FC236}">
                <a16:creationId xmlns:a16="http://schemas.microsoft.com/office/drawing/2014/main" id="{4865FDAA-D4A0-BC42-8267-B5190D5B069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52917" y="3635443"/>
            <a:ext cx="1875060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9" name="Text Placeholder 60">
            <a:extLst>
              <a:ext uri="{FF2B5EF4-FFF2-40B4-BE49-F238E27FC236}">
                <a16:creationId xmlns:a16="http://schemas.microsoft.com/office/drawing/2014/main" id="{71180699-D64D-B848-91D2-41B5FAF2B1C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00059" y="3642557"/>
            <a:ext cx="1881427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0" name="Text Placeholder 60">
            <a:extLst>
              <a:ext uri="{FF2B5EF4-FFF2-40B4-BE49-F238E27FC236}">
                <a16:creationId xmlns:a16="http://schemas.microsoft.com/office/drawing/2014/main" id="{2CC46ADD-3E85-7445-9ECB-4CEF56C89D4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260611" y="3637945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1" name="Text Placeholder 60">
            <a:extLst>
              <a:ext uri="{FF2B5EF4-FFF2-40B4-BE49-F238E27FC236}">
                <a16:creationId xmlns:a16="http://schemas.microsoft.com/office/drawing/2014/main" id="{B78575ED-8EC4-A94D-ACEF-B945C14B7EE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96861" y="3630441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graphicFrame>
        <p:nvGraphicFramePr>
          <p:cNvPr id="17" name="Diagram 16">
            <a:extLst>
              <a:ext uri="{FF2B5EF4-FFF2-40B4-BE49-F238E27FC236}">
                <a16:creationId xmlns:a16="http://schemas.microsoft.com/office/drawing/2014/main" id="{DFC05E75-E2B2-8446-8D26-025F7CBA2B16}"/>
              </a:ext>
            </a:extLst>
          </p:cNvPr>
          <p:cNvGraphicFramePr/>
          <p:nvPr userDrawn="1"/>
        </p:nvGraphicFramePr>
        <p:xfrm>
          <a:off x="868137" y="2328182"/>
          <a:ext cx="10477501" cy="7565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160E82-699B-1C42-A277-29C0FB7F381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209031" y="2398038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23A3B784-A354-024B-BD60-48D83FC3DDA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68870" y="2399311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2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976A9BDD-C86A-7341-8A72-F1B2836D58F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91486" y="2398038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3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6611BAE4-7EC3-B94A-98B0-7E3079F5872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44177" y="2408949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4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6FF69C6-D619-FA4B-8368-EAD10E1DB11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366362" y="2408949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5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4D9182F9-6A85-CC40-87F5-1190C0ECE7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Process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FD1838F8-5100-47A1-9BE2-6D817650F78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04278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_photo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rostokąt 3">
            <a:extLst>
              <a:ext uri="{FF2B5EF4-FFF2-40B4-BE49-F238E27FC236}">
                <a16:creationId xmlns:a16="http://schemas.microsoft.com/office/drawing/2014/main" id="{05B19B1F-1315-8540-80FF-321E6348E1FA}"/>
              </a:ext>
            </a:extLst>
          </p:cNvPr>
          <p:cNvSpPr/>
          <p:nvPr userDrawn="1"/>
        </p:nvSpPr>
        <p:spPr>
          <a:xfrm>
            <a:off x="8245085" y="4434114"/>
            <a:ext cx="3946915" cy="24238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pl-PL"/>
          </a:p>
        </p:txBody>
      </p:sp>
      <p:sp>
        <p:nvSpPr>
          <p:cNvPr id="18" name="Tytuł 1">
            <a:extLst>
              <a:ext uri="{FF2B5EF4-FFF2-40B4-BE49-F238E27FC236}">
                <a16:creationId xmlns:a16="http://schemas.microsoft.com/office/drawing/2014/main" id="{032000E8-4B0E-B340-97E3-182CE36946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576" y="2412279"/>
            <a:ext cx="6812196" cy="440875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24" name="Symbol zastępczy numeru slajdu 5">
            <a:extLst>
              <a:ext uri="{FF2B5EF4-FFF2-40B4-BE49-F238E27FC236}">
                <a16:creationId xmlns:a16="http://schemas.microsoft.com/office/drawing/2014/main" id="{C77FE608-EFD4-7B4E-AE82-97D11A4B8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CE74BD8B-E300-7247-9BC0-626BF672A5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576" y="1466065"/>
            <a:ext cx="6812196" cy="1008876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2E26EB-9790-974E-BBFC-F58084C7590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576" y="3290080"/>
            <a:ext cx="6812196" cy="272971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imperdiet</a:t>
            </a:r>
            <a:r>
              <a:rPr lang="pl-PL"/>
              <a:t> </a:t>
            </a:r>
            <a:r>
              <a:rPr lang="pl-PL" err="1"/>
              <a:t>aliquet</a:t>
            </a:r>
            <a:r>
              <a:rPr lang="pl-PL"/>
              <a:t>. In </a:t>
            </a:r>
            <a:r>
              <a:rPr lang="pl-PL" err="1"/>
              <a:t>sodales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ultricies</a:t>
            </a:r>
            <a:r>
              <a:rPr lang="pl-PL"/>
              <a:t>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4416197-AE21-ED44-A548-A147D4165F2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06750" y="4820501"/>
            <a:ext cx="3223583" cy="119929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A3684818-52BE-4442-95DD-E42CA92F18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694488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36E9D73-088F-8D41-85B9-FA37DA5341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576" y="3290080"/>
            <a:ext cx="5692071" cy="245971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imperdiet</a:t>
            </a:r>
            <a:r>
              <a:rPr lang="pl-PL"/>
              <a:t> </a:t>
            </a:r>
            <a:r>
              <a:rPr lang="pl-PL" err="1"/>
              <a:t>aliquet</a:t>
            </a:r>
            <a:r>
              <a:rPr lang="pl-PL"/>
              <a:t>.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2A582AC1-4FEA-934C-A10A-133F5DFA0FB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72849" y="1455708"/>
            <a:ext cx="3023471" cy="245939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i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None/>
            </a:pPr>
            <a:r>
              <a:rPr lang="it-IT" err="1"/>
              <a:t>Suspendisse</a:t>
            </a:r>
            <a:r>
              <a:rPr lang="it-IT"/>
              <a:t> </a:t>
            </a:r>
            <a:r>
              <a:rPr lang="it-IT" err="1"/>
              <a:t>nec</a:t>
            </a:r>
            <a:r>
              <a:rPr lang="it-IT"/>
              <a:t> </a:t>
            </a:r>
            <a:r>
              <a:rPr lang="it-IT" err="1"/>
              <a:t>risus</a:t>
            </a:r>
            <a:r>
              <a:rPr lang="it-IT"/>
              <a:t> et </a:t>
            </a:r>
            <a:r>
              <a:rPr lang="it-IT" err="1"/>
              <a:t>risus</a:t>
            </a:r>
            <a:r>
              <a:rPr lang="it-IT"/>
              <a:t> gravida </a:t>
            </a:r>
            <a:r>
              <a:rPr lang="it-IT" err="1"/>
              <a:t>condimentum</a:t>
            </a:r>
            <a:r>
              <a:rPr lang="it-IT"/>
              <a:t> non </a:t>
            </a:r>
            <a:r>
              <a:rPr lang="it-IT" err="1"/>
              <a:t>at</a:t>
            </a:r>
            <a:r>
              <a:rPr lang="it-IT"/>
              <a:t> </a:t>
            </a:r>
            <a:r>
              <a:rPr lang="it-IT" err="1"/>
              <a:t>nunc</a:t>
            </a:r>
            <a:r>
              <a:rPr lang="it-IT"/>
              <a:t>. Nulla in libero odio.</a:t>
            </a:r>
            <a:r>
              <a:rPr lang="pl-PL"/>
              <a:t>”</a:t>
            </a:r>
            <a:r>
              <a:rPr lang="it-IT"/>
              <a:t> </a:t>
            </a:r>
            <a:endParaRPr lang="pl-PL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2F11A20-630A-B444-AF39-9D1727C37A2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632846" y="1403017"/>
            <a:ext cx="831145" cy="2459397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5000" b="1" i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None/>
            </a:pPr>
            <a:r>
              <a:rPr lang="en-US"/>
              <a:t>“</a:t>
            </a:r>
            <a:endParaRPr lang="pl-PL"/>
          </a:p>
        </p:txBody>
      </p:sp>
      <p:sp>
        <p:nvSpPr>
          <p:cNvPr id="15" name="Tytuł 1">
            <a:extLst>
              <a:ext uri="{FF2B5EF4-FFF2-40B4-BE49-F238E27FC236}">
                <a16:creationId xmlns:a16="http://schemas.microsoft.com/office/drawing/2014/main" id="{3C0D1142-5CFF-164F-99C0-4141EDE3D7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576" y="2412279"/>
            <a:ext cx="5692071" cy="440875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729BE3BF-51A0-6E43-BD3F-0BED08EF0F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576" y="1466065"/>
            <a:ext cx="5692071" cy="1008876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AFF5C035-7AFC-445F-BC6A-C2D82E3A31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502307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_photo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1314902-A424-CA4F-82B7-7D319E75ECF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3574" y="3028075"/>
            <a:ext cx="2628150" cy="2973032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8D154230-6519-5B49-9643-AEF3BFBC60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250" y="1467165"/>
            <a:ext cx="2628150" cy="1389628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Title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90D9A7AD-6FC5-436B-A9D3-108F954F41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408491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_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ymbol zastępczy numeru slajdu 5">
            <a:extLst>
              <a:ext uri="{FF2B5EF4-FFF2-40B4-BE49-F238E27FC236}">
                <a16:creationId xmlns:a16="http://schemas.microsoft.com/office/drawing/2014/main" id="{4F9AFD66-8230-EA46-9578-E8517B113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504A461-4EF5-034A-AFB8-E45B8CCB018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90272" y="3036791"/>
            <a:ext cx="2628150" cy="296431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66FD4FB-DDB4-F541-A9F6-FBD6DC3F476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90273" y="1467165"/>
            <a:ext cx="2628149" cy="1389628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Title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0EC5F6BF-32CB-4C0E-A3F3-58F653F0F1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837348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0" name="Tytuł 1">
            <a:extLst>
              <a:ext uri="{FF2B5EF4-FFF2-40B4-BE49-F238E27FC236}">
                <a16:creationId xmlns:a16="http://schemas.microsoft.com/office/drawing/2014/main" id="{BEA94BF6-C721-49E5-8669-A9C293F51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428" y="1470931"/>
            <a:ext cx="4684939" cy="829418"/>
          </a:xfrm>
        </p:spPr>
        <p:txBody>
          <a:bodyPr anchor="b">
            <a:normAutofit/>
          </a:bodyPr>
          <a:lstStyle>
            <a:lvl1pPr>
              <a:defRPr sz="3000" b="1" spc="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</a:t>
            </a:r>
            <a:r>
              <a:rPr lang="pl-PL" err="1"/>
              <a:t>paragraph</a:t>
            </a:r>
            <a:endParaRPr lang="pl-PL"/>
          </a:p>
        </p:txBody>
      </p:sp>
      <p:sp>
        <p:nvSpPr>
          <p:cNvPr id="18" name="Text Placeholder 60">
            <a:extLst>
              <a:ext uri="{FF2B5EF4-FFF2-40B4-BE49-F238E27FC236}">
                <a16:creationId xmlns:a16="http://schemas.microsoft.com/office/drawing/2014/main" id="{55EC8E82-A0B8-1346-B16A-C4D81298EB7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67428" y="4283359"/>
            <a:ext cx="4688572" cy="1697376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21" name="Text Placeholder 60">
            <a:extLst>
              <a:ext uri="{FF2B5EF4-FFF2-40B4-BE49-F238E27FC236}">
                <a16:creationId xmlns:a16="http://schemas.microsoft.com/office/drawing/2014/main" id="{43D40684-6F32-2E41-B8D2-F548AF210F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67428" y="2545890"/>
            <a:ext cx="4684940" cy="1547139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F524CA45-116A-4FC8-BCC8-61EEEE1646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299683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ytuł 1">
            <a:extLst>
              <a:ext uri="{FF2B5EF4-FFF2-40B4-BE49-F238E27FC236}">
                <a16:creationId xmlns:a16="http://schemas.microsoft.com/office/drawing/2014/main" id="{6766530A-D4D5-C947-85CC-5E3A5C954B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6178" y="1470931"/>
            <a:ext cx="4692204" cy="829418"/>
          </a:xfrm>
        </p:spPr>
        <p:txBody>
          <a:bodyPr anchor="b">
            <a:normAutofit/>
          </a:bodyPr>
          <a:lstStyle>
            <a:lvl1pPr>
              <a:defRPr sz="3000" b="1" spc="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</a:t>
            </a:r>
            <a:r>
              <a:rPr lang="pl-PL" err="1"/>
              <a:t>paragraph</a:t>
            </a:r>
            <a:endParaRPr lang="pl-PL"/>
          </a:p>
        </p:txBody>
      </p:sp>
      <p:sp>
        <p:nvSpPr>
          <p:cNvPr id="12" name="Text Placeholder 60">
            <a:extLst>
              <a:ext uri="{FF2B5EF4-FFF2-40B4-BE49-F238E27FC236}">
                <a16:creationId xmlns:a16="http://schemas.microsoft.com/office/drawing/2014/main" id="{BEACCA14-3DF5-8246-84FC-44E498EF399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633442" y="4283358"/>
            <a:ext cx="4684940" cy="1697375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5" name="Text Placeholder 60">
            <a:extLst>
              <a:ext uri="{FF2B5EF4-FFF2-40B4-BE49-F238E27FC236}">
                <a16:creationId xmlns:a16="http://schemas.microsoft.com/office/drawing/2014/main" id="{A85EFFF3-C3D2-A744-976F-EF9324FD8C4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629810" y="2545889"/>
            <a:ext cx="4684940" cy="1547139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49776CBF-0E36-4DA0-BF40-3309DB47D1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700305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ipes_green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577D3F5B-30C0-8347-BB91-74311F200E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-4" y="4807504"/>
            <a:ext cx="6994355" cy="100266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VN"/>
              <a:t> 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E3FB6C64-106C-CF47-AE35-AF5DFCFEF35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-4" y="3575519"/>
            <a:ext cx="6994355" cy="100266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VN"/>
              <a:t>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600E447-2B35-F143-A598-31157DA1326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0" y="2347984"/>
            <a:ext cx="6994355" cy="100266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VN"/>
              <a:t> </a:t>
            </a:r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7" name="Tytuł 1">
            <a:extLst>
              <a:ext uri="{FF2B5EF4-FFF2-40B4-BE49-F238E27FC236}">
                <a16:creationId xmlns:a16="http://schemas.microsoft.com/office/drawing/2014/main" id="{F28C8F42-AD4C-C54F-8161-D0D6DEB164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0" y="1342966"/>
            <a:ext cx="4716942" cy="712900"/>
          </a:xfrm>
        </p:spPr>
        <p:txBody>
          <a:bodyPr anchor="b">
            <a:normAutofit/>
          </a:bodyPr>
          <a:lstStyle>
            <a:lvl1pPr>
              <a:defRPr sz="3000" b="1" spc="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</a:t>
            </a:r>
            <a:r>
              <a:rPr lang="pl-PL" err="1"/>
              <a:t>paragraph</a:t>
            </a:r>
            <a:endParaRPr lang="pl-PL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F6560EC-AA04-BE4D-A40F-A1DB489AC4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95345" y="2508417"/>
            <a:ext cx="579892" cy="567285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9" name="Picture Placeholder 5">
            <a:extLst>
              <a:ext uri="{FF2B5EF4-FFF2-40B4-BE49-F238E27FC236}">
                <a16:creationId xmlns:a16="http://schemas.microsoft.com/office/drawing/2014/main" id="{8BE5CB42-C968-8C42-AE01-15CBF9806CF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95345" y="3796949"/>
            <a:ext cx="579892" cy="567285"/>
          </a:xfr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D6C14DA-307E-D64B-9347-9D7DB1D07AE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70819" y="3684381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7738FA18-177C-A54E-8923-24A61CCF5F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670819" y="4921446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DF4272C-ECE7-1845-AAB1-9CD4240F15A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70819" y="2456846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2C3F7D50-94BC-F74E-B66E-C737B24F24D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7100" y="5024094"/>
            <a:ext cx="756379" cy="567285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C317104C-3940-47E9-B463-BCBC13CD473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89508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ripes_green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A4E6CDD7-E2B3-0D40-AA32-D9366218B37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97644" y="2347338"/>
            <a:ext cx="6994358" cy="1011710"/>
          </a:xfrm>
          <a:solidFill>
            <a:schemeClr val="bg1"/>
          </a:solidFill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1000"/>
              </a:spcBef>
              <a:buFont typeface="System Font Regular"/>
              <a:buNone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indent="0">
              <a:buNone/>
            </a:pPr>
            <a:r>
              <a:rPr lang="en-VN"/>
              <a:t>  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0EB6AF7A-5344-4049-B287-59B87E011FC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97642" y="3581260"/>
            <a:ext cx="6994359" cy="1011710"/>
          </a:xfrm>
          <a:solidFill>
            <a:schemeClr val="bg1"/>
          </a:solidFill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1000"/>
              </a:spcBef>
              <a:buFont typeface="System Font Regular"/>
              <a:buNone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VN"/>
              <a:t>  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9DF55C36-FE57-3648-B310-BD3559A715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97642" y="4802135"/>
            <a:ext cx="6994358" cy="1011710"/>
          </a:xfrm>
          <a:solidFill>
            <a:schemeClr val="bg1"/>
          </a:solidFill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1000"/>
              </a:spcBef>
              <a:buFont typeface="System Font Regular"/>
              <a:buNone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VN"/>
              <a:t>  </a:t>
            </a:r>
          </a:p>
        </p:txBody>
      </p:sp>
      <p:sp>
        <p:nvSpPr>
          <p:cNvPr id="51" name="Picture Placeholder 5">
            <a:extLst>
              <a:ext uri="{FF2B5EF4-FFF2-40B4-BE49-F238E27FC236}">
                <a16:creationId xmlns:a16="http://schemas.microsoft.com/office/drawing/2014/main" id="{1B6D52F7-F4D8-8540-A2A7-468C40471A5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463990" y="5024347"/>
            <a:ext cx="756380" cy="567285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67" name="Picture Placeholder 5">
            <a:extLst>
              <a:ext uri="{FF2B5EF4-FFF2-40B4-BE49-F238E27FC236}">
                <a16:creationId xmlns:a16="http://schemas.microsoft.com/office/drawing/2014/main" id="{2ACC7F8B-0883-F84A-8471-9CC95C57EB4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552234" y="2576338"/>
            <a:ext cx="579892" cy="567285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AEF35F9-0DC5-BE4B-96F3-67A5BE706D8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572299" y="2462244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>
                <a:solidFill>
                  <a:schemeClr val="tx2"/>
                </a:solidFill>
              </a:rPr>
              <a:t>risus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gravida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condimentum</a:t>
            </a:r>
            <a:r>
              <a:rPr lang="pl-PL">
                <a:solidFill>
                  <a:schemeClr val="tx2"/>
                </a:solidFill>
              </a:rPr>
              <a:t> non </a:t>
            </a:r>
            <a:r>
              <a:rPr lang="pl-PL" err="1">
                <a:solidFill>
                  <a:schemeClr val="tx2"/>
                </a:solidFill>
              </a:rPr>
              <a:t>at</a:t>
            </a:r>
            <a:r>
              <a:rPr lang="pl-PL">
                <a:solidFill>
                  <a:schemeClr val="tx2"/>
                </a:solidFill>
              </a:rPr>
              <a:t> nunc.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BC4AC382-608D-C146-ADFD-F4CDB1BB678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552234" y="3803471"/>
            <a:ext cx="579892" cy="56728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10261F7-52F2-A140-8A58-8E840D865C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72299" y="3694643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>
                <a:solidFill>
                  <a:schemeClr val="tx2"/>
                </a:solidFill>
              </a:rPr>
              <a:t>risus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gravida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condimentum</a:t>
            </a:r>
            <a:r>
              <a:rPr lang="pl-PL">
                <a:solidFill>
                  <a:schemeClr val="tx2"/>
                </a:solidFill>
              </a:rPr>
              <a:t> non </a:t>
            </a:r>
            <a:r>
              <a:rPr lang="pl-PL" err="1">
                <a:solidFill>
                  <a:schemeClr val="tx2"/>
                </a:solidFill>
              </a:rPr>
              <a:t>at</a:t>
            </a:r>
            <a:r>
              <a:rPr lang="pl-PL">
                <a:solidFill>
                  <a:schemeClr val="tx2"/>
                </a:solidFill>
              </a:rPr>
              <a:t> nunc.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14F417C-24E8-3246-8919-7383A6EBCCD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72299" y="4914132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>
                <a:solidFill>
                  <a:schemeClr val="tx2"/>
                </a:solidFill>
              </a:rPr>
              <a:t>risus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gravida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condimentum</a:t>
            </a:r>
            <a:r>
              <a:rPr lang="pl-PL">
                <a:solidFill>
                  <a:schemeClr val="tx2"/>
                </a:solidFill>
              </a:rPr>
              <a:t> non </a:t>
            </a:r>
            <a:r>
              <a:rPr lang="pl-PL" err="1">
                <a:solidFill>
                  <a:schemeClr val="tx2"/>
                </a:solidFill>
              </a:rPr>
              <a:t>at</a:t>
            </a:r>
            <a:r>
              <a:rPr lang="pl-PL">
                <a:solidFill>
                  <a:schemeClr val="tx2"/>
                </a:solidFill>
              </a:rPr>
              <a:t> nunc.</a:t>
            </a:r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31374420-E582-4C80-AE43-4E5EB4C06D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896201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meline_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ymbol zastępczy numeru slajdu 5">
            <a:extLst>
              <a:ext uri="{FF2B5EF4-FFF2-40B4-BE49-F238E27FC236}">
                <a16:creationId xmlns:a16="http://schemas.microsoft.com/office/drawing/2014/main" id="{D526C90E-13B5-4D95-8BE9-03ED11780FC9}"/>
              </a:ext>
            </a:extLst>
          </p:cNvPr>
          <p:cNvSpPr>
            <a:spLocks noGrp="1"/>
          </p:cNvSpPr>
          <p:nvPr userDrawn="1">
            <p:ph type="sldNum" sz="quarter" idx="19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31" name="Text Placeholder 78">
            <a:extLst>
              <a:ext uri="{FF2B5EF4-FFF2-40B4-BE49-F238E27FC236}">
                <a16:creationId xmlns:a16="http://schemas.microsoft.com/office/drawing/2014/main" id="{53991EA8-1DE2-B04F-947B-B0DC9489981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222719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16</a:t>
            </a:r>
          </a:p>
        </p:txBody>
      </p:sp>
      <p:sp>
        <p:nvSpPr>
          <p:cNvPr id="39" name="Text Placeholder 78">
            <a:extLst>
              <a:ext uri="{FF2B5EF4-FFF2-40B4-BE49-F238E27FC236}">
                <a16:creationId xmlns:a16="http://schemas.microsoft.com/office/drawing/2014/main" id="{153D7BBB-71C9-CA45-88F7-0AE8F2F3713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028837" y="4733750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40" name="Text Placeholder 78">
            <a:extLst>
              <a:ext uri="{FF2B5EF4-FFF2-40B4-BE49-F238E27FC236}">
                <a16:creationId xmlns:a16="http://schemas.microsoft.com/office/drawing/2014/main" id="{4EB89907-6B4C-9542-8101-8B2FB45E100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028609" y="3678479"/>
            <a:ext cx="1817884" cy="967838"/>
          </a:xfrm>
        </p:spPr>
        <p:txBody>
          <a:bodyPr anchor="b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41" name="Text Placeholder 78">
            <a:extLst>
              <a:ext uri="{FF2B5EF4-FFF2-40B4-BE49-F238E27FC236}">
                <a16:creationId xmlns:a16="http://schemas.microsoft.com/office/drawing/2014/main" id="{26B9FE68-8C91-2645-B8C3-1AAA6AEFCE4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187286" y="4733750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42" name="Text Placeholder 78">
            <a:extLst>
              <a:ext uri="{FF2B5EF4-FFF2-40B4-BE49-F238E27FC236}">
                <a16:creationId xmlns:a16="http://schemas.microsoft.com/office/drawing/2014/main" id="{18E955D3-BF1F-F448-BC17-A37BB123719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187058" y="3678479"/>
            <a:ext cx="1817884" cy="967838"/>
          </a:xfrm>
        </p:spPr>
        <p:txBody>
          <a:bodyPr anchor="b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3B2A8A9C-6F4F-0045-A89D-D0743E068F6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345508" y="4733750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44" name="Text Placeholder 78">
            <a:extLst>
              <a:ext uri="{FF2B5EF4-FFF2-40B4-BE49-F238E27FC236}">
                <a16:creationId xmlns:a16="http://schemas.microsoft.com/office/drawing/2014/main" id="{EEE1401C-8217-E04A-9A37-26BE6028B96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345280" y="3678479"/>
            <a:ext cx="1817884" cy="967838"/>
          </a:xfrm>
        </p:spPr>
        <p:txBody>
          <a:bodyPr anchor="b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51" name="Text Placeholder 78">
            <a:extLst>
              <a:ext uri="{FF2B5EF4-FFF2-40B4-BE49-F238E27FC236}">
                <a16:creationId xmlns:a16="http://schemas.microsoft.com/office/drawing/2014/main" id="{A105B319-A7C3-C641-A304-CB2D4A1E928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503730" y="4733750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52" name="Text Placeholder 78">
            <a:extLst>
              <a:ext uri="{FF2B5EF4-FFF2-40B4-BE49-F238E27FC236}">
                <a16:creationId xmlns:a16="http://schemas.microsoft.com/office/drawing/2014/main" id="{801F9EA7-5570-F543-BF0B-FB16CA448C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503502" y="3678479"/>
            <a:ext cx="1817884" cy="967838"/>
          </a:xfrm>
        </p:spPr>
        <p:txBody>
          <a:bodyPr anchor="b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74" name="Text Placeholder 78">
            <a:extLst>
              <a:ext uri="{FF2B5EF4-FFF2-40B4-BE49-F238E27FC236}">
                <a16:creationId xmlns:a16="http://schemas.microsoft.com/office/drawing/2014/main" id="{21E92614-1F2A-AD47-AA40-C80F1B33118D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70388" y="4731603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.</a:t>
            </a:r>
            <a:endParaRPr lang="en-VN"/>
          </a:p>
        </p:txBody>
      </p:sp>
      <p:sp>
        <p:nvSpPr>
          <p:cNvPr id="75" name="Text Placeholder 78">
            <a:extLst>
              <a:ext uri="{FF2B5EF4-FFF2-40B4-BE49-F238E27FC236}">
                <a16:creationId xmlns:a16="http://schemas.microsoft.com/office/drawing/2014/main" id="{F85A0D46-AE83-704C-8143-860288B971D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70160" y="3676332"/>
            <a:ext cx="1817884" cy="967838"/>
          </a:xfrm>
        </p:spPr>
        <p:txBody>
          <a:bodyPr anchor="b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33" name="Text Placeholder 78">
            <a:extLst>
              <a:ext uri="{FF2B5EF4-FFF2-40B4-BE49-F238E27FC236}">
                <a16:creationId xmlns:a16="http://schemas.microsoft.com/office/drawing/2014/main" id="{74CCB615-9E6A-FC48-9CA9-1D2C5AF7A891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3376844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17</a:t>
            </a:r>
          </a:p>
        </p:txBody>
      </p:sp>
      <p:sp>
        <p:nvSpPr>
          <p:cNvPr id="34" name="Text Placeholder 78">
            <a:extLst>
              <a:ext uri="{FF2B5EF4-FFF2-40B4-BE49-F238E27FC236}">
                <a16:creationId xmlns:a16="http://schemas.microsoft.com/office/drawing/2014/main" id="{31235041-E1E2-6844-B06D-4B8C8B2C9F15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5533230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18</a:t>
            </a:r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C6394014-B288-094A-AF03-5BDB43D8E39D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7689616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19</a:t>
            </a:r>
          </a:p>
        </p:txBody>
      </p:sp>
      <p:sp>
        <p:nvSpPr>
          <p:cNvPr id="46" name="Text Placeholder 78">
            <a:extLst>
              <a:ext uri="{FF2B5EF4-FFF2-40B4-BE49-F238E27FC236}">
                <a16:creationId xmlns:a16="http://schemas.microsoft.com/office/drawing/2014/main" id="{FE6C76C7-00D0-D543-A9D5-697ACE8E498E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9846002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26" name="Tytuł 1">
            <a:extLst>
              <a:ext uri="{FF2B5EF4-FFF2-40B4-BE49-F238E27FC236}">
                <a16:creationId xmlns:a16="http://schemas.microsoft.com/office/drawing/2014/main" id="{A8B49C75-881C-054D-96A0-4E70170D1F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5D994EA-5467-B240-9B14-C688E2DBCDF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Timeline</a:t>
            </a:r>
            <a:endParaRPr lang="pl-PL"/>
          </a:p>
        </p:txBody>
      </p:sp>
      <p:pic>
        <p:nvPicPr>
          <p:cNvPr id="2" name="Obraz 1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7D614EB5-9AC5-4AA1-81FE-60CDD1930D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823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meline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ymbol zastępczy numeru slajdu 5">
            <a:extLst>
              <a:ext uri="{FF2B5EF4-FFF2-40B4-BE49-F238E27FC236}">
                <a16:creationId xmlns:a16="http://schemas.microsoft.com/office/drawing/2014/main" id="{D526C90E-13B5-4D95-8BE9-03ED11780FC9}"/>
              </a:ext>
            </a:extLst>
          </p:cNvPr>
          <p:cNvSpPr>
            <a:spLocks noGrp="1"/>
          </p:cNvSpPr>
          <p:nvPr userDrawn="1">
            <p:ph type="sldNum" sz="quarter" idx="19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1" name="Tytuł 1">
            <a:extLst>
              <a:ext uri="{FF2B5EF4-FFF2-40B4-BE49-F238E27FC236}">
                <a16:creationId xmlns:a16="http://schemas.microsoft.com/office/drawing/2014/main" id="{E483A55E-99F0-564C-B886-7FA64CCB85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6AFB9C2-FA15-C745-BF2C-DB3BC77DC2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Timeline</a:t>
            </a:r>
            <a:endParaRPr lang="pl-PL"/>
          </a:p>
        </p:txBody>
      </p:sp>
      <p:pic>
        <p:nvPicPr>
          <p:cNvPr id="4" name="Obraz 3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8DC80185-3761-4FDC-8206-2A1270E789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760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7" name="Text Placeholder 60">
            <a:extLst>
              <a:ext uri="{FF2B5EF4-FFF2-40B4-BE49-F238E27FC236}">
                <a16:creationId xmlns:a16="http://schemas.microsoft.com/office/drawing/2014/main" id="{F533D588-1515-E547-96E5-043A829923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39792" y="3650061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8" name="Text Placeholder 60">
            <a:extLst>
              <a:ext uri="{FF2B5EF4-FFF2-40B4-BE49-F238E27FC236}">
                <a16:creationId xmlns:a16="http://schemas.microsoft.com/office/drawing/2014/main" id="{4865FDAA-D4A0-BC42-8267-B5190D5B069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52917" y="3635443"/>
            <a:ext cx="1875060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9" name="Text Placeholder 60">
            <a:extLst>
              <a:ext uri="{FF2B5EF4-FFF2-40B4-BE49-F238E27FC236}">
                <a16:creationId xmlns:a16="http://schemas.microsoft.com/office/drawing/2014/main" id="{71180699-D64D-B848-91D2-41B5FAF2B1C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00059" y="3642557"/>
            <a:ext cx="1881427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0" name="Text Placeholder 60">
            <a:extLst>
              <a:ext uri="{FF2B5EF4-FFF2-40B4-BE49-F238E27FC236}">
                <a16:creationId xmlns:a16="http://schemas.microsoft.com/office/drawing/2014/main" id="{2CC46ADD-3E85-7445-9ECB-4CEF56C89D4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260611" y="3637945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1" name="Text Placeholder 60">
            <a:extLst>
              <a:ext uri="{FF2B5EF4-FFF2-40B4-BE49-F238E27FC236}">
                <a16:creationId xmlns:a16="http://schemas.microsoft.com/office/drawing/2014/main" id="{B78575ED-8EC4-A94D-ACEF-B945C14B7EE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96861" y="3630441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graphicFrame>
        <p:nvGraphicFramePr>
          <p:cNvPr id="17" name="Diagram 16">
            <a:extLst>
              <a:ext uri="{FF2B5EF4-FFF2-40B4-BE49-F238E27FC236}">
                <a16:creationId xmlns:a16="http://schemas.microsoft.com/office/drawing/2014/main" id="{DFC05E75-E2B2-8446-8D26-025F7CBA2B16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742539720"/>
              </p:ext>
            </p:extLst>
          </p:nvPr>
        </p:nvGraphicFramePr>
        <p:xfrm>
          <a:off x="868137" y="2328182"/>
          <a:ext cx="10477501" cy="7565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160E82-699B-1C42-A277-29C0FB7F381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209031" y="2398038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23A3B784-A354-024B-BD60-48D83FC3DDA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68870" y="2399311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2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976A9BDD-C86A-7341-8A72-F1B2836D58F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91486" y="2398038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3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6611BAE4-7EC3-B94A-98B0-7E3079F5872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44177" y="2408949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4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6FF69C6-D619-FA4B-8368-EAD10E1DB11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366362" y="2408949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5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4D9182F9-6A85-CC40-87F5-1190C0ECE7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Process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FD1838F8-5100-47A1-9BE2-6D817650F78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352290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meline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77D4DF0A-3B17-CD4A-AFC5-CD25F565E4FC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73465" y="2533179"/>
            <a:ext cx="1955169" cy="362877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Click icon to add picture</a:t>
            </a:r>
            <a:endParaRPr lang="en-VN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FF636FEF-9B78-E44A-9A6C-EEBB57DEBB0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092735" y="2533179"/>
            <a:ext cx="1955169" cy="362877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Click icon to add picture</a:t>
            </a:r>
            <a:endParaRPr lang="en-VN"/>
          </a:p>
        </p:txBody>
      </p:sp>
      <p:sp>
        <p:nvSpPr>
          <p:cNvPr id="49" name="Picture Placeholder 4">
            <a:extLst>
              <a:ext uri="{FF2B5EF4-FFF2-40B4-BE49-F238E27FC236}">
                <a16:creationId xmlns:a16="http://schemas.microsoft.com/office/drawing/2014/main" id="{5835D3BB-545F-9D43-BD37-01B58E3F0681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483213" y="2533179"/>
            <a:ext cx="1955169" cy="362877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algn="r">
              <a:defRPr/>
            </a:lvl1pPr>
          </a:lstStyle>
          <a:p>
            <a:r>
              <a:rPr lang="en-GB"/>
              <a:t>Click icon to add picture</a:t>
            </a:r>
            <a:endParaRPr lang="en-VN"/>
          </a:p>
        </p:txBody>
      </p:sp>
      <p:sp>
        <p:nvSpPr>
          <p:cNvPr id="54" name="Picture Placeholder 11">
            <a:extLst>
              <a:ext uri="{FF2B5EF4-FFF2-40B4-BE49-F238E27FC236}">
                <a16:creationId xmlns:a16="http://schemas.microsoft.com/office/drawing/2014/main" id="{3658F892-3B86-014C-AC98-9FBDC77E6A4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73465" y="3886206"/>
            <a:ext cx="1955170" cy="2275518"/>
          </a:xfrm>
          <a:gradFill flip="none" rotWithShape="1">
            <a:gsLst>
              <a:gs pos="0">
                <a:srgbClr val="000000">
                  <a:alpha val="0"/>
                </a:srgbClr>
              </a:gs>
              <a:gs pos="46000">
                <a:srgbClr val="056E3E">
                  <a:alpha val="40000"/>
                </a:srgbClr>
              </a:gs>
              <a:gs pos="80000">
                <a:srgbClr val="056E3E">
                  <a:alpha val="80000"/>
                </a:srgbClr>
              </a:gs>
              <a:gs pos="97000">
                <a:srgbClr val="056E3E"/>
              </a:gs>
            </a:gsLst>
            <a:lin ang="5400000" scaled="1"/>
            <a:tileRect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36" name="Symbol zastępczy numeru slajdu 5">
            <a:extLst>
              <a:ext uri="{FF2B5EF4-FFF2-40B4-BE49-F238E27FC236}">
                <a16:creationId xmlns:a16="http://schemas.microsoft.com/office/drawing/2014/main" id="{D526C90E-13B5-4D95-8BE9-03ED11780FC9}"/>
              </a:ext>
            </a:extLst>
          </p:cNvPr>
          <p:cNvSpPr>
            <a:spLocks noGrp="1"/>
          </p:cNvSpPr>
          <p:nvPr userDrawn="1">
            <p:ph type="sldNum" sz="quarter" idx="19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80" name="Text Placeholder 78">
            <a:extLst>
              <a:ext uri="{FF2B5EF4-FFF2-40B4-BE49-F238E27FC236}">
                <a16:creationId xmlns:a16="http://schemas.microsoft.com/office/drawing/2014/main" id="{6288EA3E-4CDA-E94A-AFD8-12B9E08949B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437391" y="5005685"/>
            <a:ext cx="2132710" cy="1016326"/>
          </a:xfrm>
        </p:spPr>
        <p:txBody>
          <a:bodyPr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2" name="Text Placeholder 78">
            <a:extLst>
              <a:ext uri="{FF2B5EF4-FFF2-40B4-BE49-F238E27FC236}">
                <a16:creationId xmlns:a16="http://schemas.microsoft.com/office/drawing/2014/main" id="{FD8D786A-E851-6844-AE06-40D72BC31AE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37163" y="4276150"/>
            <a:ext cx="2132710" cy="671666"/>
          </a:xfrm>
        </p:spPr>
        <p:txBody>
          <a:bodyPr anchor="b"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35" name="Text Placeholder 78">
            <a:extLst>
              <a:ext uri="{FF2B5EF4-FFF2-40B4-BE49-F238E27FC236}">
                <a16:creationId xmlns:a16="http://schemas.microsoft.com/office/drawing/2014/main" id="{4F9F41A7-C8DB-DB40-8F1D-DF4E34A18A6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1022227" y="2992835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37" name="Text Placeholder 78">
            <a:extLst>
              <a:ext uri="{FF2B5EF4-FFF2-40B4-BE49-F238E27FC236}">
                <a16:creationId xmlns:a16="http://schemas.microsoft.com/office/drawing/2014/main" id="{93C96D09-B104-8246-AB35-F2C637F9CC91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4631976" y="2992835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F76529C6-5B56-A046-A5BC-FBD15D44EB08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241725" y="2992835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25" name="Picture Placeholder 11">
            <a:extLst>
              <a:ext uri="{FF2B5EF4-FFF2-40B4-BE49-F238E27FC236}">
                <a16:creationId xmlns:a16="http://schemas.microsoft.com/office/drawing/2014/main" id="{04ABCCAF-4380-844C-8C74-EEE8ABBBEDD1}"/>
              </a:ext>
            </a:extLst>
          </p:cNvPr>
          <p:cNvSpPr>
            <a:spLocks noGrp="1"/>
          </p:cNvSpPr>
          <p:nvPr>
            <p:ph type="pic" sz="quarter" idx="79" hasCustomPrompt="1"/>
          </p:nvPr>
        </p:nvSpPr>
        <p:spPr>
          <a:xfrm>
            <a:off x="4482987" y="3886206"/>
            <a:ext cx="1955169" cy="2275518"/>
          </a:xfrm>
          <a:gradFill flip="none" rotWithShape="1">
            <a:gsLst>
              <a:gs pos="0">
                <a:srgbClr val="000000">
                  <a:alpha val="0"/>
                </a:srgbClr>
              </a:gs>
              <a:gs pos="46000">
                <a:srgbClr val="056E3E">
                  <a:alpha val="40000"/>
                </a:srgbClr>
              </a:gs>
              <a:gs pos="80000">
                <a:srgbClr val="056E3E">
                  <a:alpha val="80000"/>
                </a:srgbClr>
              </a:gs>
              <a:gs pos="97000">
                <a:srgbClr val="056E3E"/>
              </a:gs>
            </a:gsLst>
            <a:lin ang="5400000" scaled="1"/>
            <a:tileRect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53E26D6-AC11-6F42-A2AA-2A7B4D8DD84D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5046912" y="5005685"/>
            <a:ext cx="2132710" cy="1016326"/>
          </a:xfrm>
        </p:spPr>
        <p:txBody>
          <a:bodyPr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0" name="Text Placeholder 78">
            <a:extLst>
              <a:ext uri="{FF2B5EF4-FFF2-40B4-BE49-F238E27FC236}">
                <a16:creationId xmlns:a16="http://schemas.microsoft.com/office/drawing/2014/main" id="{415F11DF-0FF1-DE4B-8F88-129F882DA378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5046684" y="4276150"/>
            <a:ext cx="2132710" cy="671666"/>
          </a:xfrm>
        </p:spPr>
        <p:txBody>
          <a:bodyPr anchor="b"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31" name="Picture Placeholder 11">
            <a:extLst>
              <a:ext uri="{FF2B5EF4-FFF2-40B4-BE49-F238E27FC236}">
                <a16:creationId xmlns:a16="http://schemas.microsoft.com/office/drawing/2014/main" id="{C4C0F5D3-8EB7-DA4C-A552-3268EE883FCD}"/>
              </a:ext>
            </a:extLst>
          </p:cNvPr>
          <p:cNvSpPr>
            <a:spLocks noGrp="1"/>
          </p:cNvSpPr>
          <p:nvPr>
            <p:ph type="pic" sz="quarter" idx="82" hasCustomPrompt="1"/>
          </p:nvPr>
        </p:nvSpPr>
        <p:spPr>
          <a:xfrm>
            <a:off x="8092963" y="3886206"/>
            <a:ext cx="1954941" cy="2275518"/>
          </a:xfrm>
          <a:gradFill flip="none" rotWithShape="1">
            <a:gsLst>
              <a:gs pos="0">
                <a:srgbClr val="000000">
                  <a:alpha val="0"/>
                </a:srgbClr>
              </a:gs>
              <a:gs pos="46000">
                <a:srgbClr val="056E3E">
                  <a:alpha val="40000"/>
                </a:srgbClr>
              </a:gs>
              <a:gs pos="80000">
                <a:srgbClr val="056E3E">
                  <a:alpha val="80000"/>
                </a:srgbClr>
              </a:gs>
              <a:gs pos="97000">
                <a:srgbClr val="056E3E"/>
              </a:gs>
            </a:gsLst>
            <a:lin ang="5400000" scaled="1"/>
            <a:tileRect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39" name="Text Placeholder 78">
            <a:extLst>
              <a:ext uri="{FF2B5EF4-FFF2-40B4-BE49-F238E27FC236}">
                <a16:creationId xmlns:a16="http://schemas.microsoft.com/office/drawing/2014/main" id="{63C380DC-73A1-EB44-8D5C-10B04279CD82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8804933" y="5005798"/>
            <a:ext cx="2132710" cy="1016326"/>
          </a:xfrm>
        </p:spPr>
        <p:txBody>
          <a:bodyPr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40" name="Text Placeholder 78">
            <a:extLst>
              <a:ext uri="{FF2B5EF4-FFF2-40B4-BE49-F238E27FC236}">
                <a16:creationId xmlns:a16="http://schemas.microsoft.com/office/drawing/2014/main" id="{7B4AD03E-7FBC-F144-8C91-CF545BF60E66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8804705" y="4276263"/>
            <a:ext cx="2132710" cy="671666"/>
          </a:xfrm>
        </p:spPr>
        <p:txBody>
          <a:bodyPr anchor="b"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43" name="Tytuł 1">
            <a:extLst>
              <a:ext uri="{FF2B5EF4-FFF2-40B4-BE49-F238E27FC236}">
                <a16:creationId xmlns:a16="http://schemas.microsoft.com/office/drawing/2014/main" id="{5C6CC5B8-EE4D-9D48-B8BD-5C6B56DBFF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E06CFBF1-04D5-0C45-8595-BB96252F3C1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Timeline</a:t>
            </a:r>
            <a:endParaRPr lang="pl-PL"/>
          </a:p>
        </p:txBody>
      </p:sp>
      <p:pic>
        <p:nvPicPr>
          <p:cNvPr id="3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8A333359-947F-4FCD-8334-060F02F9892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616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ces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cxnSp>
        <p:nvCxnSpPr>
          <p:cNvPr id="11" name="Łącznik prosty 10">
            <a:extLst>
              <a:ext uri="{FF2B5EF4-FFF2-40B4-BE49-F238E27FC236}">
                <a16:creationId xmlns:a16="http://schemas.microsoft.com/office/drawing/2014/main" id="{C2D73FA2-095C-41E7-BF3D-3E65D4600830}"/>
              </a:ext>
            </a:extLst>
          </p:cNvPr>
          <p:cNvCxnSpPr>
            <a:cxnSpLocks/>
          </p:cNvCxnSpPr>
          <p:nvPr userDrawn="1"/>
        </p:nvCxnSpPr>
        <p:spPr>
          <a:xfrm>
            <a:off x="1013426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Łącznik prosty 24">
            <a:extLst>
              <a:ext uri="{FF2B5EF4-FFF2-40B4-BE49-F238E27FC236}">
                <a16:creationId xmlns:a16="http://schemas.microsoft.com/office/drawing/2014/main" id="{3C1EBD96-FC8B-467F-BA05-89B6A01E6C87}"/>
              </a:ext>
            </a:extLst>
          </p:cNvPr>
          <p:cNvCxnSpPr>
            <a:cxnSpLocks/>
          </p:cNvCxnSpPr>
          <p:nvPr userDrawn="1"/>
        </p:nvCxnSpPr>
        <p:spPr>
          <a:xfrm>
            <a:off x="3066742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Łącznik prosty 36">
            <a:extLst>
              <a:ext uri="{FF2B5EF4-FFF2-40B4-BE49-F238E27FC236}">
                <a16:creationId xmlns:a16="http://schemas.microsoft.com/office/drawing/2014/main" id="{EA249D0D-D9C0-4F41-8C2D-B54A8594B1C9}"/>
              </a:ext>
            </a:extLst>
          </p:cNvPr>
          <p:cNvCxnSpPr>
            <a:cxnSpLocks/>
          </p:cNvCxnSpPr>
          <p:nvPr userDrawn="1"/>
        </p:nvCxnSpPr>
        <p:spPr>
          <a:xfrm>
            <a:off x="5115042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Łącznik prosty 40">
            <a:extLst>
              <a:ext uri="{FF2B5EF4-FFF2-40B4-BE49-F238E27FC236}">
                <a16:creationId xmlns:a16="http://schemas.microsoft.com/office/drawing/2014/main" id="{6373FCD6-8FF8-401A-AABF-0E3D085F8D23}"/>
              </a:ext>
            </a:extLst>
          </p:cNvPr>
          <p:cNvCxnSpPr>
            <a:cxnSpLocks/>
          </p:cNvCxnSpPr>
          <p:nvPr userDrawn="1"/>
        </p:nvCxnSpPr>
        <p:spPr>
          <a:xfrm>
            <a:off x="7168358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Łącznik prosty 50">
            <a:extLst>
              <a:ext uri="{FF2B5EF4-FFF2-40B4-BE49-F238E27FC236}">
                <a16:creationId xmlns:a16="http://schemas.microsoft.com/office/drawing/2014/main" id="{AE19DA18-FFDD-4D42-829E-2A06AA4C3EB1}"/>
              </a:ext>
            </a:extLst>
          </p:cNvPr>
          <p:cNvCxnSpPr>
            <a:cxnSpLocks/>
          </p:cNvCxnSpPr>
          <p:nvPr userDrawn="1"/>
        </p:nvCxnSpPr>
        <p:spPr>
          <a:xfrm>
            <a:off x="9199914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EC355DE3-C9CA-CD42-8086-6CD72154393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39792" y="4509711"/>
            <a:ext cx="1839291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64" name="Text Placeholder 60">
            <a:extLst>
              <a:ext uri="{FF2B5EF4-FFF2-40B4-BE49-F238E27FC236}">
                <a16:creationId xmlns:a16="http://schemas.microsoft.com/office/drawing/2014/main" id="{AB50EBF6-5D95-BC45-9C63-954D03F72C5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00840" y="3637944"/>
            <a:ext cx="1881427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1.</a:t>
            </a:r>
          </a:p>
        </p:txBody>
      </p:sp>
      <p:sp>
        <p:nvSpPr>
          <p:cNvPr id="65" name="Text Placeholder 60">
            <a:extLst>
              <a:ext uri="{FF2B5EF4-FFF2-40B4-BE49-F238E27FC236}">
                <a16:creationId xmlns:a16="http://schemas.microsoft.com/office/drawing/2014/main" id="{F720E689-39B1-9245-AB65-DD6F312DBB6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00840" y="4124820"/>
            <a:ext cx="1881427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66" name="Text Placeholder 60">
            <a:extLst>
              <a:ext uri="{FF2B5EF4-FFF2-40B4-BE49-F238E27FC236}">
                <a16:creationId xmlns:a16="http://schemas.microsoft.com/office/drawing/2014/main" id="{1B0F2A70-062F-4040-81EE-C7AC88A1CC6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59511" y="3625828"/>
            <a:ext cx="1881428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2.</a:t>
            </a:r>
          </a:p>
        </p:txBody>
      </p:sp>
      <p:sp>
        <p:nvSpPr>
          <p:cNvPr id="67" name="Text Placeholder 60">
            <a:extLst>
              <a:ext uri="{FF2B5EF4-FFF2-40B4-BE49-F238E27FC236}">
                <a16:creationId xmlns:a16="http://schemas.microsoft.com/office/drawing/2014/main" id="{7DA62FC7-0C6B-304B-B58D-884BDDE546E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154494" y="4112704"/>
            <a:ext cx="1873484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68" name="Text Placeholder 60">
            <a:extLst>
              <a:ext uri="{FF2B5EF4-FFF2-40B4-BE49-F238E27FC236}">
                <a16:creationId xmlns:a16="http://schemas.microsoft.com/office/drawing/2014/main" id="{80356AD0-D55F-B948-84CA-DF589D91D80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40584" y="3637944"/>
            <a:ext cx="1837742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3.</a:t>
            </a:r>
          </a:p>
        </p:txBody>
      </p:sp>
      <p:sp>
        <p:nvSpPr>
          <p:cNvPr id="70" name="Text Placeholder 60">
            <a:extLst>
              <a:ext uri="{FF2B5EF4-FFF2-40B4-BE49-F238E27FC236}">
                <a16:creationId xmlns:a16="http://schemas.microsoft.com/office/drawing/2014/main" id="{EC756B4B-EFF8-B34C-AEB0-8AC3B293B96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40582" y="4124821"/>
            <a:ext cx="1837741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71" name="Text Placeholder 60">
            <a:extLst>
              <a:ext uri="{FF2B5EF4-FFF2-40B4-BE49-F238E27FC236}">
                <a16:creationId xmlns:a16="http://schemas.microsoft.com/office/drawing/2014/main" id="{714DF4FC-C50D-9446-B0D3-6D6D9AFBC23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52917" y="4495093"/>
            <a:ext cx="1875060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72" name="Text Placeholder 60">
            <a:extLst>
              <a:ext uri="{FF2B5EF4-FFF2-40B4-BE49-F238E27FC236}">
                <a16:creationId xmlns:a16="http://schemas.microsoft.com/office/drawing/2014/main" id="{A07194BE-D76F-BF4B-A421-877DB1635F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00059" y="4502207"/>
            <a:ext cx="1881427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3" name="Text Placeholder 60">
            <a:extLst>
              <a:ext uri="{FF2B5EF4-FFF2-40B4-BE49-F238E27FC236}">
                <a16:creationId xmlns:a16="http://schemas.microsoft.com/office/drawing/2014/main" id="{70049643-AD52-8C45-8843-942514BF015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260611" y="4497595"/>
            <a:ext cx="1839291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4" name="Text Placeholder 60">
            <a:extLst>
              <a:ext uri="{FF2B5EF4-FFF2-40B4-BE49-F238E27FC236}">
                <a16:creationId xmlns:a16="http://schemas.microsoft.com/office/drawing/2014/main" id="{A9FD836D-BD8F-7A4F-9578-B2A1840A401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61403" y="3625828"/>
            <a:ext cx="1837742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4.</a:t>
            </a:r>
          </a:p>
        </p:txBody>
      </p:sp>
      <p:sp>
        <p:nvSpPr>
          <p:cNvPr id="85" name="Text Placeholder 60">
            <a:extLst>
              <a:ext uri="{FF2B5EF4-FFF2-40B4-BE49-F238E27FC236}">
                <a16:creationId xmlns:a16="http://schemas.microsoft.com/office/drawing/2014/main" id="{1F11E0C5-BB90-C54C-9F45-07BA01346F8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61401" y="4112705"/>
            <a:ext cx="1837741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89" name="Text Placeholder 60">
            <a:extLst>
              <a:ext uri="{FF2B5EF4-FFF2-40B4-BE49-F238E27FC236}">
                <a16:creationId xmlns:a16="http://schemas.microsoft.com/office/drawing/2014/main" id="{0CD43120-E7F9-E84C-AB53-D7B8D88DF91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96861" y="4490091"/>
            <a:ext cx="1839291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90" name="Text Placeholder 60">
            <a:extLst>
              <a:ext uri="{FF2B5EF4-FFF2-40B4-BE49-F238E27FC236}">
                <a16:creationId xmlns:a16="http://schemas.microsoft.com/office/drawing/2014/main" id="{9A1C3D79-D53B-8044-988E-FC39BF636A7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297653" y="3618324"/>
            <a:ext cx="1837742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5.</a:t>
            </a:r>
          </a:p>
        </p:txBody>
      </p:sp>
      <p:sp>
        <p:nvSpPr>
          <p:cNvPr id="91" name="Text Placeholder 60">
            <a:extLst>
              <a:ext uri="{FF2B5EF4-FFF2-40B4-BE49-F238E27FC236}">
                <a16:creationId xmlns:a16="http://schemas.microsoft.com/office/drawing/2014/main" id="{8A5DB2EF-B467-2A43-865F-C95DC9A39FD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297651" y="4105201"/>
            <a:ext cx="1837741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394B4A0-15B9-0942-BD0C-49F1B5DBE61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Process</a:t>
            </a:r>
            <a:endParaRPr lang="pl-PL"/>
          </a:p>
        </p:txBody>
      </p:sp>
      <p:graphicFrame>
        <p:nvGraphicFramePr>
          <p:cNvPr id="36" name="Diagram 35">
            <a:extLst>
              <a:ext uri="{FF2B5EF4-FFF2-40B4-BE49-F238E27FC236}">
                <a16:creationId xmlns:a16="http://schemas.microsoft.com/office/drawing/2014/main" id="{CD23FAA5-A7A5-8C49-8E0D-F024CE45546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056300382"/>
              </p:ext>
            </p:extLst>
          </p:nvPr>
        </p:nvGraphicFramePr>
        <p:xfrm>
          <a:off x="868137" y="2328182"/>
          <a:ext cx="10477501" cy="7565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60C20CF-B865-8B44-BD36-17589A21A6C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209031" y="2326909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16181BA-1FC1-E741-B679-9810D1ECAB6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68870" y="2328182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FE33DAE9-07C3-DB48-897C-2C0141E4A66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91486" y="2326909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64B5A0C-DD98-B342-82AE-38923E82673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44177" y="2337820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2081F07E-5101-144B-84C2-23242040AD7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366362" y="2337820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840059F9-9774-47EA-9875-CA53E16FEC2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554618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oces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7" name="Text Placeholder 60">
            <a:extLst>
              <a:ext uri="{FF2B5EF4-FFF2-40B4-BE49-F238E27FC236}">
                <a16:creationId xmlns:a16="http://schemas.microsoft.com/office/drawing/2014/main" id="{F533D588-1515-E547-96E5-043A829923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39792" y="3650061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8" name="Text Placeholder 60">
            <a:extLst>
              <a:ext uri="{FF2B5EF4-FFF2-40B4-BE49-F238E27FC236}">
                <a16:creationId xmlns:a16="http://schemas.microsoft.com/office/drawing/2014/main" id="{4865FDAA-D4A0-BC42-8267-B5190D5B069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52917" y="3635443"/>
            <a:ext cx="1875060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9" name="Text Placeholder 60">
            <a:extLst>
              <a:ext uri="{FF2B5EF4-FFF2-40B4-BE49-F238E27FC236}">
                <a16:creationId xmlns:a16="http://schemas.microsoft.com/office/drawing/2014/main" id="{71180699-D64D-B848-91D2-41B5FAF2B1C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00059" y="3642557"/>
            <a:ext cx="1881427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0" name="Text Placeholder 60">
            <a:extLst>
              <a:ext uri="{FF2B5EF4-FFF2-40B4-BE49-F238E27FC236}">
                <a16:creationId xmlns:a16="http://schemas.microsoft.com/office/drawing/2014/main" id="{2CC46ADD-3E85-7445-9ECB-4CEF56C89D4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260611" y="3637945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1" name="Text Placeholder 60">
            <a:extLst>
              <a:ext uri="{FF2B5EF4-FFF2-40B4-BE49-F238E27FC236}">
                <a16:creationId xmlns:a16="http://schemas.microsoft.com/office/drawing/2014/main" id="{B78575ED-8EC4-A94D-ACEF-B945C14B7EE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96861" y="3630441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graphicFrame>
        <p:nvGraphicFramePr>
          <p:cNvPr id="17" name="Diagram 16">
            <a:extLst>
              <a:ext uri="{FF2B5EF4-FFF2-40B4-BE49-F238E27FC236}">
                <a16:creationId xmlns:a16="http://schemas.microsoft.com/office/drawing/2014/main" id="{DFC05E75-E2B2-8446-8D26-025F7CBA2B16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726783963"/>
              </p:ext>
            </p:extLst>
          </p:nvPr>
        </p:nvGraphicFramePr>
        <p:xfrm>
          <a:off x="868137" y="2328182"/>
          <a:ext cx="10477501" cy="7565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160E82-699B-1C42-A277-29C0FB7F381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209031" y="2398038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23A3B784-A354-024B-BD60-48D83FC3DDA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68870" y="2399311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2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976A9BDD-C86A-7341-8A72-F1B2836D58F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91486" y="2398038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3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6611BAE4-7EC3-B94A-98B0-7E3079F5872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44177" y="2408949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4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6FF69C6-D619-FA4B-8368-EAD10E1DB11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366362" y="2408949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5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4D9182F9-6A85-CC40-87F5-1190C0ECE7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Process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FD1838F8-5100-47A1-9BE2-6D817650F78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510976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ymbol zastępczy numeru slajdu 5">
            <a:extLst>
              <a:ext uri="{FF2B5EF4-FFF2-40B4-BE49-F238E27FC236}">
                <a16:creationId xmlns:a16="http://schemas.microsoft.com/office/drawing/2014/main" id="{53E83CEF-607C-41E1-83A7-A80B1C0345A9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7"/>
            <a:ext cx="10504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l" defTabSz="914400" rtl="0" eaLnBrk="1" latinLnBrk="0" hangingPunct="1">
              <a:defRPr sz="1200" b="1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FD7E4E4-5BBC-3144-81F6-BE086EF4664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398814" y="2422338"/>
            <a:ext cx="1303338" cy="1303338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0104F3A1-122D-9E43-8ABB-1F2BE99402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945922" y="2435390"/>
            <a:ext cx="2927584" cy="82060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72E2E9E8-87C2-DE43-99AB-BB0BB356238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95626" y="2435390"/>
            <a:ext cx="2927584" cy="82060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A06AA3E9-1EF5-C745-994B-FF3BB785DBA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5625" y="3267036"/>
            <a:ext cx="2927585" cy="469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Job </a:t>
            </a:r>
            <a:r>
              <a:rPr lang="pl-PL" err="1"/>
              <a:t>position</a:t>
            </a:r>
            <a:endParaRPr lang="pl-PL"/>
          </a:p>
        </p:txBody>
      </p:sp>
      <p:sp>
        <p:nvSpPr>
          <p:cNvPr id="31" name="Text Placeholder 60">
            <a:extLst>
              <a:ext uri="{FF2B5EF4-FFF2-40B4-BE49-F238E27FC236}">
                <a16:creationId xmlns:a16="http://schemas.microsoft.com/office/drawing/2014/main" id="{B068799D-3753-9D4D-9556-6CB1ADFDDE3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08789" y="3943978"/>
            <a:ext cx="4479480" cy="191275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33" name="Text Placeholder 60">
            <a:extLst>
              <a:ext uri="{FF2B5EF4-FFF2-40B4-BE49-F238E27FC236}">
                <a16:creationId xmlns:a16="http://schemas.microsoft.com/office/drawing/2014/main" id="{F6D78EDB-59F3-A74F-AE67-77B092CD525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43730" y="3937957"/>
            <a:ext cx="4479480" cy="191275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D80B7087-0113-8E49-8685-221D4DD4678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843730" y="2435390"/>
            <a:ext cx="1303338" cy="1303338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15" name="Tytuł 1">
            <a:extLst>
              <a:ext uri="{FF2B5EF4-FFF2-40B4-BE49-F238E27FC236}">
                <a16:creationId xmlns:a16="http://schemas.microsoft.com/office/drawing/2014/main" id="{EF425BDB-F83B-3740-BA0E-5BC71F603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1BF282F-7D7D-354E-A8A9-4ED744B7FB1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Peopl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F0D5944E-9DCB-FD42-AC93-727D5DE51CE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945921" y="3270644"/>
            <a:ext cx="2927585" cy="469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Job </a:t>
            </a:r>
            <a:r>
              <a:rPr lang="pl-PL" err="1"/>
              <a:t>position</a:t>
            </a:r>
            <a:endParaRPr lang="pl-PL"/>
          </a:p>
        </p:txBody>
      </p:sp>
      <p:pic>
        <p:nvPicPr>
          <p:cNvPr id="4" name="Obraz 3" descr="Obraz zawierający znak, zegar&#10;&#10;Opis wygenerowany automatycznie">
            <a:extLst>
              <a:ext uri="{FF2B5EF4-FFF2-40B4-BE49-F238E27FC236}">
                <a16:creationId xmlns:a16="http://schemas.microsoft.com/office/drawing/2014/main" id="{973D65FA-04BF-459D-A159-EFB4AA012EF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139129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ymbol zastępczy numeru slajdu 5">
            <a:extLst>
              <a:ext uri="{FF2B5EF4-FFF2-40B4-BE49-F238E27FC236}">
                <a16:creationId xmlns:a16="http://schemas.microsoft.com/office/drawing/2014/main" id="{F61F9CEE-A24D-4167-9652-6F0DCFB843BA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7"/>
            <a:ext cx="10504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l" defTabSz="914400" rtl="0" eaLnBrk="1" latinLnBrk="0" hangingPunct="1">
              <a:defRPr sz="1200" b="1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C66D0F66-5DD0-CC47-9406-16BC3B730ED1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398814" y="2418860"/>
            <a:ext cx="1303338" cy="1303338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F069552-AAC9-4140-967D-BBB36666210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945922" y="2431912"/>
            <a:ext cx="2927584" cy="469675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69C5C8F3-08C1-0B4B-820E-D50C6D18D74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45921" y="2926119"/>
            <a:ext cx="2927585" cy="469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Job </a:t>
            </a:r>
            <a:r>
              <a:rPr lang="pl-PL" err="1"/>
              <a:t>position</a:t>
            </a:r>
            <a:endParaRPr lang="pl-PL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451B3AD-1644-6E43-867B-2F5A0BBEC44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843730" y="2431912"/>
            <a:ext cx="1303338" cy="1303338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F4161CB-4C3A-B94B-869A-FED3AF102200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98814" y="4530841"/>
            <a:ext cx="1303338" cy="1303338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4411615A-1143-F74F-AA3B-974154DD0B7D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843730" y="4543893"/>
            <a:ext cx="1303338" cy="1303338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B746B448-3E57-F443-B31B-41815AC9940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945921" y="3406836"/>
            <a:ext cx="2927585" cy="82060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kern="1200" spc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D300C504-C864-AD4E-A7DE-E222E6B1207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949348" y="4530841"/>
            <a:ext cx="2927584" cy="469675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C9464E39-87EE-C441-BB8F-B585640E667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949347" y="5025048"/>
            <a:ext cx="2927585" cy="469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Job </a:t>
            </a:r>
            <a:r>
              <a:rPr lang="pl-PL" err="1"/>
              <a:t>position</a:t>
            </a:r>
            <a:endParaRPr lang="pl-PL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289E6739-D418-E042-BD61-31503F78F6C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949347" y="5505765"/>
            <a:ext cx="2927585" cy="82060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kern="1200" spc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EBFEAA0C-A173-8F47-9201-A2F676532E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85939" y="2431912"/>
            <a:ext cx="2927584" cy="469675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61A5EFAB-F364-764A-BC31-6A7434FDE31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85938" y="2926119"/>
            <a:ext cx="2927585" cy="469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Job </a:t>
            </a:r>
            <a:r>
              <a:rPr lang="pl-PL" err="1"/>
              <a:t>position</a:t>
            </a:r>
            <a:endParaRPr lang="pl-PL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116246CD-539F-B547-82BA-71BA9E02DBB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85938" y="3406836"/>
            <a:ext cx="2927585" cy="82060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kern="1200" spc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639FCED2-BA6F-A54F-8F23-0DEF2CA3231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85939" y="4530841"/>
            <a:ext cx="2927584" cy="469675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E58F7C63-751C-CB4E-A396-CC22CA89ABA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85938" y="5025048"/>
            <a:ext cx="2927585" cy="469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Job </a:t>
            </a:r>
            <a:r>
              <a:rPr lang="pl-PL" err="1"/>
              <a:t>position</a:t>
            </a:r>
            <a:endParaRPr lang="pl-PL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5FFF813A-76B4-CE4F-B80A-B5B2F91EEA0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85938" y="5505765"/>
            <a:ext cx="2927585" cy="82060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kern="1200" spc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9" name="Tytuł 1">
            <a:extLst>
              <a:ext uri="{FF2B5EF4-FFF2-40B4-BE49-F238E27FC236}">
                <a16:creationId xmlns:a16="http://schemas.microsoft.com/office/drawing/2014/main" id="{85BEC029-6B7C-9044-B91D-2783A5453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F8E08C5C-FE16-194E-936E-115ED0F3632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People</a:t>
            </a:r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5E4E33F4-5229-4B13-A1AB-860CA1B1BC4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948210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55" name="Tytuł 1">
            <a:extLst>
              <a:ext uri="{FF2B5EF4-FFF2-40B4-BE49-F238E27FC236}">
                <a16:creationId xmlns:a16="http://schemas.microsoft.com/office/drawing/2014/main" id="{9BF03333-7666-44CE-BC39-1F8FA0BAB218}"/>
              </a:ext>
            </a:extLst>
          </p:cNvPr>
          <p:cNvSpPr txBox="1">
            <a:spLocks/>
          </p:cNvSpPr>
          <p:nvPr userDrawn="1"/>
        </p:nvSpPr>
        <p:spPr>
          <a:xfrm>
            <a:off x="873578" y="1171162"/>
            <a:ext cx="4542064" cy="51162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1" kern="1200" spc="-15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200" spc="0" err="1"/>
              <a:t>Icons</a:t>
            </a:r>
            <a:endParaRPr lang="pl-PL" sz="2200" spc="0"/>
          </a:p>
        </p:txBody>
      </p:sp>
      <p:pic>
        <p:nvPicPr>
          <p:cNvPr id="27" name="Obraz 26" descr="Obraz zawierający znak, zegar&#10;&#10;Opis wygenerowany automatycznie">
            <a:extLst>
              <a:ext uri="{FF2B5EF4-FFF2-40B4-BE49-F238E27FC236}">
                <a16:creationId xmlns:a16="http://schemas.microsoft.com/office/drawing/2014/main" id="{DA80CAF4-4327-46E2-8BE6-EFF99D5124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385758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UTRO_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pic>
        <p:nvPicPr>
          <p:cNvPr id="3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E6C2588B-6E86-4918-8788-9A3721B7D3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7737" y="2745152"/>
            <a:ext cx="2796526" cy="1531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888211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210704" y="6286062"/>
            <a:ext cx="173457" cy="2032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83429214"/>
      </p:ext>
    </p:extLst>
  </p:cSld>
  <p:clrMapOvr>
    <a:masterClrMapping/>
  </p:clrMapOvr>
  <p:transition spd="med"/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83570E-A908-D8DD-9BD1-BE694BEAC4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H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CC0A0B-16D8-027E-EDEF-AF295358B9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574068-F3EE-270F-8257-CC6047712F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B418E-B225-487C-9756-1E9CD68C504A}" type="datetimeFigureOut">
              <a:rPr lang="en-CH" smtClean="0"/>
              <a:t>10/29/2024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84E760-8084-2A41-E266-6DD374265F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459250-9243-44D6-FF24-4E2912BA23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322E4-72ED-49C0-BA52-D2C54D3F6E75}" type="slidenum">
              <a:rPr lang="en-CH" smtClean="0"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202247253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6E60419D-35A4-4C8B-90E1-C7CFD3AEA4D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347" y="335280"/>
            <a:ext cx="1820897" cy="997410"/>
          </a:xfrm>
          <a:prstGeom prst="rect">
            <a:avLst/>
          </a:prstGeom>
        </p:spPr>
      </p:pic>
      <p:sp>
        <p:nvSpPr>
          <p:cNvPr id="12" name="Podtytuł 2">
            <a:extLst>
              <a:ext uri="{FF2B5EF4-FFF2-40B4-BE49-F238E27FC236}">
                <a16:creationId xmlns:a16="http://schemas.microsoft.com/office/drawing/2014/main" id="{79EEAF39-E7D1-914B-88A8-7FB94096E83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8048" y="3602038"/>
            <a:ext cx="10107562" cy="1655762"/>
          </a:xfrm>
        </p:spPr>
        <p:txBody>
          <a:bodyPr/>
          <a:lstStyle>
            <a:lvl1pPr marL="0" indent="0" algn="l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err="1"/>
              <a:t>This</a:t>
            </a:r>
            <a:r>
              <a:rPr lang="pl-PL"/>
              <a:t> </a:t>
            </a:r>
            <a:r>
              <a:rPr lang="pl-PL" err="1"/>
              <a:t>is</a:t>
            </a:r>
            <a:r>
              <a:rPr lang="pl-PL"/>
              <a:t> </a:t>
            </a:r>
            <a:r>
              <a:rPr lang="pl-PL" err="1"/>
              <a:t>template</a:t>
            </a:r>
            <a:r>
              <a:rPr lang="pl-PL"/>
              <a:t> of Presentation. </a:t>
            </a:r>
            <a:r>
              <a:rPr lang="pl-PL" err="1"/>
              <a:t>Let’s</a:t>
            </a:r>
            <a:r>
              <a:rPr lang="pl-PL"/>
              <a:t> </a:t>
            </a:r>
            <a:r>
              <a:rPr lang="pl-PL" err="1"/>
              <a:t>Create</a:t>
            </a:r>
            <a:r>
              <a:rPr lang="pl-PL"/>
              <a:t>!</a:t>
            </a:r>
          </a:p>
        </p:txBody>
      </p:sp>
      <p:sp>
        <p:nvSpPr>
          <p:cNvPr id="14" name="Tytuł 1">
            <a:extLst>
              <a:ext uri="{FF2B5EF4-FFF2-40B4-BE49-F238E27FC236}">
                <a16:creationId xmlns:a16="http://schemas.microsoft.com/office/drawing/2014/main" id="{96148336-9628-9245-9708-3F0C8DFF3E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8048" y="1332689"/>
            <a:ext cx="10447652" cy="2177274"/>
          </a:xfrm>
        </p:spPr>
        <p:txBody>
          <a:bodyPr anchor="b">
            <a:normAutofit/>
          </a:bodyPr>
          <a:lstStyle>
            <a:lvl1pPr algn="l">
              <a:defRPr sz="5500" b="1" spc="-150">
                <a:solidFill>
                  <a:schemeClr val="bg1"/>
                </a:solidFill>
              </a:defRPr>
            </a:lvl1pPr>
          </a:lstStyle>
          <a:p>
            <a:r>
              <a:rPr lang="pl-PL"/>
              <a:t>Hello World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91FB4A8-DA88-1540-9DB5-7DB2123BBE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8047" y="5788505"/>
            <a:ext cx="5396457" cy="4875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eneva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day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6 </a:t>
            </a: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une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020</a:t>
            </a:r>
          </a:p>
        </p:txBody>
      </p:sp>
    </p:spTree>
    <p:extLst>
      <p:ext uri="{BB962C8B-B14F-4D97-AF65-F5344CB8AC3E}">
        <p14:creationId xmlns:p14="http://schemas.microsoft.com/office/powerpoint/2010/main" val="758559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rganisational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4" name="SmartArt Placeholder 2">
            <a:extLst>
              <a:ext uri="{FF2B5EF4-FFF2-40B4-BE49-F238E27FC236}">
                <a16:creationId xmlns:a16="http://schemas.microsoft.com/office/drawing/2014/main" id="{C9EE6DDF-4503-8B4F-8836-08F07EAC62C0}"/>
              </a:ext>
            </a:extLst>
          </p:cNvPr>
          <p:cNvSpPr>
            <a:spLocks noGrp="1"/>
          </p:cNvSpPr>
          <p:nvPr>
            <p:ph type="dgm" sz="quarter" idx="17"/>
          </p:nvPr>
        </p:nvSpPr>
        <p:spPr>
          <a:xfrm>
            <a:off x="868790" y="2545887"/>
            <a:ext cx="10476847" cy="3434391"/>
          </a:xfrm>
        </p:spPr>
        <p:txBody>
          <a:bodyPr/>
          <a:lstStyle/>
          <a:p>
            <a:endParaRPr lang="en-VN"/>
          </a:p>
        </p:txBody>
      </p:sp>
      <p:sp>
        <p:nvSpPr>
          <p:cNvPr id="11" name="Tytuł 1">
            <a:extLst>
              <a:ext uri="{FF2B5EF4-FFF2-40B4-BE49-F238E27FC236}">
                <a16:creationId xmlns:a16="http://schemas.microsoft.com/office/drawing/2014/main" id="{EEC792C8-E504-3F40-ACD9-AB64AF98C4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/>
              <a:t>Char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4FD9722D-4087-514F-AABA-0E8F73EC51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Organisational</a:t>
            </a:r>
            <a:endParaRPr lang="pl-PL"/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9EADA050-CE5F-4E62-8280-485DFF5021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867783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B98592D-B95E-1191-57BE-D2344E401C14}"/>
              </a:ext>
            </a:extLst>
          </p:cNvPr>
          <p:cNvCxnSpPr>
            <a:cxnSpLocks/>
          </p:cNvCxnSpPr>
          <p:nvPr userDrawn="1"/>
        </p:nvCxnSpPr>
        <p:spPr>
          <a:xfrm>
            <a:off x="10098593" y="596900"/>
            <a:ext cx="0" cy="12506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40DE1921-6560-245A-3DA2-FF3D6496D917}"/>
              </a:ext>
            </a:extLst>
          </p:cNvPr>
          <p:cNvSpPr/>
          <p:nvPr userDrawn="1"/>
        </p:nvSpPr>
        <p:spPr>
          <a:xfrm rot="13500000">
            <a:off x="198841" y="5916635"/>
            <a:ext cx="441180" cy="441180"/>
          </a:xfrm>
          <a:prstGeom prst="rtTriangle">
            <a:avLst/>
          </a:prstGeom>
          <a:solidFill>
            <a:srgbClr val="3391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51CE358-7C14-F884-0AFE-D17F74D38D19}"/>
              </a:ext>
            </a:extLst>
          </p:cNvPr>
          <p:cNvCxnSpPr/>
          <p:nvPr userDrawn="1"/>
        </p:nvCxnSpPr>
        <p:spPr>
          <a:xfrm>
            <a:off x="419431" y="667099"/>
            <a:ext cx="44118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B8D0EC5-9215-E89A-6C76-FDFE3B9B6CEF}"/>
              </a:ext>
            </a:extLst>
          </p:cNvPr>
          <p:cNvCxnSpPr/>
          <p:nvPr userDrawn="1"/>
        </p:nvCxnSpPr>
        <p:spPr>
          <a:xfrm>
            <a:off x="419431" y="667099"/>
            <a:ext cx="0" cy="649749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picture containing icon&#10;&#10;Description automatically generated">
            <a:extLst>
              <a:ext uri="{FF2B5EF4-FFF2-40B4-BE49-F238E27FC236}">
                <a16:creationId xmlns:a16="http://schemas.microsoft.com/office/drawing/2014/main" id="{1858BF7E-6CBB-964D-7FDC-78B41682F5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15214" y="381413"/>
            <a:ext cx="905886" cy="29875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95F0321-BB89-5283-49B9-82C126BC309E}"/>
              </a:ext>
            </a:extLst>
          </p:cNvPr>
          <p:cNvCxnSpPr>
            <a:cxnSpLocks/>
          </p:cNvCxnSpPr>
          <p:nvPr userDrawn="1"/>
        </p:nvCxnSpPr>
        <p:spPr>
          <a:xfrm>
            <a:off x="1723604" y="667099"/>
            <a:ext cx="944103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7" name="Picture 16" descr="Logo&#10;&#10;Description automatically generated with low confidence">
            <a:extLst>
              <a:ext uri="{FF2B5EF4-FFF2-40B4-BE49-F238E27FC236}">
                <a16:creationId xmlns:a16="http://schemas.microsoft.com/office/drawing/2014/main" id="{40486EDA-12C4-1FAF-EEF9-68D55E0A35D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25595" y="194919"/>
            <a:ext cx="657279" cy="929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930834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ce Column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43F52C0-FDC1-D54C-94B2-7FC551F1EA3E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96CC22B9-932E-6E42-8488-14772F8F6244}" type="slidenum">
              <a:rPr lang="en-GB" b="1" i="1" smtClean="0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GB" b="1" i="1" dirty="0">
              <a:solidFill>
                <a:srgbClr val="29A457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2" name="Obraz 3" descr="Obraz zawierający znak, zegar&#10;&#10;Opis wygenerowany automatycznie">
            <a:extLst>
              <a:ext uri="{FF2B5EF4-FFF2-40B4-BE49-F238E27FC236}">
                <a16:creationId xmlns:a16="http://schemas.microsoft.com/office/drawing/2014/main" id="{DF856BA4-CF54-3941-AE63-3FD4310F1C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914B2FF-DA8D-EF4D-9FA7-3F6D6C7AFA2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6359" y="2537783"/>
            <a:ext cx="10499281" cy="348201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dirty="0" err="1"/>
              <a:t>Suspendisse</a:t>
            </a:r>
            <a:r>
              <a:rPr lang="pl-PL" dirty="0"/>
              <a:t> </a:t>
            </a:r>
            <a:r>
              <a:rPr lang="pl-PL" dirty="0" err="1"/>
              <a:t>nec</a:t>
            </a:r>
            <a:r>
              <a:rPr lang="pl-PL" dirty="0"/>
              <a:t> </a:t>
            </a:r>
            <a:r>
              <a:rPr lang="pl-PL" dirty="0" err="1"/>
              <a:t>risus</a:t>
            </a:r>
            <a:r>
              <a:rPr lang="pl-PL" dirty="0"/>
              <a:t> et </a:t>
            </a:r>
            <a:r>
              <a:rPr lang="pl-PL" dirty="0" err="1"/>
              <a:t>risus</a:t>
            </a:r>
            <a:r>
              <a:rPr lang="pl-PL" dirty="0"/>
              <a:t> </a:t>
            </a:r>
            <a:r>
              <a:rPr lang="pl-PL" dirty="0" err="1"/>
              <a:t>gravida</a:t>
            </a:r>
            <a:r>
              <a:rPr lang="pl-PL" dirty="0"/>
              <a:t> </a:t>
            </a:r>
            <a:r>
              <a:rPr lang="pl-PL" dirty="0" err="1"/>
              <a:t>condimentum</a:t>
            </a:r>
            <a:r>
              <a:rPr lang="pl-PL" dirty="0"/>
              <a:t> non </a:t>
            </a:r>
            <a:r>
              <a:rPr lang="pl-PL" dirty="0" err="1"/>
              <a:t>at</a:t>
            </a:r>
            <a:r>
              <a:rPr lang="pl-PL" dirty="0"/>
              <a:t> nunc. Nulla in </a:t>
            </a:r>
            <a:r>
              <a:rPr lang="pl-PL" dirty="0" err="1"/>
              <a:t>libero</a:t>
            </a:r>
            <a:r>
              <a:rPr lang="pl-PL" dirty="0"/>
              <a:t> </a:t>
            </a:r>
            <a:r>
              <a:rPr lang="pl-PL" dirty="0" err="1"/>
              <a:t>odio</a:t>
            </a:r>
            <a:r>
              <a:rPr lang="pl-PL" dirty="0"/>
              <a:t>. </a:t>
            </a:r>
            <a:r>
              <a:rPr lang="pl-PL" b="1" dirty="0" err="1">
                <a:solidFill>
                  <a:schemeClr val="tx1"/>
                </a:solidFill>
              </a:rPr>
              <a:t>Proin</a:t>
            </a:r>
            <a:r>
              <a:rPr lang="pl-PL" b="1" dirty="0">
                <a:solidFill>
                  <a:schemeClr val="tx1"/>
                </a:solidFill>
              </a:rPr>
              <a:t> vitae </a:t>
            </a:r>
            <a:r>
              <a:rPr lang="pl-PL" b="1" dirty="0" err="1">
                <a:solidFill>
                  <a:schemeClr val="tx1"/>
                </a:solidFill>
              </a:rPr>
              <a:t>odio</a:t>
            </a:r>
            <a:r>
              <a:rPr lang="pl-PL" b="1" dirty="0">
                <a:solidFill>
                  <a:schemeClr val="tx1"/>
                </a:solidFill>
              </a:rPr>
              <a:t> </a:t>
            </a:r>
            <a:r>
              <a:rPr lang="pl-PL" b="1" dirty="0" err="1">
                <a:solidFill>
                  <a:schemeClr val="tx1"/>
                </a:solidFill>
              </a:rPr>
              <a:t>ut</a:t>
            </a:r>
            <a:r>
              <a:rPr lang="pl-PL" b="1" dirty="0">
                <a:solidFill>
                  <a:schemeClr val="tx1"/>
                </a:solidFill>
              </a:rPr>
              <a:t> </a:t>
            </a:r>
            <a:r>
              <a:rPr lang="pl-PL" b="1" dirty="0" err="1">
                <a:solidFill>
                  <a:schemeClr val="tx1"/>
                </a:solidFill>
              </a:rPr>
              <a:t>arcu</a:t>
            </a:r>
            <a:r>
              <a:rPr lang="pl-PL" b="1" dirty="0">
                <a:solidFill>
                  <a:schemeClr val="tx1"/>
                </a:solidFill>
              </a:rPr>
              <a:t> </a:t>
            </a:r>
            <a:r>
              <a:rPr lang="pl-PL" b="1" dirty="0" err="1">
                <a:solidFill>
                  <a:schemeClr val="tx1"/>
                </a:solidFill>
              </a:rPr>
              <a:t>auctor</a:t>
            </a:r>
            <a:r>
              <a:rPr lang="pl-PL" b="1" dirty="0">
                <a:solidFill>
                  <a:schemeClr val="tx1"/>
                </a:solidFill>
              </a:rPr>
              <a:t> </a:t>
            </a:r>
            <a:r>
              <a:rPr lang="pl-PL" b="1" dirty="0" err="1">
                <a:solidFill>
                  <a:schemeClr val="tx1"/>
                </a:solidFill>
              </a:rPr>
              <a:t>faucibus</a:t>
            </a:r>
            <a:r>
              <a:rPr lang="pl-PL" b="1" dirty="0">
                <a:solidFill>
                  <a:schemeClr val="tx1"/>
                </a:solidFill>
              </a:rPr>
              <a:t> </a:t>
            </a:r>
            <a:r>
              <a:rPr lang="pl-PL" dirty="0" err="1"/>
              <a:t>eu</a:t>
            </a:r>
            <a:r>
              <a:rPr lang="pl-PL" dirty="0"/>
              <a:t> </a:t>
            </a:r>
            <a:r>
              <a:rPr lang="pl-PL" dirty="0" err="1"/>
              <a:t>at</a:t>
            </a:r>
            <a:r>
              <a:rPr lang="pl-PL" dirty="0"/>
              <a:t> </a:t>
            </a:r>
            <a:r>
              <a:rPr lang="pl-PL" dirty="0" err="1"/>
              <a:t>purus</a:t>
            </a:r>
            <a:r>
              <a:rPr lang="pl-PL" dirty="0"/>
              <a:t>. </a:t>
            </a:r>
            <a:r>
              <a:rPr lang="pl-PL" dirty="0" err="1"/>
              <a:t>Cras</a:t>
            </a:r>
            <a:r>
              <a:rPr lang="pl-PL" dirty="0"/>
              <a:t> vel </a:t>
            </a:r>
            <a:r>
              <a:rPr lang="pl-PL" dirty="0" err="1"/>
              <a:t>arcu</a:t>
            </a:r>
            <a:r>
              <a:rPr lang="pl-PL" dirty="0"/>
              <a:t> </a:t>
            </a:r>
            <a:r>
              <a:rPr lang="pl-PL" dirty="0" err="1"/>
              <a:t>quis</a:t>
            </a:r>
            <a:r>
              <a:rPr lang="pl-PL" dirty="0"/>
              <a:t> </a:t>
            </a:r>
            <a:r>
              <a:rPr lang="pl-PL" dirty="0" err="1"/>
              <a:t>nibh</a:t>
            </a:r>
            <a:r>
              <a:rPr lang="pl-PL" dirty="0"/>
              <a:t> </a:t>
            </a:r>
            <a:r>
              <a:rPr lang="pl-PL" dirty="0" err="1"/>
              <a:t>tincidunt</a:t>
            </a:r>
            <a:r>
              <a:rPr lang="pl-PL" dirty="0"/>
              <a:t> </a:t>
            </a:r>
            <a:r>
              <a:rPr lang="pl-PL" dirty="0" err="1"/>
              <a:t>eleifend</a:t>
            </a:r>
            <a:r>
              <a:rPr lang="pl-PL" dirty="0"/>
              <a:t> </a:t>
            </a:r>
            <a:r>
              <a:rPr lang="pl-PL" dirty="0" err="1"/>
              <a:t>sed</a:t>
            </a:r>
            <a:r>
              <a:rPr lang="pl-PL" dirty="0"/>
              <a:t> </a:t>
            </a:r>
            <a:r>
              <a:rPr lang="pl-PL" dirty="0" err="1"/>
              <a:t>ac</a:t>
            </a:r>
            <a:r>
              <a:rPr lang="pl-PL" dirty="0"/>
              <a:t> </a:t>
            </a:r>
            <a:r>
              <a:rPr lang="pl-PL" dirty="0" err="1"/>
              <a:t>risus</a:t>
            </a:r>
            <a:r>
              <a:rPr lang="pl-PL" dirty="0"/>
              <a:t>. </a:t>
            </a:r>
            <a:r>
              <a:rPr lang="pl-PL" dirty="0" err="1"/>
              <a:t>Duis</a:t>
            </a:r>
            <a:r>
              <a:rPr lang="pl-PL" dirty="0"/>
              <a:t> </a:t>
            </a:r>
            <a:r>
              <a:rPr lang="pl-PL" dirty="0" err="1"/>
              <a:t>tincidunt</a:t>
            </a:r>
            <a:r>
              <a:rPr lang="pl-PL" dirty="0"/>
              <a:t> </a:t>
            </a:r>
            <a:r>
              <a:rPr lang="pl-PL" dirty="0" err="1"/>
              <a:t>lacinia</a:t>
            </a:r>
            <a:r>
              <a:rPr lang="pl-PL" dirty="0"/>
              <a:t> </a:t>
            </a:r>
            <a:r>
              <a:rPr lang="pl-PL" dirty="0" err="1"/>
              <a:t>est</a:t>
            </a:r>
            <a:r>
              <a:rPr lang="pl-PL" dirty="0"/>
              <a:t>, </a:t>
            </a:r>
            <a:r>
              <a:rPr lang="pl-PL" dirty="0" err="1"/>
              <a:t>sed</a:t>
            </a:r>
            <a:r>
              <a:rPr lang="pl-PL" dirty="0"/>
              <a:t> </a:t>
            </a:r>
            <a:r>
              <a:rPr lang="pl-PL" dirty="0" err="1"/>
              <a:t>tempus</a:t>
            </a:r>
            <a:r>
              <a:rPr lang="pl-PL" dirty="0"/>
              <a:t> </a:t>
            </a:r>
            <a:r>
              <a:rPr lang="pl-PL" dirty="0" err="1"/>
              <a:t>erat</a:t>
            </a:r>
            <a:r>
              <a:rPr lang="pl-PL" dirty="0"/>
              <a:t> </a:t>
            </a:r>
            <a:r>
              <a:rPr lang="pl-PL" dirty="0" err="1"/>
              <a:t>semper</a:t>
            </a:r>
            <a:r>
              <a:rPr lang="pl-PL" dirty="0"/>
              <a:t> sit </a:t>
            </a:r>
            <a:r>
              <a:rPr lang="pl-PL" dirty="0" err="1"/>
              <a:t>amet</a:t>
            </a:r>
            <a:r>
              <a:rPr lang="pl-PL" dirty="0"/>
              <a:t>. </a:t>
            </a:r>
            <a:r>
              <a:rPr lang="pl-PL" dirty="0" err="1"/>
              <a:t>Fusce</a:t>
            </a:r>
            <a:r>
              <a:rPr lang="pl-PL" dirty="0"/>
              <a:t> </a:t>
            </a:r>
            <a:r>
              <a:rPr lang="pl-PL" dirty="0" err="1"/>
              <a:t>sagittis</a:t>
            </a:r>
            <a:r>
              <a:rPr lang="pl-PL" dirty="0"/>
              <a:t> </a:t>
            </a:r>
            <a:r>
              <a:rPr lang="pl-PL" dirty="0" err="1"/>
              <a:t>volutpat</a:t>
            </a:r>
            <a:r>
              <a:rPr lang="pl-PL" dirty="0"/>
              <a:t> </a:t>
            </a:r>
            <a:r>
              <a:rPr lang="pl-PL" dirty="0" err="1"/>
              <a:t>placerat</a:t>
            </a:r>
            <a:r>
              <a:rPr lang="pl-PL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dirty="0" err="1"/>
              <a:t>Suspendisse</a:t>
            </a:r>
            <a:r>
              <a:rPr lang="pl-PL" dirty="0"/>
              <a:t> </a:t>
            </a:r>
            <a:r>
              <a:rPr lang="pl-PL" dirty="0" err="1"/>
              <a:t>nec</a:t>
            </a:r>
            <a:r>
              <a:rPr lang="pl-PL" dirty="0"/>
              <a:t> </a:t>
            </a:r>
            <a:r>
              <a:rPr lang="pl-PL" dirty="0" err="1"/>
              <a:t>risus</a:t>
            </a:r>
            <a:r>
              <a:rPr lang="pl-PL" dirty="0"/>
              <a:t> et </a:t>
            </a:r>
            <a:r>
              <a:rPr lang="pl-PL" dirty="0" err="1"/>
              <a:t>risus</a:t>
            </a:r>
            <a:r>
              <a:rPr lang="pl-PL" dirty="0"/>
              <a:t> </a:t>
            </a:r>
            <a:r>
              <a:rPr lang="pl-PL" dirty="0" err="1"/>
              <a:t>gravida</a:t>
            </a:r>
            <a:r>
              <a:rPr lang="pl-PL" dirty="0"/>
              <a:t> </a:t>
            </a:r>
            <a:r>
              <a:rPr lang="pl-PL" dirty="0" err="1"/>
              <a:t>condimentum</a:t>
            </a:r>
            <a:r>
              <a:rPr lang="pl-PL" dirty="0"/>
              <a:t> non </a:t>
            </a:r>
            <a:r>
              <a:rPr lang="pl-PL" dirty="0" err="1"/>
              <a:t>at</a:t>
            </a:r>
            <a:r>
              <a:rPr lang="pl-PL" dirty="0"/>
              <a:t> nunc. Nulla in </a:t>
            </a:r>
            <a:r>
              <a:rPr lang="pl-PL" dirty="0" err="1"/>
              <a:t>libero</a:t>
            </a:r>
            <a:r>
              <a:rPr lang="pl-PL" dirty="0"/>
              <a:t> </a:t>
            </a:r>
            <a:r>
              <a:rPr lang="pl-PL" dirty="0" err="1"/>
              <a:t>odio</a:t>
            </a:r>
            <a:r>
              <a:rPr lang="pl-PL" dirty="0"/>
              <a:t>. </a:t>
            </a:r>
            <a:r>
              <a:rPr lang="pl-PL" dirty="0" err="1"/>
              <a:t>Proin</a:t>
            </a:r>
            <a:r>
              <a:rPr lang="pl-PL" dirty="0"/>
              <a:t> vitae </a:t>
            </a:r>
            <a:r>
              <a:rPr lang="pl-PL" dirty="0" err="1"/>
              <a:t>odio</a:t>
            </a:r>
            <a:r>
              <a:rPr lang="pl-PL" dirty="0"/>
              <a:t> </a:t>
            </a:r>
            <a:r>
              <a:rPr lang="pl-PL" dirty="0" err="1"/>
              <a:t>ut</a:t>
            </a:r>
            <a:r>
              <a:rPr lang="pl-PL" dirty="0"/>
              <a:t> </a:t>
            </a:r>
            <a:r>
              <a:rPr lang="pl-PL" dirty="0" err="1"/>
              <a:t>arcu</a:t>
            </a:r>
            <a:r>
              <a:rPr lang="pl-PL" dirty="0"/>
              <a:t> </a:t>
            </a:r>
            <a:r>
              <a:rPr lang="pl-PL" dirty="0" err="1"/>
              <a:t>auctor</a:t>
            </a:r>
            <a:r>
              <a:rPr lang="pl-PL" dirty="0"/>
              <a:t> </a:t>
            </a:r>
            <a:r>
              <a:rPr lang="pl-PL" dirty="0" err="1"/>
              <a:t>faucibus</a:t>
            </a:r>
            <a:r>
              <a:rPr lang="pl-PL" dirty="0"/>
              <a:t> </a:t>
            </a:r>
            <a:r>
              <a:rPr lang="pl-PL" dirty="0" err="1"/>
              <a:t>eu</a:t>
            </a:r>
            <a:r>
              <a:rPr lang="pl-PL" dirty="0"/>
              <a:t> </a:t>
            </a:r>
            <a:r>
              <a:rPr lang="pl-PL" dirty="0" err="1"/>
              <a:t>at</a:t>
            </a:r>
            <a:r>
              <a:rPr lang="pl-PL" dirty="0"/>
              <a:t> </a:t>
            </a:r>
            <a:r>
              <a:rPr lang="pl-PL" dirty="0" err="1"/>
              <a:t>purus</a:t>
            </a:r>
            <a:r>
              <a:rPr lang="pl-PL" dirty="0"/>
              <a:t>.</a:t>
            </a:r>
            <a:endParaRPr lang="pl-PL" b="1" dirty="0">
              <a:solidFill>
                <a:schemeClr val="tx1"/>
              </a:solidFill>
            </a:endParaRP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7AE6B6A5-9D9B-AB44-A0F3-A27659F33151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846359" y="906011"/>
            <a:ext cx="6275388" cy="568080"/>
          </a:xfrm>
        </p:spPr>
        <p:txBody>
          <a:bodyPr anchor="ctr"/>
          <a:lstStyle>
            <a:lvl1pPr>
              <a:buNone/>
              <a:defRPr sz="4000" b="1">
                <a:solidFill>
                  <a:srgbClr val="29A45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 dirty="0"/>
              <a:t>Header</a:t>
            </a:r>
          </a:p>
        </p:txBody>
      </p:sp>
      <p:sp>
        <p:nvSpPr>
          <p:cNvPr id="11" name="Tytuł 1">
            <a:extLst>
              <a:ext uri="{FF2B5EF4-FFF2-40B4-BE49-F238E27FC236}">
                <a16:creationId xmlns:a16="http://schemas.microsoft.com/office/drawing/2014/main" id="{A172CC45-3276-3F4E-A9C0-D704064674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0" y="1477266"/>
            <a:ext cx="627538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dirty="0" err="1"/>
              <a:t>Subheading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90765664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7" name="Tytuł 1">
            <a:extLst>
              <a:ext uri="{FF2B5EF4-FFF2-40B4-BE49-F238E27FC236}">
                <a16:creationId xmlns:a16="http://schemas.microsoft.com/office/drawing/2014/main" id="{929E80EC-ABB5-FC47-BF91-33C7057C3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dirty="0" err="1"/>
              <a:t>Subheading</a:t>
            </a:r>
            <a:endParaRPr lang="pl-PL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2220840-5540-F14A-BC1E-444C1BD005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253927"/>
            <a:ext cx="8806338" cy="679767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dirty="0" err="1"/>
              <a:t>Header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464549074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51EAFE-3091-4676-99F7-C33CE9FB3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7A0CCA-AD45-4BD5-BDBE-33437EB199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F703EB-E782-457A-8985-CCC860D610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4599451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A11A7A7-96E8-447F-B820-32EC2C08F8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717" t="12503" r="8717" b="25578"/>
          <a:stretch/>
        </p:blipFill>
        <p:spPr>
          <a:xfrm>
            <a:off x="0" y="40999"/>
            <a:ext cx="12192000" cy="6856215"/>
          </a:xfrm>
          <a:prstGeom prst="rect">
            <a:avLst/>
          </a:prstGeom>
        </p:spPr>
      </p:pic>
      <p:pic>
        <p:nvPicPr>
          <p:cNvPr id="8" name="Picture Placeholder 3">
            <a:extLst>
              <a:ext uri="{FF2B5EF4-FFF2-40B4-BE49-F238E27FC236}">
                <a16:creationId xmlns:a16="http://schemas.microsoft.com/office/drawing/2014/main" id="{5F24AAB0-EB91-408E-88EA-6CC025779F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545" t="30015" r="23209" b="44241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pic>
        <p:nvPicPr>
          <p:cNvPr id="10" name="Picture Placeholder 3">
            <a:extLst>
              <a:ext uri="{FF2B5EF4-FFF2-40B4-BE49-F238E27FC236}">
                <a16:creationId xmlns:a16="http://schemas.microsoft.com/office/drawing/2014/main" id="{44D2B4BF-1DEC-4BE3-9F1E-B2E6FAC97A4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33" b="2133"/>
          <a:stretch>
            <a:fillRect/>
          </a:stretch>
        </p:blipFill>
        <p:spPr>
          <a:xfrm>
            <a:off x="304375" y="364210"/>
            <a:ext cx="3760320" cy="1239865"/>
          </a:xfrm>
          <a:prstGeom prst="rect">
            <a:avLst/>
          </a:prstGeom>
          <a:effectLst/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C627088F-23DB-4948-BBC0-248A5DE24A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691" y="4571850"/>
            <a:ext cx="3970267" cy="1180898"/>
          </a:xfrm>
        </p:spPr>
        <p:txBody>
          <a:bodyPr>
            <a:normAutofit/>
          </a:bodyPr>
          <a:lstStyle>
            <a:lvl1pPr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004484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51EAFE-3091-4676-99F7-C33CE9FB3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7A0CCA-AD45-4BD5-BDBE-33437EB199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F703EB-E782-457A-8985-CCC860D610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723186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38E89ED-C925-4853-931A-C5A5972F27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747" b="32004"/>
          <a:stretch/>
        </p:blipFill>
        <p:spPr>
          <a:xfrm>
            <a:off x="0" y="0"/>
            <a:ext cx="12192000" cy="4591396"/>
          </a:xfrm>
          <a:prstGeom prst="rect">
            <a:avLst/>
          </a:prstGeom>
        </p:spPr>
      </p:pic>
      <p:pic>
        <p:nvPicPr>
          <p:cNvPr id="13" name="Picture Placeholder 3">
            <a:extLst>
              <a:ext uri="{FF2B5EF4-FFF2-40B4-BE49-F238E27FC236}">
                <a16:creationId xmlns:a16="http://schemas.microsoft.com/office/drawing/2014/main" id="{EDB6BE01-BED3-427E-A53D-247B1380FE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545" t="30071" r="23209" b="52727"/>
          <a:stretch/>
        </p:blipFill>
        <p:spPr>
          <a:xfrm>
            <a:off x="0" y="-19274"/>
            <a:ext cx="12192000" cy="4610670"/>
          </a:xfrm>
          <a:prstGeom prst="rect">
            <a:avLst/>
          </a:prstGeom>
          <a:effectLst/>
        </p:spPr>
      </p:pic>
      <p:sp>
        <p:nvSpPr>
          <p:cNvPr id="9" name="Text Placeholder 19">
            <a:extLst>
              <a:ext uri="{FF2B5EF4-FFF2-40B4-BE49-F238E27FC236}">
                <a16:creationId xmlns:a16="http://schemas.microsoft.com/office/drawing/2014/main" id="{8AFFD45E-2141-42E7-BFD7-ED5B9272E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691" y="5816899"/>
            <a:ext cx="11164620" cy="53525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800" spc="0"/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2F9C9D7-58B6-4A09-85E3-F4FCC1FBFF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691" y="4613699"/>
            <a:ext cx="11164620" cy="1180898"/>
          </a:xfrm>
        </p:spPr>
        <p:txBody>
          <a:bodyPr>
            <a:normAutofit/>
          </a:bodyPr>
          <a:lstStyle>
            <a:lvl1pPr>
              <a:defRPr sz="33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2" name="Picture Placeholder 3">
            <a:extLst>
              <a:ext uri="{FF2B5EF4-FFF2-40B4-BE49-F238E27FC236}">
                <a16:creationId xmlns:a16="http://schemas.microsoft.com/office/drawing/2014/main" id="{6741FA13-C841-447D-AA19-220C84290B5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33" b="2133"/>
          <a:stretch>
            <a:fillRect/>
          </a:stretch>
        </p:blipFill>
        <p:spPr>
          <a:xfrm>
            <a:off x="304375" y="582714"/>
            <a:ext cx="3097633" cy="1021361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831640608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8F638-0A3B-489E-B1F9-AE75F727F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3E150C-FB1D-4D97-B25E-514811C116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3690" y="1960601"/>
            <a:ext cx="5384867" cy="44386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E29D32C-83EA-40F2-BB17-9BA54ECAF1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3444" y="1960601"/>
            <a:ext cx="5384867" cy="44386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EB8B03-A891-47D6-A92C-5327DEE46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13290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8F638-0A3B-489E-B1F9-AE75F727F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3E150C-FB1D-4D97-B25E-514811C116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3691" y="1960601"/>
            <a:ext cx="3579873" cy="44386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EB8B03-A891-47D6-A92C-5327DEE46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32BC15B-4CDC-42D3-81FD-C5F2A29E211F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306065" y="1960601"/>
            <a:ext cx="3579873" cy="44386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9E00157-4D65-4246-916C-B665FDA514C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098438" y="1960601"/>
            <a:ext cx="3579873" cy="44386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7411191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8F638-0A3B-489E-B1F9-AE75F727F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3E150C-FB1D-4D97-B25E-514811C116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3691" y="1960601"/>
            <a:ext cx="3579873" cy="44386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EB8B03-A891-47D6-A92C-5327DEE46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32BC15B-4CDC-42D3-81FD-C5F2A29E211F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306063" y="1960601"/>
            <a:ext cx="7372247" cy="44386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351195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ymbol zastępczy numeru slajdu 5">
            <a:extLst>
              <a:ext uri="{FF2B5EF4-FFF2-40B4-BE49-F238E27FC236}">
                <a16:creationId xmlns:a16="http://schemas.microsoft.com/office/drawing/2014/main" id="{53E83CEF-607C-41E1-83A7-A80B1C0345A9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7"/>
            <a:ext cx="10504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l" defTabSz="914400" rtl="0" eaLnBrk="1" latinLnBrk="0" hangingPunct="1">
              <a:defRPr sz="1200" b="1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FD7E4E4-5BBC-3144-81F6-BE086EF4664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398814" y="2422338"/>
            <a:ext cx="1303338" cy="1303338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0104F3A1-122D-9E43-8ABB-1F2BE99402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945922" y="2435390"/>
            <a:ext cx="2927584" cy="82060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72E2E9E8-87C2-DE43-99AB-BB0BB356238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95626" y="2435390"/>
            <a:ext cx="2927584" cy="82060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A06AA3E9-1EF5-C745-994B-FF3BB785DBA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5625" y="3267036"/>
            <a:ext cx="2927585" cy="469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Job </a:t>
            </a:r>
            <a:r>
              <a:rPr lang="pl-PL" err="1"/>
              <a:t>position</a:t>
            </a:r>
            <a:endParaRPr lang="pl-PL"/>
          </a:p>
        </p:txBody>
      </p:sp>
      <p:sp>
        <p:nvSpPr>
          <p:cNvPr id="31" name="Text Placeholder 60">
            <a:extLst>
              <a:ext uri="{FF2B5EF4-FFF2-40B4-BE49-F238E27FC236}">
                <a16:creationId xmlns:a16="http://schemas.microsoft.com/office/drawing/2014/main" id="{B068799D-3753-9D4D-9556-6CB1ADFDDE3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08789" y="3943978"/>
            <a:ext cx="4479480" cy="191275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33" name="Text Placeholder 60">
            <a:extLst>
              <a:ext uri="{FF2B5EF4-FFF2-40B4-BE49-F238E27FC236}">
                <a16:creationId xmlns:a16="http://schemas.microsoft.com/office/drawing/2014/main" id="{F6D78EDB-59F3-A74F-AE67-77B092CD525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43730" y="3937957"/>
            <a:ext cx="4479480" cy="191275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D80B7087-0113-8E49-8685-221D4DD4678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843730" y="2435390"/>
            <a:ext cx="1303338" cy="1303338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15" name="Tytuł 1">
            <a:extLst>
              <a:ext uri="{FF2B5EF4-FFF2-40B4-BE49-F238E27FC236}">
                <a16:creationId xmlns:a16="http://schemas.microsoft.com/office/drawing/2014/main" id="{EF425BDB-F83B-3740-BA0E-5BC71F603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1BF282F-7D7D-354E-A8A9-4ED744B7FB1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Peopl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F0D5944E-9DCB-FD42-AC93-727D5DE51CE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945921" y="3270644"/>
            <a:ext cx="2927585" cy="469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Job </a:t>
            </a:r>
            <a:r>
              <a:rPr lang="pl-PL" err="1"/>
              <a:t>position</a:t>
            </a:r>
            <a:endParaRPr lang="pl-PL"/>
          </a:p>
        </p:txBody>
      </p:sp>
      <p:pic>
        <p:nvPicPr>
          <p:cNvPr id="4" name="Obraz 3" descr="Obraz zawierający znak, zegar&#10;&#10;Opis wygenerowany automatycznie">
            <a:extLst>
              <a:ext uri="{FF2B5EF4-FFF2-40B4-BE49-F238E27FC236}">
                <a16:creationId xmlns:a16="http://schemas.microsoft.com/office/drawing/2014/main" id="{973D65FA-04BF-459D-A159-EFB4AA012EF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283591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28F638-0A3B-489E-B1F9-AE75F727F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3E150C-FB1D-4D97-B25E-514811C116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3691" y="1960601"/>
            <a:ext cx="7372246" cy="44386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EB8B03-A891-47D6-A92C-5327DEE46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9E00157-4D65-4246-916C-B665FDA514C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098438" y="1960601"/>
            <a:ext cx="3579873" cy="44386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3111870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9EDFED6F-486D-47BB-A9AD-81E554DFCD36}"/>
              </a:ext>
            </a:extLst>
          </p:cNvPr>
          <p:cNvSpPr/>
          <p:nvPr userDrawn="1"/>
        </p:nvSpPr>
        <p:spPr>
          <a:xfrm>
            <a:off x="1572480" y="1970204"/>
            <a:ext cx="1606194" cy="1605776"/>
          </a:xfrm>
          <a:prstGeom prst="ellipse">
            <a:avLst/>
          </a:prstGeom>
          <a:gradFill>
            <a:gsLst>
              <a:gs pos="0">
                <a:schemeClr val="accent2"/>
              </a:gs>
              <a:gs pos="99000">
                <a:schemeClr val="accent3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6269894-36D0-4649-AE39-CF071BBAE8E0}"/>
              </a:ext>
            </a:extLst>
          </p:cNvPr>
          <p:cNvSpPr/>
          <p:nvPr userDrawn="1"/>
        </p:nvSpPr>
        <p:spPr>
          <a:xfrm>
            <a:off x="5292903" y="1970204"/>
            <a:ext cx="1606194" cy="1605776"/>
          </a:xfrm>
          <a:prstGeom prst="ellipse">
            <a:avLst/>
          </a:prstGeom>
          <a:gradFill>
            <a:gsLst>
              <a:gs pos="0">
                <a:schemeClr val="accent2"/>
              </a:gs>
              <a:gs pos="99000">
                <a:schemeClr val="accent3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0F6697B-587F-4C7A-84D5-47ECEBB7E555}"/>
              </a:ext>
            </a:extLst>
          </p:cNvPr>
          <p:cNvSpPr/>
          <p:nvPr userDrawn="1"/>
        </p:nvSpPr>
        <p:spPr>
          <a:xfrm>
            <a:off x="9019174" y="1970204"/>
            <a:ext cx="1606194" cy="1605776"/>
          </a:xfrm>
          <a:prstGeom prst="ellipse">
            <a:avLst/>
          </a:prstGeom>
          <a:gradFill>
            <a:gsLst>
              <a:gs pos="0">
                <a:schemeClr val="accent2"/>
              </a:gs>
              <a:gs pos="99000">
                <a:schemeClr val="accent3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28F638-0A3B-489E-B1F9-AE75F727F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3E150C-FB1D-4D97-B25E-514811C116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3691" y="3880625"/>
            <a:ext cx="3579873" cy="2518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EB8B03-A891-47D6-A92C-5327DEE46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32BC15B-4CDC-42D3-81FD-C5F2A29E211F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306064" y="3880625"/>
            <a:ext cx="3579873" cy="2518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9E00157-4D65-4246-916C-B665FDA514C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098438" y="3880625"/>
            <a:ext cx="3579873" cy="2518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5151841B-6885-4808-8AB8-6F9545C530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10902" y="2504301"/>
            <a:ext cx="1342882" cy="500856"/>
          </a:xfrm>
        </p:spPr>
        <p:txBody>
          <a:bodyPr anchor="ctr">
            <a:no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DA62D56D-AEE0-4039-B880-9E612602EE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50829" y="2504301"/>
            <a:ext cx="1342882" cy="500856"/>
          </a:xfrm>
        </p:spPr>
        <p:txBody>
          <a:bodyPr anchor="ctr">
            <a:no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9241D3C-C485-4AD3-83E1-4D690A7D82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24559" y="2504301"/>
            <a:ext cx="1342882" cy="500856"/>
          </a:xfrm>
        </p:spPr>
        <p:txBody>
          <a:bodyPr anchor="ctr">
            <a:no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804209025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5C17C6D-6304-44D3-9E70-C69F66F45FA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28F638-0A3B-489E-B1F9-AE75F727F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690" y="613167"/>
            <a:ext cx="5384867" cy="11808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3E150C-FB1D-4D97-B25E-514811C116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3690" y="1960601"/>
            <a:ext cx="5384867" cy="44386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EB8B03-A891-47D6-A92C-5327DEE46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265081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5C17C6D-6304-44D3-9E70-C69F66F45FA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-22453"/>
            <a:ext cx="6096000" cy="688045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28F638-0A3B-489E-B1F9-AE75F727F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3443" y="613167"/>
            <a:ext cx="5384867" cy="11808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3E150C-FB1D-4D97-B25E-514811C116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93443" y="1960601"/>
            <a:ext cx="5384867" cy="44386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EB8B03-A891-47D6-A92C-5327DEE46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3443" y="6399213"/>
            <a:ext cx="5384867" cy="45878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566602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91869F3-D0D5-4F5D-A888-D847E4ED1B5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774425" cy="6858000"/>
          </a:xfrm>
          <a:custGeom>
            <a:avLst/>
            <a:gdLst>
              <a:gd name="connsiteX0" fmla="*/ 0 w 15544800"/>
              <a:gd name="connsiteY0" fmla="*/ 0 h 13716000"/>
              <a:gd name="connsiteX1" fmla="*/ 3429000 w 15544800"/>
              <a:gd name="connsiteY1" fmla="*/ 0 h 13716000"/>
              <a:gd name="connsiteX2" fmla="*/ 7568119 w 15544800"/>
              <a:gd name="connsiteY2" fmla="*/ 0 h 13716000"/>
              <a:gd name="connsiteX3" fmla="*/ 15544800 w 15544800"/>
              <a:gd name="connsiteY3" fmla="*/ 0 h 13716000"/>
              <a:gd name="connsiteX4" fmla="*/ 12115800 w 15544800"/>
              <a:gd name="connsiteY4" fmla="*/ 13716000 h 13716000"/>
              <a:gd name="connsiteX5" fmla="*/ 0 w 15544800"/>
              <a:gd name="connsiteY5" fmla="*/ 13716000 h 13716000"/>
              <a:gd name="connsiteX6" fmla="*/ 0 w 15544800"/>
              <a:gd name="connsiteY6" fmla="*/ 13715999 h 13716000"/>
              <a:gd name="connsiteX7" fmla="*/ 0 w 15544800"/>
              <a:gd name="connsiteY7" fmla="*/ 13715999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544800" h="13716000">
                <a:moveTo>
                  <a:pt x="0" y="0"/>
                </a:moveTo>
                <a:lnTo>
                  <a:pt x="3429000" y="0"/>
                </a:lnTo>
                <a:lnTo>
                  <a:pt x="7568119" y="0"/>
                </a:lnTo>
                <a:lnTo>
                  <a:pt x="15544800" y="0"/>
                </a:lnTo>
                <a:lnTo>
                  <a:pt x="12115800" y="13716000"/>
                </a:lnTo>
                <a:lnTo>
                  <a:pt x="0" y="13716000"/>
                </a:lnTo>
                <a:lnTo>
                  <a:pt x="0" y="13715999"/>
                </a:lnTo>
                <a:lnTo>
                  <a:pt x="0" y="13715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28F638-0A3B-489E-B1F9-AE75F727F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3443" y="613167"/>
            <a:ext cx="5384867" cy="11808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3E150C-FB1D-4D97-B25E-514811C116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93443" y="1960601"/>
            <a:ext cx="5384867" cy="44386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EB8B03-A891-47D6-A92C-5327DEE46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93443" y="6399213"/>
            <a:ext cx="5384867" cy="45878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5366691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CD952A1-62BC-4DD3-9172-26E8074ECA05}"/>
              </a:ext>
            </a:extLst>
          </p:cNvPr>
          <p:cNvSpPr/>
          <p:nvPr userDrawn="1"/>
        </p:nvSpPr>
        <p:spPr>
          <a:xfrm>
            <a:off x="6096000" y="1960601"/>
            <a:ext cx="5582310" cy="4438612"/>
          </a:xfrm>
          <a:prstGeom prst="rect">
            <a:avLst/>
          </a:prstGeom>
          <a:gradFill>
            <a:gsLst>
              <a:gs pos="0">
                <a:schemeClr val="accent2"/>
              </a:gs>
              <a:gs pos="99000">
                <a:schemeClr val="accent3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28F638-0A3B-489E-B1F9-AE75F727F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691" y="613167"/>
            <a:ext cx="11164620" cy="11808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3E150C-FB1D-4D97-B25E-514811C116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93443" y="2152186"/>
            <a:ext cx="5206459" cy="4080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EB8B03-A891-47D6-A92C-5327DEE46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EB34F8E-A3EC-4C52-ACB5-125E641794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690" y="1960601"/>
            <a:ext cx="5582310" cy="44386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89735817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CD952A1-62BC-4DD3-9172-26E8074ECA05}"/>
              </a:ext>
            </a:extLst>
          </p:cNvPr>
          <p:cNvSpPr/>
          <p:nvPr userDrawn="1"/>
        </p:nvSpPr>
        <p:spPr>
          <a:xfrm>
            <a:off x="6096000" y="1960601"/>
            <a:ext cx="6096000" cy="4438612"/>
          </a:xfrm>
          <a:prstGeom prst="rect">
            <a:avLst/>
          </a:prstGeom>
          <a:gradFill>
            <a:gsLst>
              <a:gs pos="0">
                <a:schemeClr val="accent2"/>
              </a:gs>
              <a:gs pos="99000">
                <a:schemeClr val="accent3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28F638-0A3B-489E-B1F9-AE75F727F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691" y="613167"/>
            <a:ext cx="11164620" cy="11808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3E150C-FB1D-4D97-B25E-514811C116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93443" y="2152186"/>
            <a:ext cx="5206459" cy="40804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EB8B03-A891-47D6-A92C-5327DEE46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EB34F8E-A3EC-4C52-ACB5-125E641794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690" y="1960601"/>
            <a:ext cx="5582310" cy="443861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2B10737F-6794-4634-8D61-936D4CDB2A5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960600"/>
            <a:ext cx="7223563" cy="4438612"/>
          </a:xfrm>
          <a:custGeom>
            <a:avLst/>
            <a:gdLst>
              <a:gd name="connsiteX0" fmla="*/ 3246418 w 14443363"/>
              <a:gd name="connsiteY0" fmla="*/ 0 h 8877224"/>
              <a:gd name="connsiteX1" fmla="*/ 14443363 w 14443363"/>
              <a:gd name="connsiteY1" fmla="*/ 0 h 8877224"/>
              <a:gd name="connsiteX2" fmla="*/ 12224057 w 14443363"/>
              <a:gd name="connsiteY2" fmla="*/ 8877223 h 8877224"/>
              <a:gd name="connsiteX3" fmla="*/ 7128164 w 14443363"/>
              <a:gd name="connsiteY3" fmla="*/ 8877223 h 8877224"/>
              <a:gd name="connsiteX4" fmla="*/ 7128164 w 14443363"/>
              <a:gd name="connsiteY4" fmla="*/ 8877224 h 8877224"/>
              <a:gd name="connsiteX5" fmla="*/ 0 w 14443363"/>
              <a:gd name="connsiteY5" fmla="*/ 8877224 h 8877224"/>
              <a:gd name="connsiteX6" fmla="*/ 0 w 14443363"/>
              <a:gd name="connsiteY6" fmla="*/ 2 h 8877224"/>
              <a:gd name="connsiteX7" fmla="*/ 3246418 w 14443363"/>
              <a:gd name="connsiteY7" fmla="*/ 2 h 8877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443363" h="8877224">
                <a:moveTo>
                  <a:pt x="3246418" y="0"/>
                </a:moveTo>
                <a:lnTo>
                  <a:pt x="14443363" y="0"/>
                </a:lnTo>
                <a:lnTo>
                  <a:pt x="12224057" y="8877223"/>
                </a:lnTo>
                <a:lnTo>
                  <a:pt x="7128164" y="8877223"/>
                </a:lnTo>
                <a:lnTo>
                  <a:pt x="7128164" y="8877224"/>
                </a:lnTo>
                <a:lnTo>
                  <a:pt x="0" y="8877224"/>
                </a:lnTo>
                <a:lnTo>
                  <a:pt x="0" y="2"/>
                </a:lnTo>
                <a:lnTo>
                  <a:pt x="3246418" y="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64427751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5C17C6D-6304-44D3-9E70-C69F66F45FA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-22453"/>
            <a:ext cx="3032543" cy="345145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28F638-0A3B-489E-B1F9-AE75F727F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690" y="613167"/>
            <a:ext cx="5384867" cy="11808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3E150C-FB1D-4D97-B25E-514811C116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3690" y="1960601"/>
            <a:ext cx="5384867" cy="44386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EB8B03-A891-47D6-A92C-5327DEE46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7D073FA4-1AE4-446E-98CB-94DA90E199F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159457" y="-22453"/>
            <a:ext cx="3032543" cy="345145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3F2A601-74DB-4763-9502-5A51349F5685}"/>
              </a:ext>
            </a:extLst>
          </p:cNvPr>
          <p:cNvSpPr/>
          <p:nvPr userDrawn="1"/>
        </p:nvSpPr>
        <p:spPr>
          <a:xfrm>
            <a:off x="6096000" y="3429000"/>
            <a:ext cx="3063457" cy="3429000"/>
          </a:xfrm>
          <a:prstGeom prst="rect">
            <a:avLst/>
          </a:prstGeom>
          <a:gradFill>
            <a:gsLst>
              <a:gs pos="0">
                <a:schemeClr val="accent2"/>
              </a:gs>
              <a:gs pos="99000">
                <a:schemeClr val="accent3"/>
              </a:gs>
            </a:gsLst>
            <a:lin ang="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EB34F8E-A3EC-4C52-ACB5-125E641794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59457" y="3429000"/>
            <a:ext cx="3032543" cy="342884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5295373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0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5C17C6D-6304-44D3-9E70-C69F66F45FA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3690" y="1987064"/>
            <a:ext cx="1836478" cy="219121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3E150C-FB1D-4D97-B25E-514811C116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3690" y="4371278"/>
            <a:ext cx="5384867" cy="20279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EB8B03-A891-47D6-A92C-5327DEE46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C053C76-51AA-469E-91C2-4282EDB06F2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93443" y="4371278"/>
            <a:ext cx="5384867" cy="20279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D7A51C-DD4A-4AFD-9931-43EC417F03A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376369" y="1987064"/>
            <a:ext cx="1836478" cy="219121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77969AD4-6446-41D5-8A72-6AE1B0B3998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39049" y="1987064"/>
            <a:ext cx="1836478" cy="219121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5F09A25D-3CA3-4E22-9083-6408FC53DCA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01728" y="1987064"/>
            <a:ext cx="1836478" cy="219121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C99943A6-6432-451D-AE05-6F5C5588BEC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964407" y="1987064"/>
            <a:ext cx="1836478" cy="219121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62E9B736-750D-4552-B5A9-60BA0AD393C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827086" y="1987064"/>
            <a:ext cx="1836478" cy="219121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CE5908A-296B-4D9E-A3F9-1ED35B2B2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1888693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05">
    <p:bg>
      <p:bgPr>
        <a:gradFill>
          <a:gsLst>
            <a:gs pos="0">
              <a:schemeClr val="accent2"/>
            </a:gs>
            <a:gs pos="100000">
              <a:schemeClr val="accent3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5C17C6D-6304-44D3-9E70-C69F66F45FA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3690" y="1987064"/>
            <a:ext cx="1836478" cy="219121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28F638-0A3B-489E-B1F9-AE75F727F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691" y="613167"/>
            <a:ext cx="11164620" cy="11808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3E150C-FB1D-4D97-B25E-514811C116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3690" y="4371278"/>
            <a:ext cx="5384867" cy="2027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EB8B03-A891-47D6-A92C-5327DEE46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C053C76-51AA-469E-91C2-4282EDB06F2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93443" y="4371278"/>
            <a:ext cx="5384867" cy="2027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D7A51C-DD4A-4AFD-9931-43EC417F03A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376369" y="1987064"/>
            <a:ext cx="1836478" cy="219121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77969AD4-6446-41D5-8A72-6AE1B0B3998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39049" y="1987064"/>
            <a:ext cx="1836478" cy="219121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5F09A25D-3CA3-4E22-9083-6408FC53DCA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01728" y="1987064"/>
            <a:ext cx="1836478" cy="219121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C99943A6-6432-451D-AE05-6F5C5588BEC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964407" y="1987064"/>
            <a:ext cx="1836478" cy="219121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62E9B736-750D-4552-B5A9-60BA0AD393C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827086" y="1987064"/>
            <a:ext cx="1836478" cy="219121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7" name="Picture Placeholder 3">
            <a:extLst>
              <a:ext uri="{FF2B5EF4-FFF2-40B4-BE49-F238E27FC236}">
                <a16:creationId xmlns:a16="http://schemas.microsoft.com/office/drawing/2014/main" id="{0DD7C9DC-CE7A-41E6-82AE-6D3034DAD3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33" b="2133"/>
          <a:stretch>
            <a:fillRect/>
          </a:stretch>
        </p:blipFill>
        <p:spPr>
          <a:xfrm>
            <a:off x="396186" y="389855"/>
            <a:ext cx="1466553" cy="483557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88294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ymbol zastępczy numeru slajdu 5">
            <a:extLst>
              <a:ext uri="{FF2B5EF4-FFF2-40B4-BE49-F238E27FC236}">
                <a16:creationId xmlns:a16="http://schemas.microsoft.com/office/drawing/2014/main" id="{F61F9CEE-A24D-4167-9652-6F0DCFB843BA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7"/>
            <a:ext cx="10504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l" defTabSz="914400" rtl="0" eaLnBrk="1" latinLnBrk="0" hangingPunct="1">
              <a:defRPr sz="1200" b="1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C66D0F66-5DD0-CC47-9406-16BC3B730ED1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398814" y="2418860"/>
            <a:ext cx="1303338" cy="1303338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F069552-AAC9-4140-967D-BBB36666210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945922" y="2431912"/>
            <a:ext cx="2927584" cy="469675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69C5C8F3-08C1-0B4B-820E-D50C6D18D74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45921" y="2926119"/>
            <a:ext cx="2927585" cy="469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Job </a:t>
            </a:r>
            <a:r>
              <a:rPr lang="pl-PL" err="1"/>
              <a:t>position</a:t>
            </a:r>
            <a:endParaRPr lang="pl-PL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451B3AD-1644-6E43-867B-2F5A0BBEC44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843730" y="2431912"/>
            <a:ext cx="1303338" cy="1303338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F4161CB-4C3A-B94B-869A-FED3AF102200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98814" y="4530841"/>
            <a:ext cx="1303338" cy="1303338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4411615A-1143-F74F-AA3B-974154DD0B7D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843730" y="4543893"/>
            <a:ext cx="1303338" cy="1303338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B746B448-3E57-F443-B31B-41815AC9940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945921" y="3406836"/>
            <a:ext cx="2927585" cy="82060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kern="1200" spc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D300C504-C864-AD4E-A7DE-E222E6B1207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949348" y="4530841"/>
            <a:ext cx="2927584" cy="469675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C9464E39-87EE-C441-BB8F-B585640E667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949347" y="5025048"/>
            <a:ext cx="2927585" cy="469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Job </a:t>
            </a:r>
            <a:r>
              <a:rPr lang="pl-PL" err="1"/>
              <a:t>position</a:t>
            </a:r>
            <a:endParaRPr lang="pl-PL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289E6739-D418-E042-BD61-31503F78F6C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949347" y="5505765"/>
            <a:ext cx="2927585" cy="82060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kern="1200" spc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EBFEAA0C-A173-8F47-9201-A2F676532E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85939" y="2431912"/>
            <a:ext cx="2927584" cy="469675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61A5EFAB-F364-764A-BC31-6A7434FDE31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85938" y="2926119"/>
            <a:ext cx="2927585" cy="469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Job </a:t>
            </a:r>
            <a:r>
              <a:rPr lang="pl-PL" err="1"/>
              <a:t>position</a:t>
            </a:r>
            <a:endParaRPr lang="pl-PL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116246CD-539F-B547-82BA-71BA9E02DBB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85938" y="3406836"/>
            <a:ext cx="2927585" cy="82060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kern="1200" spc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639FCED2-BA6F-A54F-8F23-0DEF2CA3231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85939" y="4530841"/>
            <a:ext cx="2927584" cy="469675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E58F7C63-751C-CB4E-A396-CC22CA89ABA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85938" y="5025048"/>
            <a:ext cx="2927585" cy="469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Job </a:t>
            </a:r>
            <a:r>
              <a:rPr lang="pl-PL" err="1"/>
              <a:t>position</a:t>
            </a:r>
            <a:endParaRPr lang="pl-PL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5FFF813A-76B4-CE4F-B80A-B5B2F91EEA0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85938" y="5505765"/>
            <a:ext cx="2927585" cy="82060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kern="1200" spc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9" name="Tytuł 1">
            <a:extLst>
              <a:ext uri="{FF2B5EF4-FFF2-40B4-BE49-F238E27FC236}">
                <a16:creationId xmlns:a16="http://schemas.microsoft.com/office/drawing/2014/main" id="{85BEC029-6B7C-9044-B91D-2783A5453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F8E08C5C-FE16-194E-936E-115ED0F3632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People</a:t>
            </a:r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5E4E33F4-5229-4B13-A1AB-860CA1B1BC4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422780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5F09A25D-3CA3-4E22-9083-6408FC53DCA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13690" y="3871315"/>
            <a:ext cx="1836478" cy="251674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5C17C6D-6304-44D3-9E70-C69F66F45FA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3690" y="1330425"/>
            <a:ext cx="1836478" cy="251674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28F638-0A3B-489E-B1F9-AE75F727F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3443" y="613167"/>
            <a:ext cx="5384867" cy="11808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EB8B03-A891-47D6-A92C-5327DEE46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C053C76-51AA-469E-91C2-4282EDB06F2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93443" y="1987064"/>
            <a:ext cx="5384867" cy="44121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D7A51C-DD4A-4AFD-9931-43EC417F03A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376369" y="1330425"/>
            <a:ext cx="1836478" cy="251674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77969AD4-6446-41D5-8A72-6AE1B0B3998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39049" y="1330425"/>
            <a:ext cx="1836478" cy="251674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C99943A6-6432-451D-AE05-6F5C5588BEC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376369" y="3871315"/>
            <a:ext cx="1836478" cy="251674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62E9B736-750D-4552-B5A9-60BA0AD393C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39049" y="3871315"/>
            <a:ext cx="1836478" cy="251674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24886270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854F8CB-8758-4A9F-A8A0-8EDE694AB5DA}"/>
              </a:ext>
            </a:extLst>
          </p:cNvPr>
          <p:cNvSpPr/>
          <p:nvPr userDrawn="1"/>
        </p:nvSpPr>
        <p:spPr>
          <a:xfrm>
            <a:off x="1" y="2085278"/>
            <a:ext cx="12192000" cy="4772722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5F09A25D-3CA3-4E22-9083-6408FC53DCA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13690" y="3871315"/>
            <a:ext cx="1836478" cy="251674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5C17C6D-6304-44D3-9E70-C69F66F45FA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3690" y="1330425"/>
            <a:ext cx="1836478" cy="251674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28F638-0A3B-489E-B1F9-AE75F727F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3443" y="613167"/>
            <a:ext cx="5384867" cy="11808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EB8B03-A891-47D6-A92C-5327DEE46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4C053C76-51AA-469E-91C2-4282EDB06F24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93443" y="1987064"/>
            <a:ext cx="5384867" cy="44121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D7A51C-DD4A-4AFD-9931-43EC417F03A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376369" y="1330425"/>
            <a:ext cx="1836478" cy="251674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77969AD4-6446-41D5-8A72-6AE1B0B3998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39049" y="1330425"/>
            <a:ext cx="1836478" cy="251674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C99943A6-6432-451D-AE05-6F5C5588BEC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376369" y="3871315"/>
            <a:ext cx="1836478" cy="251674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62E9B736-750D-4552-B5A9-60BA0AD393C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39049" y="3871315"/>
            <a:ext cx="1836478" cy="251674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29004878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E32CFA-5203-4042-A3AD-5B04EAF848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3690" y="1952625"/>
            <a:ext cx="5384867" cy="683359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  <a:lvl2pPr marL="228600" indent="0">
              <a:buNone/>
              <a:defRPr sz="1000" b="1"/>
            </a:lvl2pPr>
            <a:lvl3pPr marL="457200" indent="0">
              <a:buNone/>
              <a:defRPr sz="900" b="1"/>
            </a:lvl3pPr>
            <a:lvl4pPr marL="685800" indent="0">
              <a:buNone/>
              <a:defRPr sz="800" b="1"/>
            </a:lvl4pPr>
            <a:lvl5pPr marL="914400" indent="0">
              <a:buNone/>
              <a:defRPr sz="800" b="1"/>
            </a:lvl5pPr>
            <a:lvl6pPr marL="1143000" indent="0">
              <a:buNone/>
              <a:defRPr sz="800" b="1"/>
            </a:lvl6pPr>
            <a:lvl7pPr marL="1371600" indent="0">
              <a:buNone/>
              <a:defRPr sz="800" b="1"/>
            </a:lvl7pPr>
            <a:lvl8pPr marL="1600200" indent="0">
              <a:buNone/>
              <a:defRPr sz="800" b="1"/>
            </a:lvl8pPr>
            <a:lvl9pPr marL="1828800" indent="0">
              <a:buNone/>
              <a:defRPr sz="8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1242D29-0513-469E-9D4C-F912E9B291D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93444" y="1952625"/>
            <a:ext cx="5411393" cy="683359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  <a:lvl2pPr marL="228600" indent="0">
              <a:buNone/>
              <a:defRPr sz="1000" b="1"/>
            </a:lvl2pPr>
            <a:lvl3pPr marL="457200" indent="0">
              <a:buNone/>
              <a:defRPr sz="900" b="1"/>
            </a:lvl3pPr>
            <a:lvl4pPr marL="685800" indent="0">
              <a:buNone/>
              <a:defRPr sz="800" b="1"/>
            </a:lvl4pPr>
            <a:lvl5pPr marL="914400" indent="0">
              <a:buNone/>
              <a:defRPr sz="800" b="1"/>
            </a:lvl5pPr>
            <a:lvl6pPr marL="1143000" indent="0">
              <a:buNone/>
              <a:defRPr sz="800" b="1"/>
            </a:lvl6pPr>
            <a:lvl7pPr marL="1371600" indent="0">
              <a:buNone/>
              <a:defRPr sz="800" b="1"/>
            </a:lvl7pPr>
            <a:lvl8pPr marL="1600200" indent="0">
              <a:buNone/>
              <a:defRPr sz="800" b="1"/>
            </a:lvl8pPr>
            <a:lvl9pPr marL="1828800" indent="0">
              <a:buNone/>
              <a:defRPr sz="8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E9B3DB-326F-4830-A12A-4A92E5C10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F3D9571-C255-4B91-B18F-500EC0D0A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0601A5C-E388-4152-94C1-D43B415ACE9A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513690" y="2653990"/>
            <a:ext cx="5384867" cy="374522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1C0B07D9-AA70-4CE2-AC41-9A9A281098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3444" y="2653990"/>
            <a:ext cx="5384867" cy="374522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4050146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E9B3DB-326F-4830-A12A-4A92E5C10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F3D9571-C255-4B91-B18F-500EC0D0A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5A39FFA-C6A9-4A5C-96D0-A9FC29CB451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3691" y="1952625"/>
            <a:ext cx="1538688" cy="153828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48010B8-C160-4B41-A352-8F50DE34B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2417" y="1952625"/>
            <a:ext cx="3748114" cy="1538288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/Job Position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073CA05-9B24-4231-9AFD-4411EE1EFB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3690" y="3672937"/>
            <a:ext cx="5386841" cy="27262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DE8F4F9D-9D94-4EC3-B69C-4AFD141D703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91471" y="1952625"/>
            <a:ext cx="1538688" cy="153828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ED70DA04-A300-427A-9D55-33A11E8BDC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30197" y="1952625"/>
            <a:ext cx="3748114" cy="1538288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/Job Position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05D1515-C9C0-4EB8-9CCE-5716C88CFF4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91470" y="3672937"/>
            <a:ext cx="5386841" cy="27262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6785511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2A229FA-CE66-4992-9C81-CD9C35BB03B0}"/>
              </a:ext>
            </a:extLst>
          </p:cNvPr>
          <p:cNvSpPr/>
          <p:nvPr userDrawn="1"/>
        </p:nvSpPr>
        <p:spPr>
          <a:xfrm>
            <a:off x="7082813" y="1952626"/>
            <a:ext cx="4595498" cy="1538287"/>
          </a:xfrm>
          <a:prstGeom prst="rect">
            <a:avLst/>
          </a:prstGeom>
          <a:gradFill>
            <a:gsLst>
              <a:gs pos="0">
                <a:schemeClr val="accent2"/>
              </a:gs>
              <a:gs pos="99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25CC46D-BEA4-467E-9C08-FF554AE84337}"/>
              </a:ext>
            </a:extLst>
          </p:cNvPr>
          <p:cNvSpPr/>
          <p:nvPr userDrawn="1"/>
        </p:nvSpPr>
        <p:spPr>
          <a:xfrm>
            <a:off x="1305032" y="1952626"/>
            <a:ext cx="4595498" cy="1538287"/>
          </a:xfrm>
          <a:prstGeom prst="rect">
            <a:avLst/>
          </a:prstGeom>
          <a:gradFill>
            <a:gsLst>
              <a:gs pos="0">
                <a:schemeClr val="accent2"/>
              </a:gs>
              <a:gs pos="99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E9B3DB-326F-4830-A12A-4A92E5C10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F3D9571-C255-4B91-B18F-500EC0D0A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5A39FFA-C6A9-4A5C-96D0-A9FC29CB451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3691" y="1952625"/>
            <a:ext cx="1538688" cy="153828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073CA05-9B24-4231-9AFD-4411EE1EFB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3690" y="3672937"/>
            <a:ext cx="5386841" cy="27262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DE8F4F9D-9D94-4EC3-B69C-4AFD141D703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91471" y="1952625"/>
            <a:ext cx="1538688" cy="153828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05D1515-C9C0-4EB8-9CCE-5716C88CFF4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91470" y="3672937"/>
            <a:ext cx="5386841" cy="27262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259BB9E2-1830-43A8-932E-FC32E0816A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2417" y="1952626"/>
            <a:ext cx="3748114" cy="1261525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/Job Position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EFFC40C4-8DA1-4F4B-B4EC-A72DC1BC6D7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30197" y="1952626"/>
            <a:ext cx="3748114" cy="1261525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/Job Position</a:t>
            </a:r>
          </a:p>
        </p:txBody>
      </p:sp>
      <p:sp>
        <p:nvSpPr>
          <p:cNvPr id="19" name="Right Triangle 18">
            <a:extLst>
              <a:ext uri="{FF2B5EF4-FFF2-40B4-BE49-F238E27FC236}">
                <a16:creationId xmlns:a16="http://schemas.microsoft.com/office/drawing/2014/main" id="{1EBFD2B9-E738-4F91-A336-9DA35AA4CED2}"/>
              </a:ext>
            </a:extLst>
          </p:cNvPr>
          <p:cNvSpPr/>
          <p:nvPr userDrawn="1"/>
        </p:nvSpPr>
        <p:spPr>
          <a:xfrm rot="5400000" flipV="1">
            <a:off x="10166025" y="2023278"/>
            <a:ext cx="1841538" cy="138311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0" name="Right Triangle 19">
            <a:extLst>
              <a:ext uri="{FF2B5EF4-FFF2-40B4-BE49-F238E27FC236}">
                <a16:creationId xmlns:a16="http://schemas.microsoft.com/office/drawing/2014/main" id="{3F668190-8F64-4737-A589-F4D65DEB33EB}"/>
              </a:ext>
            </a:extLst>
          </p:cNvPr>
          <p:cNvSpPr/>
          <p:nvPr userDrawn="1"/>
        </p:nvSpPr>
        <p:spPr>
          <a:xfrm rot="5400000" flipV="1">
            <a:off x="4393797" y="2023279"/>
            <a:ext cx="1841538" cy="138311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1960321388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E9B3DB-326F-4830-A12A-4A92E5C10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F3D9571-C255-4B91-B18F-500EC0D0A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5A39FFA-C6A9-4A5C-96D0-A9FC29CB451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3691" y="1952625"/>
            <a:ext cx="1538688" cy="153828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48010B8-C160-4B41-A352-8F50DE34B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2417" y="1952626"/>
            <a:ext cx="3748114" cy="824665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/Job Position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073CA05-9B24-4231-9AFD-4411EE1EFB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152417" y="2819869"/>
            <a:ext cx="3748114" cy="6314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DE8F4F9D-9D94-4EC3-B69C-4AFD141D703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91471" y="1952625"/>
            <a:ext cx="1538688" cy="153828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16AA5B85-8156-4F86-B495-BB9585E6DD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30196" y="1952626"/>
            <a:ext cx="3748114" cy="824665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/Job Positio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0CBB3C3-3DC9-4DF9-A3C6-7516DDF6C3F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30196" y="2819869"/>
            <a:ext cx="3748114" cy="6314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EDC8FE5F-B1FC-489D-90DC-3050D05242A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13691" y="3819108"/>
            <a:ext cx="1538688" cy="153828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195C14B-054B-449A-B1BD-3868F01355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52417" y="3819109"/>
            <a:ext cx="3748114" cy="824665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/Job Position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A772AFE8-E660-4F22-9240-D9A55459394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152417" y="4686352"/>
            <a:ext cx="3748114" cy="6314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10108E1A-CDCE-4781-B100-F23238DDD12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91471" y="3819108"/>
            <a:ext cx="1538688" cy="153828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55BD766E-F019-4713-AFC0-66CA51A3626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930196" y="3819109"/>
            <a:ext cx="3748114" cy="824665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Name/Job Position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4ED8553-FD48-4A8C-9E36-58CA84DFF4A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930196" y="4686352"/>
            <a:ext cx="3748114" cy="6314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03686115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E9B3DB-326F-4830-A12A-4A92E5C10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F3D9571-C255-4B91-B18F-500EC0D0A8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63858CD-7AA7-4512-B743-43E9D19E3AC2}"/>
              </a:ext>
            </a:extLst>
          </p:cNvPr>
          <p:cNvSpPr/>
          <p:nvPr userDrawn="1"/>
        </p:nvSpPr>
        <p:spPr>
          <a:xfrm>
            <a:off x="7082812" y="1952626"/>
            <a:ext cx="4595498" cy="883256"/>
          </a:xfrm>
          <a:prstGeom prst="rect">
            <a:avLst/>
          </a:prstGeom>
          <a:gradFill>
            <a:gsLst>
              <a:gs pos="0">
                <a:schemeClr val="accent2"/>
              </a:gs>
              <a:gs pos="99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E07B654-94F8-45E0-B402-AA28357CE0B9}"/>
              </a:ext>
            </a:extLst>
          </p:cNvPr>
          <p:cNvSpPr/>
          <p:nvPr userDrawn="1"/>
        </p:nvSpPr>
        <p:spPr>
          <a:xfrm>
            <a:off x="1305032" y="3819108"/>
            <a:ext cx="4595498" cy="883256"/>
          </a:xfrm>
          <a:prstGeom prst="rect">
            <a:avLst/>
          </a:prstGeom>
          <a:gradFill>
            <a:gsLst>
              <a:gs pos="0">
                <a:schemeClr val="accent2"/>
              </a:gs>
              <a:gs pos="99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9ABC558-181F-486D-993C-D5A85C7D6B54}"/>
              </a:ext>
            </a:extLst>
          </p:cNvPr>
          <p:cNvSpPr/>
          <p:nvPr userDrawn="1"/>
        </p:nvSpPr>
        <p:spPr>
          <a:xfrm>
            <a:off x="7082812" y="3819108"/>
            <a:ext cx="4595498" cy="883256"/>
          </a:xfrm>
          <a:prstGeom prst="rect">
            <a:avLst/>
          </a:prstGeom>
          <a:gradFill>
            <a:gsLst>
              <a:gs pos="0">
                <a:schemeClr val="accent2"/>
              </a:gs>
              <a:gs pos="99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40B962C-B5E1-4CE3-97DE-69B6DEFB5093}"/>
              </a:ext>
            </a:extLst>
          </p:cNvPr>
          <p:cNvSpPr/>
          <p:nvPr userDrawn="1"/>
        </p:nvSpPr>
        <p:spPr>
          <a:xfrm>
            <a:off x="1305032" y="1952626"/>
            <a:ext cx="4595498" cy="883256"/>
          </a:xfrm>
          <a:prstGeom prst="rect">
            <a:avLst/>
          </a:prstGeom>
          <a:gradFill>
            <a:gsLst>
              <a:gs pos="0">
                <a:schemeClr val="accent2"/>
              </a:gs>
              <a:gs pos="99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2A7FFE35-DAA7-4BD0-B942-39EF65BED6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3691" y="1952625"/>
            <a:ext cx="1538688" cy="153828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918C045D-1019-4C3D-9E71-314CBC7847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52417" y="1952626"/>
            <a:ext cx="3748114" cy="824665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/Job Position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1169CA38-D0D4-4535-BDBC-3F94F6DCF4E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152417" y="2819869"/>
            <a:ext cx="3748114" cy="6314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68E1785C-A300-4001-8B41-FA4E5F31511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91471" y="1952625"/>
            <a:ext cx="1538688" cy="153828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446BDF49-65CA-45C9-BD50-1376A26D56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30196" y="1952626"/>
            <a:ext cx="3748114" cy="824665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/Job Position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8DC52238-C49C-4393-A710-A6B8FC92F22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30196" y="2819869"/>
            <a:ext cx="3748114" cy="6314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F1C558B5-C215-417D-827A-9A747B510ED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13691" y="3819108"/>
            <a:ext cx="1538688" cy="153828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F6A626D6-1538-46E1-8435-FBD4949B48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152417" y="3819109"/>
            <a:ext cx="3748114" cy="824665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/Job Position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004B9349-8539-4098-9FC1-BD8D3EAC907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152417" y="4686352"/>
            <a:ext cx="3748114" cy="6314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DF9FD15B-C8DC-4F27-847A-11F5992A22B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91471" y="3819108"/>
            <a:ext cx="1538688" cy="153828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D0B36D11-0782-47FD-ACDB-C05A445C326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930196" y="3819109"/>
            <a:ext cx="3748114" cy="824665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/Job Position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00205423-4A04-4769-BD45-8ACD603FEBD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930196" y="4686352"/>
            <a:ext cx="3748114" cy="6314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38" name="Right Triangle 37">
            <a:extLst>
              <a:ext uri="{FF2B5EF4-FFF2-40B4-BE49-F238E27FC236}">
                <a16:creationId xmlns:a16="http://schemas.microsoft.com/office/drawing/2014/main" id="{3DB22803-1E2D-43D3-960D-CC051903E377}"/>
              </a:ext>
            </a:extLst>
          </p:cNvPr>
          <p:cNvSpPr/>
          <p:nvPr userDrawn="1"/>
        </p:nvSpPr>
        <p:spPr>
          <a:xfrm rot="5400000" flipV="1">
            <a:off x="10744434" y="1941050"/>
            <a:ext cx="1180900" cy="88693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9" name="Right Triangle 38">
            <a:extLst>
              <a:ext uri="{FF2B5EF4-FFF2-40B4-BE49-F238E27FC236}">
                <a16:creationId xmlns:a16="http://schemas.microsoft.com/office/drawing/2014/main" id="{B2F138C4-76F4-4EAD-87D3-4647840C655D}"/>
              </a:ext>
            </a:extLst>
          </p:cNvPr>
          <p:cNvSpPr/>
          <p:nvPr userDrawn="1"/>
        </p:nvSpPr>
        <p:spPr>
          <a:xfrm rot="5400000" flipV="1">
            <a:off x="10744434" y="3891343"/>
            <a:ext cx="1180900" cy="88693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0" name="Right Triangle 39">
            <a:extLst>
              <a:ext uri="{FF2B5EF4-FFF2-40B4-BE49-F238E27FC236}">
                <a16:creationId xmlns:a16="http://schemas.microsoft.com/office/drawing/2014/main" id="{872E58C2-05B5-41A0-969E-46425C2F17F1}"/>
              </a:ext>
            </a:extLst>
          </p:cNvPr>
          <p:cNvSpPr/>
          <p:nvPr userDrawn="1"/>
        </p:nvSpPr>
        <p:spPr>
          <a:xfrm rot="5400000" flipV="1">
            <a:off x="5011751" y="1941050"/>
            <a:ext cx="1180900" cy="88693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1" name="Right Triangle 40">
            <a:extLst>
              <a:ext uri="{FF2B5EF4-FFF2-40B4-BE49-F238E27FC236}">
                <a16:creationId xmlns:a16="http://schemas.microsoft.com/office/drawing/2014/main" id="{E56FB26C-2977-496B-B777-1CEBC6FB2E47}"/>
              </a:ext>
            </a:extLst>
          </p:cNvPr>
          <p:cNvSpPr/>
          <p:nvPr userDrawn="1"/>
        </p:nvSpPr>
        <p:spPr>
          <a:xfrm rot="5400000" flipV="1">
            <a:off x="5011751" y="3891343"/>
            <a:ext cx="1180900" cy="88693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2169917983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1F2C7D-5BCC-4D03-82C8-89EA7132AC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C20416B-204F-487D-B23C-FB918F4265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265673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1F2C7D-5BCC-4D03-82C8-89EA7132AC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C20416B-204F-487D-B23C-FB918F4265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615843F-9C5F-4291-A869-9765BE9336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792" t="12636" r="6089" b="14423"/>
          <a:stretch/>
        </p:blipFill>
        <p:spPr>
          <a:xfrm>
            <a:off x="1839441" y="1673326"/>
            <a:ext cx="8513120" cy="5184674"/>
          </a:xfrm>
          <a:prstGeom prst="rect">
            <a:avLst/>
          </a:prstGeom>
        </p:spPr>
      </p:pic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D93C9D12-E59F-4622-BE09-020BF476267D}"/>
              </a:ext>
            </a:extLst>
          </p:cNvPr>
          <p:cNvSpPr>
            <a:spLocks noGrp="1"/>
          </p:cNvSpPr>
          <p:nvPr>
            <p:ph type="media" sz="quarter" idx="12"/>
          </p:nvPr>
        </p:nvSpPr>
        <p:spPr>
          <a:xfrm>
            <a:off x="2916997" y="2055165"/>
            <a:ext cx="6358006" cy="3813969"/>
          </a:xfrm>
          <a:solidFill>
            <a:schemeClr val="tx1">
              <a:lumMod val="50000"/>
            </a:schemeClr>
          </a:solidFill>
        </p:spPr>
        <p:txBody>
          <a:bodyPr/>
          <a:lstStyle/>
          <a:p>
            <a:r>
              <a:rPr lang="en-US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2124695129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6E5EABC-B9F1-4CD7-81B3-7C0CCEB45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205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3072B88E-60B1-4951-ACB4-62501281AA6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73577" y="1553671"/>
            <a:ext cx="5260523" cy="1417255"/>
          </a:xfrm>
        </p:spPr>
        <p:txBody>
          <a:bodyPr anchor="b">
            <a:normAutofit/>
          </a:bodyPr>
          <a:lstStyle>
            <a:lvl1pPr marL="0" indent="0">
              <a:buNone/>
              <a:defRPr sz="45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Intro to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7" name="Symbol zastępczy numeru slajdu 5">
            <a:extLst>
              <a:ext uri="{FF2B5EF4-FFF2-40B4-BE49-F238E27FC236}">
                <a16:creationId xmlns:a16="http://schemas.microsoft.com/office/drawing/2014/main" id="{2BFFDC2F-69F9-4006-A2A6-11998BCE2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1" name="Symbol zastępczy tekstu 2">
            <a:extLst>
              <a:ext uri="{FF2B5EF4-FFF2-40B4-BE49-F238E27FC236}">
                <a16:creationId xmlns:a16="http://schemas.microsoft.com/office/drawing/2014/main" id="{5F2C6574-FF98-442E-A4D4-981D37C5B14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68047" y="3150926"/>
            <a:ext cx="5266053" cy="2674972"/>
          </a:xfrm>
        </p:spPr>
        <p:txBody>
          <a:bodyPr>
            <a:no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 sz="24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err="1"/>
              <a:t>Proin</a:t>
            </a:r>
            <a:r>
              <a:rPr lang="pl-PL"/>
              <a:t> vitae </a:t>
            </a:r>
            <a:r>
              <a:rPr lang="pl-PL" err="1"/>
              <a:t>odio</a:t>
            </a:r>
            <a:r>
              <a:rPr lang="pl-PL"/>
              <a:t>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auctor</a:t>
            </a:r>
            <a:r>
              <a:rPr lang="pl-PL"/>
              <a:t> </a:t>
            </a:r>
            <a:r>
              <a:rPr lang="pl-PL" err="1"/>
              <a:t>faucibus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pic>
        <p:nvPicPr>
          <p:cNvPr id="2" name="Obraz 1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7CA51BF7-F49F-499A-9FBB-1CBBB2B4EA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587" y="466261"/>
            <a:ext cx="1820897" cy="997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10353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ymbol zastępczy numeru slajdu 5">
            <a:extLst>
              <a:ext uri="{FF2B5EF4-FFF2-40B4-BE49-F238E27FC236}">
                <a16:creationId xmlns:a16="http://schemas.microsoft.com/office/drawing/2014/main" id="{1E56DE1E-2F16-46AE-AF32-B444265136E2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7"/>
            <a:ext cx="10504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l" defTabSz="914400" rtl="0" eaLnBrk="1" latinLnBrk="0" hangingPunct="1">
              <a:defRPr sz="1200" b="1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4" name="Tytuł 1">
            <a:extLst>
              <a:ext uri="{FF2B5EF4-FFF2-40B4-BE49-F238E27FC236}">
                <a16:creationId xmlns:a16="http://schemas.microsoft.com/office/drawing/2014/main" id="{A63FB9EB-CE12-3847-9139-913B0510B4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577" y="1460598"/>
            <a:ext cx="4716942" cy="717184"/>
          </a:xfrm>
        </p:spPr>
        <p:txBody>
          <a:bodyPr anchor="b">
            <a:normAutofit/>
          </a:bodyPr>
          <a:lstStyle>
            <a:lvl1pPr>
              <a:defRPr sz="3000" b="1" spc="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</a:t>
            </a:r>
            <a:r>
              <a:rPr lang="pl-PL" err="1"/>
              <a:t>paragraph</a:t>
            </a:r>
            <a:endParaRPr lang="pl-PL"/>
          </a:p>
        </p:txBody>
      </p:sp>
      <p:sp>
        <p:nvSpPr>
          <p:cNvPr id="14" name="Text Placeholder 60">
            <a:extLst>
              <a:ext uri="{FF2B5EF4-FFF2-40B4-BE49-F238E27FC236}">
                <a16:creationId xmlns:a16="http://schemas.microsoft.com/office/drawing/2014/main" id="{1168994B-C1E1-0847-92B6-623DE198D29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80879" y="4283358"/>
            <a:ext cx="4716941" cy="172242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9" name="Text Placeholder 60">
            <a:extLst>
              <a:ext uri="{FF2B5EF4-FFF2-40B4-BE49-F238E27FC236}">
                <a16:creationId xmlns:a16="http://schemas.microsoft.com/office/drawing/2014/main" id="{7CB87D47-F384-424D-8293-412E9135705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73578" y="2537783"/>
            <a:ext cx="4716941" cy="1555246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19647EF6-33D9-46E1-8DAF-A15A227C27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176739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115F4AD-2ACB-4F5E-84D3-6191146BD7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3" r="233"/>
          <a:stretch/>
        </p:blipFill>
        <p:spPr>
          <a:xfrm>
            <a:off x="0" y="9144"/>
            <a:ext cx="12192000" cy="6856214"/>
          </a:xfrm>
          <a:prstGeom prst="rect">
            <a:avLst/>
          </a:prstGeom>
        </p:spPr>
      </p:pic>
      <p:pic>
        <p:nvPicPr>
          <p:cNvPr id="19" name="Picture Placeholder 3">
            <a:extLst>
              <a:ext uri="{FF2B5EF4-FFF2-40B4-BE49-F238E27FC236}">
                <a16:creationId xmlns:a16="http://schemas.microsoft.com/office/drawing/2014/main" id="{3D5E3F0E-4B42-4D90-B72E-9EE8449F0F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7830" t="39215" r="3924" b="35041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sp>
        <p:nvSpPr>
          <p:cNvPr id="11" name="Line 5">
            <a:extLst>
              <a:ext uri="{FF2B5EF4-FFF2-40B4-BE49-F238E27FC236}">
                <a16:creationId xmlns:a16="http://schemas.microsoft.com/office/drawing/2014/main" id="{D8088A70-C58F-40E2-A961-06FFFABF2A2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823404" y="-797984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898" tIns="60950" rIns="121898" bIns="60950" numCol="1" anchor="t" anchorCtr="0" compatLnSpc="1">
            <a:prstTxWarp prst="textNoShape">
              <a:avLst/>
            </a:prstTxWarp>
          </a:bodyPr>
          <a:lstStyle/>
          <a:p>
            <a:endParaRPr lang="en-US" sz="900" b="0" i="0">
              <a:latin typeface="Open Sans Light" panose="020B0306030504020204" pitchFamily="34" charset="0"/>
            </a:endParaRPr>
          </a:p>
        </p:txBody>
      </p:sp>
      <p:sp>
        <p:nvSpPr>
          <p:cNvPr id="12" name="Line 6">
            <a:extLst>
              <a:ext uri="{FF2B5EF4-FFF2-40B4-BE49-F238E27FC236}">
                <a16:creationId xmlns:a16="http://schemas.microsoft.com/office/drawing/2014/main" id="{81B3D267-AD7F-4469-A5DB-65D8ABDF3F4A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823404" y="-797984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898" tIns="60950" rIns="121898" bIns="60950" numCol="1" anchor="t" anchorCtr="0" compatLnSpc="1">
            <a:prstTxWarp prst="textNoShape">
              <a:avLst/>
            </a:prstTxWarp>
          </a:bodyPr>
          <a:lstStyle/>
          <a:p>
            <a:endParaRPr lang="en-US" sz="900" b="0" i="0">
              <a:latin typeface="Open Sans Light" panose="020B0306030504020204" pitchFamily="34" charset="0"/>
            </a:endParaRPr>
          </a:p>
        </p:txBody>
      </p:sp>
      <p:sp>
        <p:nvSpPr>
          <p:cNvPr id="13" name="Shape 1646">
            <a:extLst>
              <a:ext uri="{FF2B5EF4-FFF2-40B4-BE49-F238E27FC236}">
                <a16:creationId xmlns:a16="http://schemas.microsoft.com/office/drawing/2014/main" id="{03A0C556-2FFA-4604-851C-0C3760FCCE6D}"/>
              </a:ext>
            </a:extLst>
          </p:cNvPr>
          <p:cNvSpPr/>
          <p:nvPr userDrawn="1"/>
        </p:nvSpPr>
        <p:spPr>
          <a:xfrm>
            <a:off x="8077746" y="6012775"/>
            <a:ext cx="212095" cy="21204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73" y="21600"/>
                </a:moveTo>
                <a:lnTo>
                  <a:pt x="4902" y="21600"/>
                </a:lnTo>
                <a:lnTo>
                  <a:pt x="4902" y="7024"/>
                </a:lnTo>
                <a:lnTo>
                  <a:pt x="273" y="7024"/>
                </a:lnTo>
                <a:lnTo>
                  <a:pt x="273" y="21600"/>
                </a:lnTo>
                <a:cubicBezTo>
                  <a:pt x="273" y="21600"/>
                  <a:pt x="273" y="21600"/>
                  <a:pt x="273" y="21600"/>
                </a:cubicBezTo>
                <a:close/>
                <a:moveTo>
                  <a:pt x="2621" y="0"/>
                </a:moveTo>
                <a:cubicBezTo>
                  <a:pt x="1033" y="0"/>
                  <a:pt x="0" y="1086"/>
                  <a:pt x="0" y="2518"/>
                </a:cubicBezTo>
                <a:cubicBezTo>
                  <a:pt x="0" y="3917"/>
                  <a:pt x="1004" y="5039"/>
                  <a:pt x="2558" y="5039"/>
                </a:cubicBezTo>
                <a:lnTo>
                  <a:pt x="2589" y="5039"/>
                </a:lnTo>
                <a:cubicBezTo>
                  <a:pt x="4203" y="5039"/>
                  <a:pt x="5207" y="3917"/>
                  <a:pt x="5207" y="2518"/>
                </a:cubicBezTo>
                <a:cubicBezTo>
                  <a:pt x="5178" y="1086"/>
                  <a:pt x="4203" y="0"/>
                  <a:pt x="2621" y="0"/>
                </a:cubicBezTo>
                <a:cubicBezTo>
                  <a:pt x="2621" y="0"/>
                  <a:pt x="2621" y="0"/>
                  <a:pt x="2621" y="0"/>
                </a:cubicBezTo>
                <a:close/>
                <a:moveTo>
                  <a:pt x="21600" y="13242"/>
                </a:moveTo>
                <a:lnTo>
                  <a:pt x="21600" y="21600"/>
                </a:lnTo>
                <a:lnTo>
                  <a:pt x="16970" y="21600"/>
                </a:lnTo>
                <a:lnTo>
                  <a:pt x="16970" y="13803"/>
                </a:lnTo>
                <a:cubicBezTo>
                  <a:pt x="16970" y="11844"/>
                  <a:pt x="16299" y="10507"/>
                  <a:pt x="14623" y="10507"/>
                </a:cubicBezTo>
                <a:cubicBezTo>
                  <a:pt x="13345" y="10507"/>
                  <a:pt x="12582" y="11408"/>
                  <a:pt x="12250" y="12280"/>
                </a:cubicBezTo>
                <a:cubicBezTo>
                  <a:pt x="12127" y="12592"/>
                  <a:pt x="12094" y="13025"/>
                  <a:pt x="12094" y="13462"/>
                </a:cubicBezTo>
                <a:lnTo>
                  <a:pt x="12094" y="21600"/>
                </a:lnTo>
                <a:lnTo>
                  <a:pt x="7463" y="21600"/>
                </a:lnTo>
                <a:cubicBezTo>
                  <a:pt x="7463" y="21600"/>
                  <a:pt x="7525" y="8394"/>
                  <a:pt x="7463" y="7024"/>
                </a:cubicBezTo>
                <a:lnTo>
                  <a:pt x="12094" y="7024"/>
                </a:lnTo>
                <a:lnTo>
                  <a:pt x="12094" y="9093"/>
                </a:lnTo>
                <a:cubicBezTo>
                  <a:pt x="12087" y="9106"/>
                  <a:pt x="12074" y="9123"/>
                  <a:pt x="12066" y="9139"/>
                </a:cubicBezTo>
                <a:lnTo>
                  <a:pt x="12094" y="9139"/>
                </a:lnTo>
                <a:lnTo>
                  <a:pt x="12094" y="9093"/>
                </a:lnTo>
                <a:cubicBezTo>
                  <a:pt x="12710" y="8101"/>
                  <a:pt x="13808" y="6683"/>
                  <a:pt x="16269" y="6683"/>
                </a:cubicBezTo>
                <a:cubicBezTo>
                  <a:pt x="19315" y="6683"/>
                  <a:pt x="21600" y="8767"/>
                  <a:pt x="21600" y="13242"/>
                </a:cubicBezTo>
                <a:cubicBezTo>
                  <a:pt x="21600" y="13242"/>
                  <a:pt x="21600" y="13242"/>
                  <a:pt x="21600" y="13242"/>
                </a:cubicBezTo>
                <a:close/>
              </a:path>
            </a:pathLst>
          </a:custGeom>
          <a:solidFill>
            <a:schemeClr val="bg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sz="1501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4" name="Shape 1649">
            <a:extLst>
              <a:ext uri="{FF2B5EF4-FFF2-40B4-BE49-F238E27FC236}">
                <a16:creationId xmlns:a16="http://schemas.microsoft.com/office/drawing/2014/main" id="{8D6EB72E-770C-4133-9A2F-F7070C357A17}"/>
              </a:ext>
            </a:extLst>
          </p:cNvPr>
          <p:cNvSpPr/>
          <p:nvPr userDrawn="1"/>
        </p:nvSpPr>
        <p:spPr>
          <a:xfrm>
            <a:off x="7026584" y="6023073"/>
            <a:ext cx="242432" cy="19694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559"/>
                </a:moveTo>
                <a:cubicBezTo>
                  <a:pt x="20805" y="2994"/>
                  <a:pt x="19949" y="3285"/>
                  <a:pt x="19055" y="3417"/>
                </a:cubicBezTo>
                <a:cubicBezTo>
                  <a:pt x="19968" y="2742"/>
                  <a:pt x="20672" y="1676"/>
                  <a:pt x="21003" y="401"/>
                </a:cubicBezTo>
                <a:cubicBezTo>
                  <a:pt x="20147" y="1026"/>
                  <a:pt x="19198" y="1478"/>
                  <a:pt x="18187" y="1722"/>
                </a:cubicBezTo>
                <a:cubicBezTo>
                  <a:pt x="17379" y="665"/>
                  <a:pt x="16228" y="0"/>
                  <a:pt x="14953" y="0"/>
                </a:cubicBezTo>
                <a:cubicBezTo>
                  <a:pt x="12506" y="0"/>
                  <a:pt x="10524" y="2441"/>
                  <a:pt x="10524" y="5454"/>
                </a:cubicBezTo>
                <a:cubicBezTo>
                  <a:pt x="10524" y="5881"/>
                  <a:pt x="10561" y="6298"/>
                  <a:pt x="10637" y="6694"/>
                </a:cubicBezTo>
                <a:cubicBezTo>
                  <a:pt x="6954" y="6468"/>
                  <a:pt x="3689" y="4296"/>
                  <a:pt x="1504" y="998"/>
                </a:cubicBezTo>
                <a:cubicBezTo>
                  <a:pt x="1122" y="1806"/>
                  <a:pt x="903" y="2742"/>
                  <a:pt x="903" y="3739"/>
                </a:cubicBezTo>
                <a:cubicBezTo>
                  <a:pt x="903" y="5631"/>
                  <a:pt x="1686" y="7302"/>
                  <a:pt x="2875" y="8279"/>
                </a:cubicBezTo>
                <a:cubicBezTo>
                  <a:pt x="2149" y="8248"/>
                  <a:pt x="1466" y="8005"/>
                  <a:pt x="868" y="7599"/>
                </a:cubicBezTo>
                <a:cubicBezTo>
                  <a:pt x="868" y="7618"/>
                  <a:pt x="868" y="7641"/>
                  <a:pt x="868" y="7666"/>
                </a:cubicBezTo>
                <a:cubicBezTo>
                  <a:pt x="868" y="10307"/>
                  <a:pt x="2395" y="12512"/>
                  <a:pt x="4423" y="13011"/>
                </a:cubicBezTo>
                <a:cubicBezTo>
                  <a:pt x="4051" y="13134"/>
                  <a:pt x="3658" y="13201"/>
                  <a:pt x="3255" y="13201"/>
                </a:cubicBezTo>
                <a:cubicBezTo>
                  <a:pt x="2970" y="13201"/>
                  <a:pt x="2691" y="13168"/>
                  <a:pt x="2420" y="13106"/>
                </a:cubicBezTo>
                <a:cubicBezTo>
                  <a:pt x="2983" y="15270"/>
                  <a:pt x="4621" y="16846"/>
                  <a:pt x="6561" y="16890"/>
                </a:cubicBezTo>
                <a:cubicBezTo>
                  <a:pt x="5042" y="18353"/>
                  <a:pt x="3134" y="19225"/>
                  <a:pt x="1056" y="19225"/>
                </a:cubicBezTo>
                <a:cubicBezTo>
                  <a:pt x="700" y="19225"/>
                  <a:pt x="347" y="19197"/>
                  <a:pt x="0" y="19149"/>
                </a:cubicBezTo>
                <a:cubicBezTo>
                  <a:pt x="1963" y="20695"/>
                  <a:pt x="4290" y="21600"/>
                  <a:pt x="6791" y="21600"/>
                </a:cubicBezTo>
                <a:cubicBezTo>
                  <a:pt x="14943" y="21600"/>
                  <a:pt x="19401" y="13291"/>
                  <a:pt x="19401" y="6084"/>
                </a:cubicBezTo>
                <a:cubicBezTo>
                  <a:pt x="19401" y="5851"/>
                  <a:pt x="19396" y="5613"/>
                  <a:pt x="19388" y="5380"/>
                </a:cubicBezTo>
                <a:cubicBezTo>
                  <a:pt x="20253" y="4614"/>
                  <a:pt x="21005" y="3652"/>
                  <a:pt x="21600" y="2559"/>
                </a:cubicBezTo>
                <a:cubicBezTo>
                  <a:pt x="21600" y="2559"/>
                  <a:pt x="21600" y="2559"/>
                  <a:pt x="21600" y="2559"/>
                </a:cubicBezTo>
                <a:close/>
              </a:path>
            </a:pathLst>
          </a:custGeom>
          <a:solidFill>
            <a:schemeClr val="bg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sz="1501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5" name="Shape 1658">
            <a:extLst>
              <a:ext uri="{FF2B5EF4-FFF2-40B4-BE49-F238E27FC236}">
                <a16:creationId xmlns:a16="http://schemas.microsoft.com/office/drawing/2014/main" id="{106604BB-BD5B-410C-9FF1-537E405B7097}"/>
              </a:ext>
            </a:extLst>
          </p:cNvPr>
          <p:cNvSpPr/>
          <p:nvPr userDrawn="1"/>
        </p:nvSpPr>
        <p:spPr>
          <a:xfrm>
            <a:off x="7566735" y="6002810"/>
            <a:ext cx="224823" cy="2247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95" y="17427"/>
                </a:moveTo>
                <a:cubicBezTo>
                  <a:pt x="19495" y="18567"/>
                  <a:pt x="18567" y="19497"/>
                  <a:pt x="17424" y="19497"/>
                </a:cubicBezTo>
                <a:lnTo>
                  <a:pt x="4174" y="19497"/>
                </a:lnTo>
                <a:cubicBezTo>
                  <a:pt x="3033" y="19497"/>
                  <a:pt x="2104" y="18567"/>
                  <a:pt x="2104" y="17427"/>
                </a:cubicBezTo>
                <a:lnTo>
                  <a:pt x="2104" y="8583"/>
                </a:lnTo>
                <a:lnTo>
                  <a:pt x="5329" y="8583"/>
                </a:lnTo>
                <a:cubicBezTo>
                  <a:pt x="5049" y="9269"/>
                  <a:pt x="4895" y="10017"/>
                  <a:pt x="4895" y="10800"/>
                </a:cubicBezTo>
                <a:cubicBezTo>
                  <a:pt x="4895" y="14057"/>
                  <a:pt x="7543" y="16709"/>
                  <a:pt x="10799" y="16709"/>
                </a:cubicBezTo>
                <a:cubicBezTo>
                  <a:pt x="14056" y="16709"/>
                  <a:pt x="16705" y="14057"/>
                  <a:pt x="16705" y="10800"/>
                </a:cubicBezTo>
                <a:cubicBezTo>
                  <a:pt x="16705" y="10017"/>
                  <a:pt x="16549" y="9269"/>
                  <a:pt x="16269" y="8583"/>
                </a:cubicBezTo>
                <a:lnTo>
                  <a:pt x="19495" y="8583"/>
                </a:lnTo>
                <a:lnTo>
                  <a:pt x="19495" y="17427"/>
                </a:lnTo>
                <a:cubicBezTo>
                  <a:pt x="19495" y="17427"/>
                  <a:pt x="19495" y="17427"/>
                  <a:pt x="19495" y="17427"/>
                </a:cubicBezTo>
                <a:close/>
                <a:moveTo>
                  <a:pt x="7716" y="8583"/>
                </a:moveTo>
                <a:cubicBezTo>
                  <a:pt x="8408" y="7627"/>
                  <a:pt x="9531" y="7001"/>
                  <a:pt x="10799" y="7001"/>
                </a:cubicBezTo>
                <a:cubicBezTo>
                  <a:pt x="12068" y="7001"/>
                  <a:pt x="13191" y="7627"/>
                  <a:pt x="13882" y="8583"/>
                </a:cubicBezTo>
                <a:cubicBezTo>
                  <a:pt x="14331" y="9210"/>
                  <a:pt x="14603" y="9973"/>
                  <a:pt x="14603" y="10800"/>
                </a:cubicBezTo>
                <a:cubicBezTo>
                  <a:pt x="14603" y="12897"/>
                  <a:pt x="12896" y="14603"/>
                  <a:pt x="10799" y="14603"/>
                </a:cubicBezTo>
                <a:cubicBezTo>
                  <a:pt x="8703" y="14603"/>
                  <a:pt x="6998" y="12897"/>
                  <a:pt x="6998" y="10800"/>
                </a:cubicBezTo>
                <a:cubicBezTo>
                  <a:pt x="6998" y="9973"/>
                  <a:pt x="7266" y="9210"/>
                  <a:pt x="7716" y="8583"/>
                </a:cubicBezTo>
                <a:cubicBezTo>
                  <a:pt x="7716" y="8583"/>
                  <a:pt x="7716" y="8583"/>
                  <a:pt x="7716" y="8583"/>
                </a:cubicBezTo>
                <a:close/>
                <a:moveTo>
                  <a:pt x="18622" y="2490"/>
                </a:moveTo>
                <a:lnTo>
                  <a:pt x="19099" y="2487"/>
                </a:lnTo>
                <a:lnTo>
                  <a:pt x="19099" y="2965"/>
                </a:lnTo>
                <a:lnTo>
                  <a:pt x="19099" y="6150"/>
                </a:lnTo>
                <a:lnTo>
                  <a:pt x="15450" y="6163"/>
                </a:lnTo>
                <a:lnTo>
                  <a:pt x="15437" y="2502"/>
                </a:lnTo>
                <a:lnTo>
                  <a:pt x="18622" y="2490"/>
                </a:lnTo>
                <a:cubicBezTo>
                  <a:pt x="18622" y="2490"/>
                  <a:pt x="18622" y="2490"/>
                  <a:pt x="18622" y="2490"/>
                </a:cubicBezTo>
                <a:close/>
                <a:moveTo>
                  <a:pt x="17424" y="0"/>
                </a:moveTo>
                <a:lnTo>
                  <a:pt x="4174" y="0"/>
                </a:lnTo>
                <a:cubicBezTo>
                  <a:pt x="1873" y="0"/>
                  <a:pt x="0" y="1873"/>
                  <a:pt x="0" y="4176"/>
                </a:cubicBezTo>
                <a:lnTo>
                  <a:pt x="0" y="8583"/>
                </a:lnTo>
                <a:lnTo>
                  <a:pt x="0" y="17427"/>
                </a:lnTo>
                <a:cubicBezTo>
                  <a:pt x="0" y="19727"/>
                  <a:pt x="1873" y="21600"/>
                  <a:pt x="4174" y="21600"/>
                </a:cubicBezTo>
                <a:lnTo>
                  <a:pt x="17424" y="21600"/>
                </a:lnTo>
                <a:cubicBezTo>
                  <a:pt x="19727" y="21600"/>
                  <a:pt x="21600" y="19727"/>
                  <a:pt x="21600" y="17427"/>
                </a:cubicBezTo>
                <a:lnTo>
                  <a:pt x="21600" y="8583"/>
                </a:lnTo>
                <a:lnTo>
                  <a:pt x="21600" y="4176"/>
                </a:lnTo>
                <a:cubicBezTo>
                  <a:pt x="21600" y="1873"/>
                  <a:pt x="19727" y="0"/>
                  <a:pt x="17424" y="0"/>
                </a:cubicBezTo>
                <a:cubicBezTo>
                  <a:pt x="17424" y="0"/>
                  <a:pt x="17424" y="0"/>
                  <a:pt x="17424" y="0"/>
                </a:cubicBezTo>
                <a:close/>
              </a:path>
            </a:pathLst>
          </a:custGeom>
          <a:solidFill>
            <a:schemeClr val="bg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sz="1501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6" name="Shape 1652">
            <a:extLst>
              <a:ext uri="{FF2B5EF4-FFF2-40B4-BE49-F238E27FC236}">
                <a16:creationId xmlns:a16="http://schemas.microsoft.com/office/drawing/2014/main" id="{ACCAA7FC-6881-4115-A49E-2A07D72698A8}"/>
              </a:ext>
            </a:extLst>
          </p:cNvPr>
          <p:cNvSpPr/>
          <p:nvPr userDrawn="1"/>
        </p:nvSpPr>
        <p:spPr>
          <a:xfrm>
            <a:off x="8519852" y="6030825"/>
            <a:ext cx="231744" cy="1737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640" y="16021"/>
                </a:moveTo>
                <a:lnTo>
                  <a:pt x="8640" y="4401"/>
                </a:lnTo>
                <a:lnTo>
                  <a:pt x="14811" y="10212"/>
                </a:lnTo>
                <a:lnTo>
                  <a:pt x="8640" y="16021"/>
                </a:lnTo>
                <a:cubicBezTo>
                  <a:pt x="8640" y="16021"/>
                  <a:pt x="8640" y="16021"/>
                  <a:pt x="8640" y="16021"/>
                </a:cubicBezTo>
                <a:close/>
                <a:moveTo>
                  <a:pt x="21600" y="4613"/>
                </a:moveTo>
                <a:cubicBezTo>
                  <a:pt x="21600" y="2066"/>
                  <a:pt x="20156" y="0"/>
                  <a:pt x="18372" y="0"/>
                </a:cubicBezTo>
                <a:lnTo>
                  <a:pt x="3228" y="0"/>
                </a:lnTo>
                <a:cubicBezTo>
                  <a:pt x="1444" y="0"/>
                  <a:pt x="0" y="2066"/>
                  <a:pt x="0" y="4613"/>
                </a:cubicBezTo>
                <a:lnTo>
                  <a:pt x="0" y="16986"/>
                </a:lnTo>
                <a:cubicBezTo>
                  <a:pt x="0" y="19533"/>
                  <a:pt x="1444" y="21600"/>
                  <a:pt x="3228" y="21600"/>
                </a:cubicBezTo>
                <a:lnTo>
                  <a:pt x="18372" y="21600"/>
                </a:lnTo>
                <a:cubicBezTo>
                  <a:pt x="20156" y="21600"/>
                  <a:pt x="21600" y="19533"/>
                  <a:pt x="21600" y="16986"/>
                </a:cubicBezTo>
                <a:lnTo>
                  <a:pt x="21600" y="4613"/>
                </a:lnTo>
                <a:cubicBezTo>
                  <a:pt x="21600" y="4613"/>
                  <a:pt x="21600" y="4613"/>
                  <a:pt x="21600" y="4613"/>
                </a:cubicBezTo>
                <a:close/>
              </a:path>
            </a:pathLst>
          </a:custGeom>
          <a:solidFill>
            <a:schemeClr val="bg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/>
                <a:ea typeface="Arial"/>
                <a:cs typeface="Arial"/>
                <a:sym typeface="Arial"/>
              </a:defRPr>
            </a:pPr>
            <a:endParaRPr sz="1501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7" name="Freeform 12">
            <a:extLst>
              <a:ext uri="{FF2B5EF4-FFF2-40B4-BE49-F238E27FC236}">
                <a16:creationId xmlns:a16="http://schemas.microsoft.com/office/drawing/2014/main" id="{9BB16034-17CB-4328-9975-5DAD4C81F3F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610775" y="5996137"/>
            <a:ext cx="126719" cy="235274"/>
          </a:xfrm>
          <a:custGeom>
            <a:avLst/>
            <a:gdLst>
              <a:gd name="T0" fmla="*/ 248 w 249"/>
              <a:gd name="T1" fmla="*/ 80 h 453"/>
              <a:gd name="T2" fmla="*/ 248 w 249"/>
              <a:gd name="T3" fmla="*/ 80 h 453"/>
              <a:gd name="T4" fmla="*/ 177 w 249"/>
              <a:gd name="T5" fmla="*/ 80 h 453"/>
              <a:gd name="T6" fmla="*/ 160 w 249"/>
              <a:gd name="T7" fmla="*/ 107 h 453"/>
              <a:gd name="T8" fmla="*/ 160 w 249"/>
              <a:gd name="T9" fmla="*/ 160 h 453"/>
              <a:gd name="T10" fmla="*/ 248 w 249"/>
              <a:gd name="T11" fmla="*/ 160 h 453"/>
              <a:gd name="T12" fmla="*/ 248 w 249"/>
              <a:gd name="T13" fmla="*/ 231 h 453"/>
              <a:gd name="T14" fmla="*/ 160 w 249"/>
              <a:gd name="T15" fmla="*/ 231 h 453"/>
              <a:gd name="T16" fmla="*/ 160 w 249"/>
              <a:gd name="T17" fmla="*/ 452 h 453"/>
              <a:gd name="T18" fmla="*/ 79 w 249"/>
              <a:gd name="T19" fmla="*/ 452 h 453"/>
              <a:gd name="T20" fmla="*/ 79 w 249"/>
              <a:gd name="T21" fmla="*/ 231 h 453"/>
              <a:gd name="T22" fmla="*/ 0 w 249"/>
              <a:gd name="T23" fmla="*/ 231 h 453"/>
              <a:gd name="T24" fmla="*/ 0 w 249"/>
              <a:gd name="T25" fmla="*/ 160 h 453"/>
              <a:gd name="T26" fmla="*/ 79 w 249"/>
              <a:gd name="T27" fmla="*/ 160 h 453"/>
              <a:gd name="T28" fmla="*/ 79 w 249"/>
              <a:gd name="T29" fmla="*/ 116 h 453"/>
              <a:gd name="T30" fmla="*/ 177 w 249"/>
              <a:gd name="T31" fmla="*/ 0 h 453"/>
              <a:gd name="T32" fmla="*/ 248 w 249"/>
              <a:gd name="T33" fmla="*/ 0 h 453"/>
              <a:gd name="T34" fmla="*/ 248 w 249"/>
              <a:gd name="T35" fmla="*/ 80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49" h="453">
                <a:moveTo>
                  <a:pt x="248" y="80"/>
                </a:moveTo>
                <a:lnTo>
                  <a:pt x="248" y="80"/>
                </a:lnTo>
                <a:cubicBezTo>
                  <a:pt x="177" y="80"/>
                  <a:pt x="177" y="80"/>
                  <a:pt x="177" y="80"/>
                </a:cubicBezTo>
                <a:cubicBezTo>
                  <a:pt x="169" y="80"/>
                  <a:pt x="160" y="89"/>
                  <a:pt x="160" y="107"/>
                </a:cubicBezTo>
                <a:cubicBezTo>
                  <a:pt x="160" y="160"/>
                  <a:pt x="160" y="160"/>
                  <a:pt x="160" y="160"/>
                </a:cubicBezTo>
                <a:cubicBezTo>
                  <a:pt x="248" y="160"/>
                  <a:pt x="248" y="160"/>
                  <a:pt x="248" y="160"/>
                </a:cubicBezTo>
                <a:cubicBezTo>
                  <a:pt x="248" y="231"/>
                  <a:pt x="248" y="231"/>
                  <a:pt x="248" y="231"/>
                </a:cubicBezTo>
                <a:cubicBezTo>
                  <a:pt x="160" y="231"/>
                  <a:pt x="160" y="231"/>
                  <a:pt x="160" y="231"/>
                </a:cubicBezTo>
                <a:cubicBezTo>
                  <a:pt x="160" y="452"/>
                  <a:pt x="160" y="452"/>
                  <a:pt x="160" y="452"/>
                </a:cubicBezTo>
                <a:cubicBezTo>
                  <a:pt x="79" y="452"/>
                  <a:pt x="79" y="452"/>
                  <a:pt x="79" y="452"/>
                </a:cubicBezTo>
                <a:cubicBezTo>
                  <a:pt x="79" y="231"/>
                  <a:pt x="79" y="231"/>
                  <a:pt x="79" y="231"/>
                </a:cubicBezTo>
                <a:cubicBezTo>
                  <a:pt x="0" y="231"/>
                  <a:pt x="0" y="231"/>
                  <a:pt x="0" y="231"/>
                </a:cubicBezTo>
                <a:cubicBezTo>
                  <a:pt x="0" y="160"/>
                  <a:pt x="0" y="160"/>
                  <a:pt x="0" y="160"/>
                </a:cubicBezTo>
                <a:cubicBezTo>
                  <a:pt x="79" y="160"/>
                  <a:pt x="79" y="160"/>
                  <a:pt x="79" y="160"/>
                </a:cubicBezTo>
                <a:cubicBezTo>
                  <a:pt x="79" y="116"/>
                  <a:pt x="79" y="116"/>
                  <a:pt x="79" y="116"/>
                </a:cubicBezTo>
                <a:cubicBezTo>
                  <a:pt x="79" y="54"/>
                  <a:pt x="115" y="0"/>
                  <a:pt x="177" y="0"/>
                </a:cubicBezTo>
                <a:cubicBezTo>
                  <a:pt x="248" y="0"/>
                  <a:pt x="248" y="0"/>
                  <a:pt x="248" y="0"/>
                </a:cubicBezTo>
                <a:lnTo>
                  <a:pt x="248" y="80"/>
                </a:lnTo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17145" tIns="8573" rIns="17145" bIns="8573" anchor="ctr"/>
          <a:lstStyle/>
          <a:p>
            <a:pPr>
              <a:defRPr/>
            </a:pPr>
            <a:endParaRPr lang="en-US" sz="90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0" name="Title 7">
            <a:extLst>
              <a:ext uri="{FF2B5EF4-FFF2-40B4-BE49-F238E27FC236}">
                <a16:creationId xmlns:a16="http://schemas.microsoft.com/office/drawing/2014/main" id="{868902F9-258C-49BE-9353-66654C3DABBF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6527172" y="2203988"/>
            <a:ext cx="5151138" cy="849194"/>
          </a:xfrm>
        </p:spPr>
        <p:txBody>
          <a:bodyPr anchor="b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Get in Touch With U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81751730-D3E4-4291-A669-5AC6EC91146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0820" y="3293935"/>
            <a:ext cx="5157491" cy="6568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/Job position/Departmen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8FFCCA3-87A6-4E6D-8290-99E343F8E2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4468" y="4024185"/>
            <a:ext cx="5157491" cy="6568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rect line/Emai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87EC058-0523-45F2-94A7-87B900A06B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0820" y="4681743"/>
            <a:ext cx="5151138" cy="13143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sz="1601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ddress</a:t>
            </a:r>
          </a:p>
        </p:txBody>
      </p:sp>
      <p:pic>
        <p:nvPicPr>
          <p:cNvPr id="25" name="Picture Placeholder 3">
            <a:extLst>
              <a:ext uri="{FF2B5EF4-FFF2-40B4-BE49-F238E27FC236}">
                <a16:creationId xmlns:a16="http://schemas.microsoft.com/office/drawing/2014/main" id="{BEB4734A-2F7E-48D9-9FE2-F7CA55727E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33" b="2133"/>
          <a:stretch>
            <a:fillRect/>
          </a:stretch>
        </p:blipFill>
        <p:spPr>
          <a:xfrm>
            <a:off x="6330180" y="795874"/>
            <a:ext cx="3188526" cy="1051331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845795960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EB021AE-DE04-4C34-A630-234B862FCF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232" b="9232"/>
          <a:stretch/>
        </p:blipFill>
        <p:spPr>
          <a:xfrm>
            <a:off x="0" y="0"/>
            <a:ext cx="12192000" cy="6856214"/>
          </a:xfrm>
          <a:prstGeom prst="rect">
            <a:avLst/>
          </a:prstGeom>
        </p:spPr>
      </p:pic>
      <p:pic>
        <p:nvPicPr>
          <p:cNvPr id="9" name="Picture Placeholder 3">
            <a:extLst>
              <a:ext uri="{FF2B5EF4-FFF2-40B4-BE49-F238E27FC236}">
                <a16:creationId xmlns:a16="http://schemas.microsoft.com/office/drawing/2014/main" id="{AC7CECB8-6084-46E2-9DB2-DE71FF3870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56" t="34702" r="68470" b="4517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CCE1F52B-AE88-41FB-9C66-EAC0986F7C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Placeholder 3">
            <a:extLst>
              <a:ext uri="{FF2B5EF4-FFF2-40B4-BE49-F238E27FC236}">
                <a16:creationId xmlns:a16="http://schemas.microsoft.com/office/drawing/2014/main" id="{266E69A9-47EF-47DA-A838-B0B52D22DF4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33" b="2133"/>
          <a:stretch>
            <a:fillRect/>
          </a:stretch>
        </p:blipFill>
        <p:spPr>
          <a:xfrm>
            <a:off x="396186" y="389855"/>
            <a:ext cx="1466553" cy="483557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694117676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01">
    <p:bg>
      <p:bgPr>
        <a:gradFill>
          <a:gsLst>
            <a:gs pos="0">
              <a:schemeClr val="accent1"/>
            </a:gs>
            <a:gs pos="56000">
              <a:schemeClr val="accent4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687AA87-174E-4786-84F4-80AAF68A67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94288" y="0"/>
            <a:ext cx="7297712" cy="6858000"/>
          </a:xfrm>
          <a:custGeom>
            <a:avLst/>
            <a:gdLst>
              <a:gd name="connsiteX0" fmla="*/ 3429000 w 14591624"/>
              <a:gd name="connsiteY0" fmla="*/ 0 h 13716000"/>
              <a:gd name="connsiteX1" fmla="*/ 14591624 w 14591624"/>
              <a:gd name="connsiteY1" fmla="*/ 0 h 13716000"/>
              <a:gd name="connsiteX2" fmla="*/ 14591624 w 14591624"/>
              <a:gd name="connsiteY2" fmla="*/ 13540360 h 13716000"/>
              <a:gd name="connsiteX3" fmla="*/ 14547714 w 14591624"/>
              <a:gd name="connsiteY3" fmla="*/ 13716000 h 13716000"/>
              <a:gd name="connsiteX4" fmla="*/ 0 w 14591624"/>
              <a:gd name="connsiteY4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91624" h="13716000">
                <a:moveTo>
                  <a:pt x="3429000" y="0"/>
                </a:moveTo>
                <a:lnTo>
                  <a:pt x="14591624" y="0"/>
                </a:lnTo>
                <a:lnTo>
                  <a:pt x="14591624" y="13540360"/>
                </a:lnTo>
                <a:lnTo>
                  <a:pt x="14547714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28F638-0A3B-489E-B1F9-AE75F727F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690" y="613167"/>
            <a:ext cx="5384867" cy="11808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3E150C-FB1D-4D97-B25E-514811C116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3690" y="1960601"/>
            <a:ext cx="5384867" cy="4438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EB8B03-A891-47D6-A92C-5327DEE46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631833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210704" y="6286062"/>
            <a:ext cx="173457" cy="2032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64286988"/>
      </p:ext>
    </p:extLst>
  </p:cSld>
  <p:clrMapOvr>
    <a:masterClrMapping/>
  </p:clrMapOvr>
  <p:transition spd="med"/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meline_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ymbol zastępczy numeru slajdu 5">
            <a:extLst>
              <a:ext uri="{FF2B5EF4-FFF2-40B4-BE49-F238E27FC236}">
                <a16:creationId xmlns:a16="http://schemas.microsoft.com/office/drawing/2014/main" id="{D526C90E-13B5-4D95-8BE9-03ED11780FC9}"/>
              </a:ext>
            </a:extLst>
          </p:cNvPr>
          <p:cNvSpPr>
            <a:spLocks noGrp="1"/>
          </p:cNvSpPr>
          <p:nvPr userDrawn="1">
            <p:ph type="sldNum" sz="quarter" idx="19"/>
          </p:nvPr>
        </p:nvSpPr>
        <p:spPr>
          <a:xfrm>
            <a:off x="348342" y="6312808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99143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_column_text_and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 descr="Obraz zawierający gracz, piłka, gra&#10;&#10;Opis wygenerowany automatycznie">
            <a:extLst>
              <a:ext uri="{FF2B5EF4-FFF2-40B4-BE49-F238E27FC236}">
                <a16:creationId xmlns:a16="http://schemas.microsoft.com/office/drawing/2014/main" id="{7A053AC9-E2C1-42AF-8E14-CC505A73847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0350" y="0"/>
            <a:ext cx="3041650" cy="6858000"/>
          </a:xfrm>
          <a:prstGeom prst="rect">
            <a:avLst/>
          </a:prstGeom>
        </p:spPr>
      </p:pic>
      <p:sp>
        <p:nvSpPr>
          <p:cNvPr id="12" name="Symbol zastępczy zawartości 3">
            <a:extLst>
              <a:ext uri="{FF2B5EF4-FFF2-40B4-BE49-F238E27FC236}">
                <a16:creationId xmlns:a16="http://schemas.microsoft.com/office/drawing/2014/main" id="{2164D526-DBEC-4475-886A-29FCF5BE807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9790" y="2801030"/>
            <a:ext cx="5256211" cy="3024868"/>
          </a:xfrm>
        </p:spPr>
        <p:txBody>
          <a:bodyPr>
            <a:normAutofit/>
          </a:bodyPr>
          <a:lstStyle>
            <a:lvl1pPr marL="0" indent="0">
              <a:lnSpc>
                <a:spcPts val="1750"/>
              </a:lnSpc>
              <a:buFontTx/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err="1"/>
              <a:t>Proin</a:t>
            </a:r>
            <a:r>
              <a:rPr lang="pl-PL"/>
              <a:t> vitae </a:t>
            </a:r>
            <a:r>
              <a:rPr lang="pl-PL" err="1"/>
              <a:t>odio</a:t>
            </a:r>
            <a:r>
              <a:rPr lang="pl-PL"/>
              <a:t>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auctor</a:t>
            </a:r>
            <a:r>
              <a:rPr lang="pl-PL"/>
              <a:t> </a:t>
            </a:r>
            <a:r>
              <a:rPr lang="pl-PL" err="1"/>
              <a:t>faucibus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 </a:t>
            </a:r>
            <a:r>
              <a:rPr lang="pl-PL" err="1"/>
              <a:t>Donec</a:t>
            </a:r>
            <a:r>
              <a:rPr lang="pl-PL"/>
              <a:t> et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lacus</a:t>
            </a:r>
            <a:r>
              <a:rPr lang="pl-PL"/>
              <a:t>, vel </a:t>
            </a:r>
            <a:r>
              <a:rPr lang="pl-PL" err="1"/>
              <a:t>ultricies</a:t>
            </a:r>
            <a:r>
              <a:rPr lang="pl-PL"/>
              <a:t> </a:t>
            </a:r>
            <a:r>
              <a:rPr lang="pl-PL" err="1"/>
              <a:t>quam</a:t>
            </a:r>
            <a:r>
              <a:rPr lang="pl-PL"/>
              <a:t>. </a:t>
            </a:r>
            <a:r>
              <a:rPr lang="pl-PL" err="1"/>
              <a:t>Donec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</a:t>
            </a:r>
            <a:r>
              <a:rPr lang="pl-PL" err="1"/>
              <a:t>mauris</a:t>
            </a:r>
            <a:r>
              <a:rPr lang="pl-PL"/>
              <a:t>.</a:t>
            </a:r>
            <a:br>
              <a:rPr lang="pl-PL"/>
            </a:br>
            <a:endParaRPr lang="pl-PL"/>
          </a:p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err="1"/>
              <a:t>Proin</a:t>
            </a:r>
            <a:r>
              <a:rPr lang="pl-PL"/>
              <a:t> vitae </a:t>
            </a:r>
            <a:r>
              <a:rPr lang="pl-PL" err="1"/>
              <a:t>odio</a:t>
            </a:r>
            <a:r>
              <a:rPr lang="pl-PL"/>
              <a:t>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auctor</a:t>
            </a:r>
            <a:r>
              <a:rPr lang="pl-PL"/>
              <a:t> </a:t>
            </a:r>
            <a:r>
              <a:rPr lang="pl-PL" err="1"/>
              <a:t>faucibus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 </a:t>
            </a:r>
            <a:r>
              <a:rPr lang="pl-PL" err="1"/>
              <a:t>Donec</a:t>
            </a:r>
            <a:r>
              <a:rPr lang="pl-PL"/>
              <a:t> et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lacus</a:t>
            </a:r>
            <a:r>
              <a:rPr lang="pl-PL"/>
              <a:t>, vel </a:t>
            </a:r>
            <a:r>
              <a:rPr lang="pl-PL" err="1"/>
              <a:t>ultricies</a:t>
            </a:r>
            <a:r>
              <a:rPr lang="pl-PL"/>
              <a:t> </a:t>
            </a:r>
            <a:r>
              <a:rPr lang="pl-PL" err="1"/>
              <a:t>quam</a:t>
            </a:r>
            <a:r>
              <a:rPr lang="pl-PL"/>
              <a:t>. </a:t>
            </a:r>
          </a:p>
          <a:p>
            <a:pPr lvl="0"/>
            <a:endParaRPr lang="pl-PL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8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9" name="Tytuł 1">
            <a:extLst>
              <a:ext uri="{FF2B5EF4-FFF2-40B4-BE49-F238E27FC236}">
                <a16:creationId xmlns:a16="http://schemas.microsoft.com/office/drawing/2014/main" id="{9702C05F-D4A5-4BEE-A704-ABFB559A08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577" y="1664563"/>
            <a:ext cx="8070676" cy="437803"/>
          </a:xfrm>
        </p:spPr>
        <p:txBody>
          <a:bodyPr anchor="b">
            <a:normAutofit/>
          </a:bodyPr>
          <a:lstStyle>
            <a:lvl1pPr>
              <a:defRPr sz="2200" b="1" spc="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Subheading</a:t>
            </a:r>
            <a:endParaRPr lang="pl-PL"/>
          </a:p>
        </p:txBody>
      </p:sp>
      <p:sp>
        <p:nvSpPr>
          <p:cNvPr id="23" name="Symbol zastępczy zawartości 3">
            <a:extLst>
              <a:ext uri="{FF2B5EF4-FFF2-40B4-BE49-F238E27FC236}">
                <a16:creationId xmlns:a16="http://schemas.microsoft.com/office/drawing/2014/main" id="{7CBD317A-94D8-4552-AD96-3BC14F459678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46361" y="528300"/>
            <a:ext cx="8097892" cy="1211680"/>
          </a:xfrm>
        </p:spPr>
        <p:txBody>
          <a:bodyPr anchor="b">
            <a:normAutofit/>
          </a:bodyPr>
          <a:lstStyle>
            <a:lvl1pPr marL="0" indent="0">
              <a:lnSpc>
                <a:spcPts val="1750"/>
              </a:lnSpc>
              <a:buFontTx/>
              <a:buNone/>
              <a:defRPr sz="4799" b="1" spc="-15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pl-PL" err="1"/>
              <a:t>Header</a:t>
            </a:r>
            <a:endParaRPr lang="pl-PL"/>
          </a:p>
        </p:txBody>
      </p:sp>
      <p:pic>
        <p:nvPicPr>
          <p:cNvPr id="10" name="Obraz 9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931C3B60-3368-4309-980E-46D4F65312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1311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471613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6E60419D-35A4-4C8B-90E1-C7CFD3AEA4D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348" y="335280"/>
            <a:ext cx="1820897" cy="997410"/>
          </a:xfrm>
          <a:prstGeom prst="rect">
            <a:avLst/>
          </a:prstGeom>
        </p:spPr>
      </p:pic>
      <p:sp>
        <p:nvSpPr>
          <p:cNvPr id="12" name="Podtytuł 2">
            <a:extLst>
              <a:ext uri="{FF2B5EF4-FFF2-40B4-BE49-F238E27FC236}">
                <a16:creationId xmlns:a16="http://schemas.microsoft.com/office/drawing/2014/main" id="{79EEAF39-E7D1-914B-88A8-7FB94096E83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8048" y="3602038"/>
            <a:ext cx="10107562" cy="1655762"/>
          </a:xfrm>
        </p:spPr>
        <p:txBody>
          <a:bodyPr/>
          <a:lstStyle>
            <a:lvl1pPr marL="0" indent="0" algn="l">
              <a:buNone/>
              <a:defRPr sz="2400" b="0">
                <a:solidFill>
                  <a:schemeClr val="bg1"/>
                </a:solidFill>
              </a:defRPr>
            </a:lvl1pPr>
            <a:lvl2pPr marL="457086" indent="0" algn="ctr">
              <a:buNone/>
              <a:defRPr sz="2000"/>
            </a:lvl2pPr>
            <a:lvl3pPr marL="914172" indent="0" algn="ctr">
              <a:buNone/>
              <a:defRPr sz="1800"/>
            </a:lvl3pPr>
            <a:lvl4pPr marL="1371257" indent="0" algn="ctr">
              <a:buNone/>
              <a:defRPr sz="1600"/>
            </a:lvl4pPr>
            <a:lvl5pPr marL="1828343" indent="0" algn="ctr">
              <a:buNone/>
              <a:defRPr sz="1600"/>
            </a:lvl5pPr>
            <a:lvl6pPr marL="2285429" indent="0" algn="ctr">
              <a:buNone/>
              <a:defRPr sz="1600"/>
            </a:lvl6pPr>
            <a:lvl7pPr marL="2742514" indent="0" algn="ctr">
              <a:buNone/>
              <a:defRPr sz="1600"/>
            </a:lvl7pPr>
            <a:lvl8pPr marL="3199600" indent="0" algn="ctr">
              <a:buNone/>
              <a:defRPr sz="1600"/>
            </a:lvl8pPr>
            <a:lvl9pPr marL="3656686" indent="0" algn="ctr">
              <a:buNone/>
              <a:defRPr sz="1600"/>
            </a:lvl9pPr>
          </a:lstStyle>
          <a:p>
            <a:r>
              <a:rPr lang="pl-PL" err="1"/>
              <a:t>This</a:t>
            </a:r>
            <a:r>
              <a:rPr lang="pl-PL"/>
              <a:t> </a:t>
            </a:r>
            <a:r>
              <a:rPr lang="pl-PL" err="1"/>
              <a:t>is</a:t>
            </a:r>
            <a:r>
              <a:rPr lang="pl-PL"/>
              <a:t> </a:t>
            </a:r>
            <a:r>
              <a:rPr lang="pl-PL" err="1"/>
              <a:t>template</a:t>
            </a:r>
            <a:r>
              <a:rPr lang="pl-PL"/>
              <a:t> of Presentation. </a:t>
            </a:r>
            <a:r>
              <a:rPr lang="pl-PL" err="1"/>
              <a:t>Let’s</a:t>
            </a:r>
            <a:r>
              <a:rPr lang="pl-PL"/>
              <a:t> </a:t>
            </a:r>
            <a:r>
              <a:rPr lang="pl-PL" err="1"/>
              <a:t>Create</a:t>
            </a:r>
            <a:r>
              <a:rPr lang="pl-PL"/>
              <a:t>!</a:t>
            </a:r>
          </a:p>
        </p:txBody>
      </p:sp>
      <p:sp>
        <p:nvSpPr>
          <p:cNvPr id="14" name="Tytuł 1">
            <a:extLst>
              <a:ext uri="{FF2B5EF4-FFF2-40B4-BE49-F238E27FC236}">
                <a16:creationId xmlns:a16="http://schemas.microsoft.com/office/drawing/2014/main" id="{96148336-9628-9245-9708-3F0C8DFF3E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8048" y="1332689"/>
            <a:ext cx="10447652" cy="2177274"/>
          </a:xfrm>
        </p:spPr>
        <p:txBody>
          <a:bodyPr anchor="b">
            <a:normAutofit/>
          </a:bodyPr>
          <a:lstStyle>
            <a:lvl1pPr algn="l">
              <a:defRPr sz="5499" b="1" spc="-150">
                <a:solidFill>
                  <a:schemeClr val="bg1"/>
                </a:solidFill>
              </a:defRPr>
            </a:lvl1pPr>
          </a:lstStyle>
          <a:p>
            <a:r>
              <a:rPr lang="pl-PL"/>
              <a:t>Hello World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91FB4A8-DA88-1540-9DB5-7DB2123BBE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8048" y="5788506"/>
            <a:ext cx="5396457" cy="487569"/>
          </a:xfrm>
        </p:spPr>
        <p:txBody>
          <a:bodyPr/>
          <a:lstStyle>
            <a:lvl1pPr marL="0" marR="0" indent="0" algn="l" defTabSz="914172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eneva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day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6 </a:t>
            </a: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une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020</a:t>
            </a:r>
          </a:p>
        </p:txBody>
      </p:sp>
    </p:spTree>
    <p:extLst>
      <p:ext uri="{BB962C8B-B14F-4D97-AF65-F5344CB8AC3E}">
        <p14:creationId xmlns:p14="http://schemas.microsoft.com/office/powerpoint/2010/main" val="3013899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C0B482C-0237-2740-B4BE-16951D83A5D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4126" y="0"/>
            <a:ext cx="12196126" cy="6858000"/>
          </a:xfrm>
          <a:prstGeom prst="rect">
            <a:avLst/>
          </a:prstGeom>
          <a:blipFill dpi="0" rotWithShape="1">
            <a:blip r:embed="rId3">
              <a:alphaModFix amt="20000"/>
            </a:blip>
            <a:srcRect/>
            <a:stretch>
              <a:fillRect/>
            </a:stretch>
          </a:blipFill>
          <a:effectLst>
            <a:outerShdw sx="1000" sy="1000" algn="ctr" rotWithShape="0">
              <a:srgbClr val="000000"/>
            </a:outerShdw>
          </a:effectLst>
        </p:spPr>
        <p:txBody>
          <a:bodyPr>
            <a:noAutofit/>
          </a:bodyPr>
          <a:lstStyle/>
          <a:p>
            <a:endParaRPr lang="en-VN"/>
          </a:p>
        </p:txBody>
      </p:sp>
      <p:sp>
        <p:nvSpPr>
          <p:cNvPr id="12" name="Tytuł 1">
            <a:extLst>
              <a:ext uri="{FF2B5EF4-FFF2-40B4-BE49-F238E27FC236}">
                <a16:creationId xmlns:a16="http://schemas.microsoft.com/office/drawing/2014/main" id="{F4EAC152-F372-4816-A602-00DBD66C95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8048" y="1332689"/>
            <a:ext cx="10447652" cy="2177274"/>
          </a:xfrm>
        </p:spPr>
        <p:txBody>
          <a:bodyPr anchor="b">
            <a:normAutofit/>
          </a:bodyPr>
          <a:lstStyle>
            <a:lvl1pPr algn="l">
              <a:defRPr sz="5500" b="1" spc="-150">
                <a:solidFill>
                  <a:schemeClr val="bg1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the Presentation</a:t>
            </a:r>
          </a:p>
        </p:txBody>
      </p:sp>
      <p:sp>
        <p:nvSpPr>
          <p:cNvPr id="13" name="Podtytuł 2">
            <a:extLst>
              <a:ext uri="{FF2B5EF4-FFF2-40B4-BE49-F238E27FC236}">
                <a16:creationId xmlns:a16="http://schemas.microsoft.com/office/drawing/2014/main" id="{EDB4A035-E21E-4EC5-9789-42558FE880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8048" y="3602038"/>
            <a:ext cx="10107562" cy="1655762"/>
          </a:xfrm>
        </p:spPr>
        <p:txBody>
          <a:bodyPr/>
          <a:lstStyle>
            <a:lvl1pPr marL="0" indent="0" algn="l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err="1"/>
              <a:t>Subtitle</a:t>
            </a:r>
            <a:r>
              <a:rPr lang="pl-PL"/>
              <a:t> and a </a:t>
            </a:r>
            <a:r>
              <a:rPr lang="pl-PL" err="1"/>
              <a:t>short</a:t>
            </a:r>
            <a:r>
              <a:rPr lang="pl-PL"/>
              <a:t> </a:t>
            </a:r>
            <a:r>
              <a:rPr lang="pl-PL" err="1"/>
              <a:t>description</a:t>
            </a:r>
            <a:r>
              <a:rPr lang="pl-PL"/>
              <a:t> </a:t>
            </a:r>
            <a:r>
              <a:rPr lang="pl-PL" err="1"/>
              <a:t>if</a:t>
            </a:r>
            <a:r>
              <a:rPr lang="pl-PL"/>
              <a:t> </a:t>
            </a:r>
            <a:r>
              <a:rPr lang="pl-PL" err="1"/>
              <a:t>needed</a:t>
            </a:r>
            <a:endParaRPr lang="pl-PL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63D02DFB-AAE1-FA46-B2A4-ECE431BBD610}"/>
              </a:ext>
            </a:extLst>
          </p:cNvPr>
          <p:cNvSpPr txBox="1">
            <a:spLocks/>
          </p:cNvSpPr>
          <p:nvPr userDrawn="1"/>
        </p:nvSpPr>
        <p:spPr>
          <a:xfrm>
            <a:off x="4038600" y="560594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l-PL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20E0931-98D8-5D4C-9576-F225FB07B7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8047" y="5788505"/>
            <a:ext cx="5396457" cy="4875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eneva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day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6 </a:t>
            </a: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une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020</a:t>
            </a:r>
          </a:p>
        </p:txBody>
      </p:sp>
      <p:pic>
        <p:nvPicPr>
          <p:cNvPr id="4" name="Obraz 3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2953E1F1-44AD-4567-9B59-548AD9BBE1A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347" y="335280"/>
            <a:ext cx="1820897" cy="997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99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1DD86EA-EA42-44C7-8A4A-0066D92A8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578" y="1759729"/>
            <a:ext cx="6465218" cy="1032526"/>
          </a:xfrm>
        </p:spPr>
        <p:txBody>
          <a:bodyPr anchor="b">
            <a:noAutofit/>
          </a:bodyPr>
          <a:lstStyle>
            <a:lvl1pPr>
              <a:defRPr sz="5500" b="1">
                <a:solidFill>
                  <a:schemeClr val="tx1"/>
                </a:solidFill>
              </a:defRPr>
            </a:lvl1pPr>
          </a:lstStyle>
          <a:p>
            <a:r>
              <a:rPr lang="pl-PL"/>
              <a:t>Agenda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DAA3A8F5-9D41-4044-A68D-5DA4A767332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3578" y="3137245"/>
            <a:ext cx="6465219" cy="2877661"/>
          </a:xfrm>
        </p:spPr>
        <p:txBody>
          <a:bodyPr>
            <a:noAutofit/>
          </a:bodyPr>
          <a:lstStyle>
            <a:lvl1pPr marL="514350" marR="0" indent="-51435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rabicPeriod"/>
              <a:tabLst/>
              <a:defRPr sz="2400" b="0" i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</a:t>
            </a:r>
          </a:p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</a:t>
            </a:r>
          </a:p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E216245F-23B8-415E-9B16-3CDC42FB6A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D5B67A01-B87F-437B-ADF6-66164C9CDA1D}" type="slidenum">
              <a:rPr lang="pl-PL" smtClean="0"/>
              <a:pPr/>
              <a:t>‹#›</a:t>
            </a:fld>
            <a:r>
              <a:rPr lang="pl-PL"/>
              <a:t> 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C1F7378-57A6-394E-AE98-91A760952C0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21649" y="0"/>
            <a:ext cx="4070351" cy="68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pic>
        <p:nvPicPr>
          <p:cNvPr id="7" name="Obraz 6" descr="Obraz zawierający znak, zegar&#10;&#10;Opis wygenerowany automatycznie">
            <a:extLst>
              <a:ext uri="{FF2B5EF4-FFF2-40B4-BE49-F238E27FC236}">
                <a16:creationId xmlns:a16="http://schemas.microsoft.com/office/drawing/2014/main" id="{A775012A-FA67-4EDF-87A8-9F8B04F42D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622" y="289845"/>
            <a:ext cx="1885007" cy="1032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347558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ec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3FAEAC0-0E6D-444A-95B5-0A3C93C47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9434" y="2970926"/>
            <a:ext cx="6697683" cy="1724480"/>
          </a:xfrm>
        </p:spPr>
        <p:txBody>
          <a:bodyPr anchor="t">
            <a:normAutofit/>
          </a:bodyPr>
          <a:lstStyle>
            <a:lvl1pPr>
              <a:defRPr sz="5500" b="1">
                <a:solidFill>
                  <a:schemeClr val="bg1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3072B88E-60B1-4951-ACB4-62501281AA6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149434" y="5018314"/>
            <a:ext cx="9198015" cy="996592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err="1"/>
              <a:t>Sub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7" name="Symbol zastępczy numeru slajdu 5">
            <a:extLst>
              <a:ext uri="{FF2B5EF4-FFF2-40B4-BE49-F238E27FC236}">
                <a16:creationId xmlns:a16="http://schemas.microsoft.com/office/drawing/2014/main" id="{2BFFDC2F-69F9-4006-A2A6-11998BCE2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C37AD4BE-6D4A-446E-9235-69971E43B1B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74713" y="2970926"/>
            <a:ext cx="1274721" cy="852930"/>
          </a:xfrm>
        </p:spPr>
        <p:txBody>
          <a:bodyPr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55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1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C190FFA-0216-90FA-6647-2FF796D4F78D}"/>
              </a:ext>
            </a:extLst>
          </p:cNvPr>
          <p:cNvGrpSpPr/>
          <p:nvPr userDrawn="1"/>
        </p:nvGrpSpPr>
        <p:grpSpPr>
          <a:xfrm>
            <a:off x="558987" y="334537"/>
            <a:ext cx="3137300" cy="1025911"/>
            <a:chOff x="558987" y="334537"/>
            <a:chExt cx="3137300" cy="1025911"/>
          </a:xfrm>
        </p:grpSpPr>
        <p:pic>
          <p:nvPicPr>
            <p:cNvPr id="6" name="Obraz 6" descr="Obraz zawierający zegar, rysunek, znak&#10;&#10;Opis wygenerowany automatycznie">
              <a:extLst>
                <a:ext uri="{FF2B5EF4-FFF2-40B4-BE49-F238E27FC236}">
                  <a16:creationId xmlns:a16="http://schemas.microsoft.com/office/drawing/2014/main" id="{A1E900DC-0041-305D-9436-1D43CCA003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8987" y="334537"/>
              <a:ext cx="1872929" cy="1025911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7305713-B9CD-9C76-DFD2-A404874B95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951" t="31825" r="4655" b="27130"/>
            <a:stretch/>
          </p:blipFill>
          <p:spPr>
            <a:xfrm>
              <a:off x="2431917" y="568005"/>
              <a:ext cx="1264370" cy="4622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97309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BAE40"/>
          </p15:clr>
        </p15:guide>
        <p15:guide id="2" pos="71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7DF3423-7DAF-E7CE-5D79-5D1CB3BCD264}"/>
              </a:ext>
            </a:extLst>
          </p:cNvPr>
          <p:cNvGrpSpPr/>
          <p:nvPr userDrawn="1"/>
        </p:nvGrpSpPr>
        <p:grpSpPr>
          <a:xfrm>
            <a:off x="10233652" y="291314"/>
            <a:ext cx="1373893" cy="752560"/>
            <a:chOff x="10506211" y="315080"/>
            <a:chExt cx="1223334" cy="67009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8302D5AD-9857-D6E1-114B-9301979D5E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-8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54553" y="838547"/>
              <a:ext cx="882870" cy="45719"/>
            </a:xfrm>
            <a:prstGeom prst="rect">
              <a:avLst/>
            </a:prstGeom>
          </p:spPr>
        </p:pic>
        <p:pic>
          <p:nvPicPr>
            <p:cNvPr id="5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0C40D97F-33F8-4B70-ADC6-9307CBBE30A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6211" y="315080"/>
              <a:ext cx="1223334" cy="6700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69547685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ec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3FAEAC0-0E6D-444A-95B5-0A3C93C47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9434" y="2970926"/>
            <a:ext cx="6697683" cy="1724480"/>
          </a:xfrm>
        </p:spPr>
        <p:txBody>
          <a:bodyPr anchor="t">
            <a:normAutofit/>
          </a:bodyPr>
          <a:lstStyle>
            <a:lvl1pPr>
              <a:defRPr sz="5500" b="1">
                <a:solidFill>
                  <a:schemeClr val="bg1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3072B88E-60B1-4951-ACB4-62501281AA6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149434" y="5018314"/>
            <a:ext cx="9198015" cy="996592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err="1"/>
              <a:t>Sub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7" name="Symbol zastępczy numeru slajdu 5">
            <a:extLst>
              <a:ext uri="{FF2B5EF4-FFF2-40B4-BE49-F238E27FC236}">
                <a16:creationId xmlns:a16="http://schemas.microsoft.com/office/drawing/2014/main" id="{2BFFDC2F-69F9-4006-A2A6-11998BCE2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C37AD4BE-6D4A-446E-9235-69971E43B1B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74713" y="2970926"/>
            <a:ext cx="1274721" cy="852930"/>
          </a:xfrm>
        </p:spPr>
        <p:txBody>
          <a:bodyPr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55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1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6F7B1A7-FBAC-0BDA-650A-8264F6EBB9B6}"/>
              </a:ext>
            </a:extLst>
          </p:cNvPr>
          <p:cNvGrpSpPr/>
          <p:nvPr userDrawn="1"/>
        </p:nvGrpSpPr>
        <p:grpSpPr>
          <a:xfrm>
            <a:off x="545858" y="481975"/>
            <a:ext cx="1932429" cy="629463"/>
            <a:chOff x="558987" y="334537"/>
            <a:chExt cx="3149515" cy="1025911"/>
          </a:xfrm>
        </p:grpSpPr>
        <p:pic>
          <p:nvPicPr>
            <p:cNvPr id="6" name="Obraz 6" descr="Obraz zawierający zegar, rysunek, znak&#10;&#10;Opis wygenerowany automatycznie">
              <a:extLst>
                <a:ext uri="{FF2B5EF4-FFF2-40B4-BE49-F238E27FC236}">
                  <a16:creationId xmlns:a16="http://schemas.microsoft.com/office/drawing/2014/main" id="{A901D59D-0C35-C896-F989-66F3A645B2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8987" y="334537"/>
              <a:ext cx="1872929" cy="1025911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8A7FBF6-176B-E663-055D-3139D0FB8F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951" t="31825" r="4655" b="27130"/>
            <a:stretch/>
          </p:blipFill>
          <p:spPr>
            <a:xfrm>
              <a:off x="2407485" y="566822"/>
              <a:ext cx="1301017" cy="4756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622405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BAE40"/>
          </p15:clr>
        </p15:guide>
        <p15:guide id="2" pos="7129">
          <p15:clr>
            <a:srgbClr val="FBAE40"/>
          </p15:clr>
        </p15:guide>
      </p15:sldGuideLst>
    </p:ext>
  </p:extLs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ntr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3072B88E-60B1-4951-ACB4-62501281AA6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73577" y="1553671"/>
            <a:ext cx="5260523" cy="1417255"/>
          </a:xfrm>
        </p:spPr>
        <p:txBody>
          <a:bodyPr anchor="b">
            <a:normAutofit/>
          </a:bodyPr>
          <a:lstStyle>
            <a:lvl1pPr marL="0" indent="0">
              <a:buNone/>
              <a:defRPr sz="45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Intro to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7" name="Symbol zastępczy numeru slajdu 5">
            <a:extLst>
              <a:ext uri="{FF2B5EF4-FFF2-40B4-BE49-F238E27FC236}">
                <a16:creationId xmlns:a16="http://schemas.microsoft.com/office/drawing/2014/main" id="{2BFFDC2F-69F9-4006-A2A6-11998BCE2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1" name="Symbol zastępczy tekstu 2">
            <a:extLst>
              <a:ext uri="{FF2B5EF4-FFF2-40B4-BE49-F238E27FC236}">
                <a16:creationId xmlns:a16="http://schemas.microsoft.com/office/drawing/2014/main" id="{5F2C6574-FF98-442E-A4D4-981D37C5B14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68047" y="3150926"/>
            <a:ext cx="5266053" cy="2674972"/>
          </a:xfrm>
        </p:spPr>
        <p:txBody>
          <a:bodyPr>
            <a:no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 sz="24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err="1"/>
              <a:t>Proin</a:t>
            </a:r>
            <a:r>
              <a:rPr lang="pl-PL"/>
              <a:t> vitae </a:t>
            </a:r>
            <a:r>
              <a:rPr lang="pl-PL" err="1"/>
              <a:t>odio</a:t>
            </a:r>
            <a:r>
              <a:rPr lang="pl-PL"/>
              <a:t>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auctor</a:t>
            </a:r>
            <a:r>
              <a:rPr lang="pl-PL"/>
              <a:t> </a:t>
            </a:r>
            <a:r>
              <a:rPr lang="pl-PL" err="1"/>
              <a:t>faucibus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pic>
        <p:nvPicPr>
          <p:cNvPr id="2" name="Obraz 1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7CA51BF7-F49F-499A-9FBB-1CBBB2B4EA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587" y="466261"/>
            <a:ext cx="1820897" cy="997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454901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1DD86EA-EA42-44C7-8A4A-0066D92A8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9434" y="3073673"/>
            <a:ext cx="7445706" cy="1427075"/>
          </a:xfrm>
        </p:spPr>
        <p:txBody>
          <a:bodyPr anchor="t">
            <a:noAutofit/>
          </a:bodyPr>
          <a:lstStyle>
            <a:lvl1pPr marL="0" indent="0">
              <a:defRPr sz="4500" b="1" spc="-15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the </a:t>
            </a:r>
            <a:r>
              <a:rPr lang="pl-PL" err="1"/>
              <a:t>subsection</a:t>
            </a:r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E216245F-23B8-415E-9B16-3CDC42FB6A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91A28437-09C3-4BD5-A0ED-FE65C08B3832}"/>
              </a:ext>
            </a:extLst>
          </p:cNvPr>
          <p:cNvSpPr/>
          <p:nvPr userDrawn="1"/>
        </p:nvSpPr>
        <p:spPr>
          <a:xfrm>
            <a:off x="11206843" y="0"/>
            <a:ext cx="98515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1" name="Symbol zastępczy tekstu 2">
            <a:extLst>
              <a:ext uri="{FF2B5EF4-FFF2-40B4-BE49-F238E27FC236}">
                <a16:creationId xmlns:a16="http://schemas.microsoft.com/office/drawing/2014/main" id="{47C8ADBB-ACFA-574D-A9FF-6F34AD09FA91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74712" y="3073673"/>
            <a:ext cx="1274722" cy="744868"/>
          </a:xfrm>
        </p:spPr>
        <p:txBody>
          <a:bodyPr>
            <a:norm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4500" b="1" kern="1200" spc="-15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1.1.</a:t>
            </a:r>
          </a:p>
        </p:txBody>
      </p:sp>
      <p:pic>
        <p:nvPicPr>
          <p:cNvPr id="5" name="Obraz 4" descr="Obraz zawierający znak, zegar&#10;&#10;Opis wygenerowany automatycznie">
            <a:extLst>
              <a:ext uri="{FF2B5EF4-FFF2-40B4-BE49-F238E27FC236}">
                <a16:creationId xmlns:a16="http://schemas.microsoft.com/office/drawing/2014/main" id="{448DD1C7-DA96-44B0-88A4-CB7360BEA4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622" y="289845"/>
            <a:ext cx="1885007" cy="1032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187703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7" name="Tytuł 1">
            <a:extLst>
              <a:ext uri="{FF2B5EF4-FFF2-40B4-BE49-F238E27FC236}">
                <a16:creationId xmlns:a16="http://schemas.microsoft.com/office/drawing/2014/main" id="{929E80EC-ABB5-FC47-BF91-33C7057C3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2220840-5540-F14A-BC1E-444C1BD005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EA3DE48-E235-B948-82FC-0FD10B1AA6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6359" y="2537783"/>
            <a:ext cx="10499281" cy="348201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err="1"/>
              <a:t>Proin</a:t>
            </a:r>
            <a:r>
              <a:rPr lang="pl-PL"/>
              <a:t> vitae </a:t>
            </a:r>
            <a:r>
              <a:rPr lang="pl-PL" err="1"/>
              <a:t>odio</a:t>
            </a:r>
            <a:r>
              <a:rPr lang="pl-PL"/>
              <a:t>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auctor</a:t>
            </a:r>
            <a:r>
              <a:rPr lang="pl-PL"/>
              <a:t> </a:t>
            </a:r>
            <a:r>
              <a:rPr lang="pl-PL" err="1"/>
              <a:t>faucibus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pic>
        <p:nvPicPr>
          <p:cNvPr id="4" name="Obraz 3" descr="Obraz zawierający znak, zegar&#10;&#10;Opis wygenerowany automatycznie">
            <a:extLst>
              <a:ext uri="{FF2B5EF4-FFF2-40B4-BE49-F238E27FC236}">
                <a16:creationId xmlns:a16="http://schemas.microsoft.com/office/drawing/2014/main" id="{4B9CABC8-B237-46DF-B1EC-029DE6B3F5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315375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_column_text_and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E5A33A5-C501-854D-8332-AB6B555464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50350" y="0"/>
            <a:ext cx="3041650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E921302-7DE3-BD41-8B22-8AC8ECE8B1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6359" y="2840349"/>
            <a:ext cx="7770561" cy="317944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sp>
        <p:nvSpPr>
          <p:cNvPr id="28" name="Tytuł 1">
            <a:extLst>
              <a:ext uri="{FF2B5EF4-FFF2-40B4-BE49-F238E27FC236}">
                <a16:creationId xmlns:a16="http://schemas.microsoft.com/office/drawing/2014/main" id="{1DF88112-C106-6D44-87FF-A650FE327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862546"/>
            <a:ext cx="7770559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A04151-C436-4A41-A014-CB3407F0CC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920598"/>
            <a:ext cx="7770559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AA1D4B21-02EC-484F-93D1-352AD0ADF2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235270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_colum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EB70E64-4362-AA4D-BF7F-5F8D00AB9F6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50350" y="0"/>
            <a:ext cx="3041650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0798991-C02A-DB44-844E-8D4A26B467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6359" y="1280598"/>
            <a:ext cx="7770561" cy="47392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err="1"/>
              <a:t>Proin</a:t>
            </a:r>
            <a:r>
              <a:rPr lang="pl-PL"/>
              <a:t> vitae </a:t>
            </a:r>
            <a:r>
              <a:rPr lang="pl-PL" err="1"/>
              <a:t>odio</a:t>
            </a:r>
            <a:r>
              <a:rPr lang="pl-PL"/>
              <a:t>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auctor</a:t>
            </a:r>
            <a:r>
              <a:rPr lang="pl-PL"/>
              <a:t> </a:t>
            </a:r>
            <a:r>
              <a:rPr lang="pl-PL" err="1"/>
              <a:t>faucibus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FEAF2F6B-F8FB-4040-8850-B1DAFE9236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7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551112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_text_and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C781BEA-A0D4-CF4E-8171-90B52C8EBE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63349" y="2537783"/>
            <a:ext cx="3162299" cy="3477123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304D130-51A3-F548-B74D-31E02331B55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65648" y="2537783"/>
            <a:ext cx="3162299" cy="3477123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8" name="Tytuł 1">
            <a:extLst>
              <a:ext uri="{FF2B5EF4-FFF2-40B4-BE49-F238E27FC236}">
                <a16:creationId xmlns:a16="http://schemas.microsoft.com/office/drawing/2014/main" id="{BABF2F3A-98AC-E54A-B8FB-FBABA6A48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A7B1259-50F3-AC40-8743-F5628495C4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74625BDF-1CB1-4C9C-9286-C46C20F1B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850494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1D9E27F-F165-3E44-B3F0-AF418E227E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249" y="1280598"/>
            <a:ext cx="4952420" cy="47392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07F197B-A2B7-804E-A6FD-92D4CE51C21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66331" y="1280598"/>
            <a:ext cx="4952420" cy="47392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08EF6039-6B91-4C3A-B107-D5E3139663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8978405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_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ymbol zastępczy numeru slajdu 5">
            <a:extLst>
              <a:ext uri="{FF2B5EF4-FFF2-40B4-BE49-F238E27FC236}">
                <a16:creationId xmlns:a16="http://schemas.microsoft.com/office/drawing/2014/main" id="{D526C90E-13B5-4D95-8BE9-03ED11780FC9}"/>
              </a:ext>
            </a:extLst>
          </p:cNvPr>
          <p:cNvSpPr>
            <a:spLocks noGrp="1"/>
          </p:cNvSpPr>
          <p:nvPr userDrawn="1">
            <p:ph type="sldNum" sz="quarter" idx="19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7" name="Tytuł 1">
            <a:extLst>
              <a:ext uri="{FF2B5EF4-FFF2-40B4-BE49-F238E27FC236}">
                <a16:creationId xmlns:a16="http://schemas.microsoft.com/office/drawing/2014/main" id="{1F842593-776B-B443-AD88-08F7296B68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876FF36-F330-A24E-AA7B-14CA144DFC3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Timeline</a:t>
            </a:r>
            <a:endParaRPr lang="pl-PL"/>
          </a:p>
        </p:txBody>
      </p:sp>
      <p:pic>
        <p:nvPicPr>
          <p:cNvPr id="3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FFAD60F4-ACCD-4639-B663-4D424DF1863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514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1" name="Text Placeholder 60">
            <a:extLst>
              <a:ext uri="{FF2B5EF4-FFF2-40B4-BE49-F238E27FC236}">
                <a16:creationId xmlns:a16="http://schemas.microsoft.com/office/drawing/2014/main" id="{DFD8D30E-966A-7843-8DE0-595893F134C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69382" y="4620079"/>
            <a:ext cx="3081485" cy="138102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.</a:t>
            </a:r>
          </a:p>
        </p:txBody>
      </p:sp>
      <p:sp>
        <p:nvSpPr>
          <p:cNvPr id="22" name="Text Placeholder 60">
            <a:extLst>
              <a:ext uri="{FF2B5EF4-FFF2-40B4-BE49-F238E27FC236}">
                <a16:creationId xmlns:a16="http://schemas.microsoft.com/office/drawing/2014/main" id="{19041B1D-CD02-B349-9FCB-41959E33872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690909" y="4620078"/>
            <a:ext cx="3081485" cy="138102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.</a:t>
            </a:r>
          </a:p>
        </p:txBody>
      </p:sp>
      <p:sp>
        <p:nvSpPr>
          <p:cNvPr id="23" name="Text Placeholder 60">
            <a:extLst>
              <a:ext uri="{FF2B5EF4-FFF2-40B4-BE49-F238E27FC236}">
                <a16:creationId xmlns:a16="http://schemas.microsoft.com/office/drawing/2014/main" id="{07AF3E05-35E0-464C-BA8A-4A064BCE59C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12436" y="4620078"/>
            <a:ext cx="3081485" cy="138102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.</a:t>
            </a:r>
          </a:p>
        </p:txBody>
      </p:sp>
      <p:sp>
        <p:nvSpPr>
          <p:cNvPr id="42" name="Text Placeholder 60">
            <a:extLst>
              <a:ext uri="{FF2B5EF4-FFF2-40B4-BE49-F238E27FC236}">
                <a16:creationId xmlns:a16="http://schemas.microsoft.com/office/drawing/2014/main" id="{D84BA214-BCEF-E74D-8682-DA2C88B2B1F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12149" y="2613943"/>
            <a:ext cx="1499495" cy="946594"/>
          </a:xfrm>
        </p:spPr>
        <p:txBody>
          <a:bodyPr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i="0" kern="1200" spc="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en-VN"/>
              <a:t>90</a:t>
            </a:r>
          </a:p>
        </p:txBody>
      </p:sp>
      <p:sp>
        <p:nvSpPr>
          <p:cNvPr id="43" name="Text Placeholder 60">
            <a:extLst>
              <a:ext uri="{FF2B5EF4-FFF2-40B4-BE49-F238E27FC236}">
                <a16:creationId xmlns:a16="http://schemas.microsoft.com/office/drawing/2014/main" id="{0012AB77-93BB-804A-86A3-E396540AE4C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731324" y="2619277"/>
            <a:ext cx="1499495" cy="946594"/>
          </a:xfrm>
        </p:spPr>
        <p:txBody>
          <a:bodyPr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i="0" kern="1200" spc="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en-VN"/>
              <a:t>70</a:t>
            </a:r>
          </a:p>
        </p:txBody>
      </p:sp>
      <p:sp>
        <p:nvSpPr>
          <p:cNvPr id="44" name="Text Placeholder 60">
            <a:extLst>
              <a:ext uri="{FF2B5EF4-FFF2-40B4-BE49-F238E27FC236}">
                <a16:creationId xmlns:a16="http://schemas.microsoft.com/office/drawing/2014/main" id="{114745FC-72D4-A34F-9EB4-CBDE315BCF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252852" y="2613943"/>
            <a:ext cx="1499495" cy="946594"/>
          </a:xfrm>
        </p:spPr>
        <p:txBody>
          <a:bodyPr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i="0" kern="1200" spc="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en-VN"/>
              <a:t>50</a:t>
            </a:r>
          </a:p>
        </p:txBody>
      </p:sp>
      <p:sp>
        <p:nvSpPr>
          <p:cNvPr id="47" name="Text Placeholder 60">
            <a:extLst>
              <a:ext uri="{FF2B5EF4-FFF2-40B4-BE49-F238E27FC236}">
                <a16:creationId xmlns:a16="http://schemas.microsoft.com/office/drawing/2014/main" id="{BB04F1DD-DC73-B64F-8D95-470D3C9DE20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69357" y="3804469"/>
            <a:ext cx="3094240" cy="57167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-15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Headline</a:t>
            </a:r>
            <a:endParaRPr lang="pl-PL"/>
          </a:p>
        </p:txBody>
      </p:sp>
      <p:sp>
        <p:nvSpPr>
          <p:cNvPr id="48" name="Text Placeholder 60">
            <a:extLst>
              <a:ext uri="{FF2B5EF4-FFF2-40B4-BE49-F238E27FC236}">
                <a16:creationId xmlns:a16="http://schemas.microsoft.com/office/drawing/2014/main" id="{25F60B0D-B742-0042-88EE-1ABCF1A260B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690908" y="3804469"/>
            <a:ext cx="3081485" cy="57167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-15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Headline</a:t>
            </a:r>
            <a:endParaRPr lang="pl-PL"/>
          </a:p>
        </p:txBody>
      </p:sp>
      <p:sp>
        <p:nvSpPr>
          <p:cNvPr id="50" name="Text Placeholder 60">
            <a:extLst>
              <a:ext uri="{FF2B5EF4-FFF2-40B4-BE49-F238E27FC236}">
                <a16:creationId xmlns:a16="http://schemas.microsoft.com/office/drawing/2014/main" id="{DE9DABA4-C2D8-8E4E-AA85-55EE5E6132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212436" y="3808741"/>
            <a:ext cx="3081485" cy="57167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-15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Headline</a:t>
            </a:r>
            <a:endParaRPr lang="pl-PL"/>
          </a:p>
        </p:txBody>
      </p:sp>
      <p:sp>
        <p:nvSpPr>
          <p:cNvPr id="24" name="Tytuł 1">
            <a:extLst>
              <a:ext uri="{FF2B5EF4-FFF2-40B4-BE49-F238E27FC236}">
                <a16:creationId xmlns:a16="http://schemas.microsoft.com/office/drawing/2014/main" id="{46B78CD4-6DC0-104F-B4BD-0566E5541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2AB964A-EF59-DE48-AD8F-EEA61505B34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tatistics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D7E5FB14-933E-4364-B3D1-C09D685904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A2F4E2AC-1087-4DFC-850A-D9F3A645579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767012" y="2601437"/>
            <a:ext cx="1136930" cy="94659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2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%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5C0A0ADB-A1D9-49E0-8F6D-4C0B1164EC7C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278786" y="2610063"/>
            <a:ext cx="1136930" cy="94659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2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%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504EFA6F-F170-44CA-BAB1-4CD9E4F9790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790560" y="2610063"/>
            <a:ext cx="1136930" cy="946594"/>
          </a:xfr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2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356958617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55" name="Tytuł 1">
            <a:extLst>
              <a:ext uri="{FF2B5EF4-FFF2-40B4-BE49-F238E27FC236}">
                <a16:creationId xmlns:a16="http://schemas.microsoft.com/office/drawing/2014/main" id="{9BF03333-7666-44CE-BC39-1F8FA0BAB218}"/>
              </a:ext>
            </a:extLst>
          </p:cNvPr>
          <p:cNvSpPr txBox="1">
            <a:spLocks/>
          </p:cNvSpPr>
          <p:nvPr userDrawn="1"/>
        </p:nvSpPr>
        <p:spPr>
          <a:xfrm>
            <a:off x="873578" y="1171162"/>
            <a:ext cx="4542064" cy="51162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1" kern="1200" spc="-15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200" spc="0" err="1"/>
              <a:t>Icons</a:t>
            </a:r>
            <a:endParaRPr lang="pl-PL" sz="2200" spc="0"/>
          </a:p>
        </p:txBody>
      </p:sp>
      <p:pic>
        <p:nvPicPr>
          <p:cNvPr id="27" name="Obraz 26" descr="Obraz zawierający znak, zegar&#10;&#10;Opis wygenerowany automatycznie">
            <a:extLst>
              <a:ext uri="{FF2B5EF4-FFF2-40B4-BE49-F238E27FC236}">
                <a16:creationId xmlns:a16="http://schemas.microsoft.com/office/drawing/2014/main" id="{DA80CAF4-4327-46E2-8BE6-EFF99D5124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94512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8" name="Text Placeholder 60">
            <a:extLst>
              <a:ext uri="{FF2B5EF4-FFF2-40B4-BE49-F238E27FC236}">
                <a16:creationId xmlns:a16="http://schemas.microsoft.com/office/drawing/2014/main" id="{E2FE5B23-E796-9845-AEB3-C0E6F3C3AD0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73575" y="2553992"/>
            <a:ext cx="2429131" cy="342674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9" name="Tytuł 1">
            <a:extLst>
              <a:ext uri="{FF2B5EF4-FFF2-40B4-BE49-F238E27FC236}">
                <a16:creationId xmlns:a16="http://schemas.microsoft.com/office/drawing/2014/main" id="{4EC41BCE-7E61-D64D-AE59-BED013FB7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67F42A08-C50E-F94C-BBE1-66A51F0CFFC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Pie Chart</a:t>
            </a:r>
          </a:p>
        </p:txBody>
      </p:sp>
      <p:sp>
        <p:nvSpPr>
          <p:cNvPr id="11" name="Chart Placeholder 2">
            <a:extLst>
              <a:ext uri="{FF2B5EF4-FFF2-40B4-BE49-F238E27FC236}">
                <a16:creationId xmlns:a16="http://schemas.microsoft.com/office/drawing/2014/main" id="{164FAD95-5B35-C04C-960B-FF68DB61F234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3840187" y="2553992"/>
            <a:ext cx="7505451" cy="3452807"/>
          </a:xfrm>
        </p:spPr>
        <p:txBody>
          <a:bodyPr/>
          <a:lstStyle/>
          <a:p>
            <a:endParaRPr lang="en-VN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C99B4826-B08E-408F-B8D3-9A05CF3AA0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247600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1" name="Text Placeholder 60">
            <a:extLst>
              <a:ext uri="{FF2B5EF4-FFF2-40B4-BE49-F238E27FC236}">
                <a16:creationId xmlns:a16="http://schemas.microsoft.com/office/drawing/2014/main" id="{DAD57A10-2378-C042-829B-CEFB0227B17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16507" y="2545433"/>
            <a:ext cx="2401916" cy="342674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2" name="Tytuł 1">
            <a:extLst>
              <a:ext uri="{FF2B5EF4-FFF2-40B4-BE49-F238E27FC236}">
                <a16:creationId xmlns:a16="http://schemas.microsoft.com/office/drawing/2014/main" id="{EB1AA903-786F-F64D-B96A-0589677BEA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D2CF7D0-12DF-BF46-848D-E5FE5C0598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Bar Chart</a:t>
            </a:r>
          </a:p>
        </p:txBody>
      </p:sp>
      <p:sp>
        <p:nvSpPr>
          <p:cNvPr id="15" name="Chart Placeholder 2">
            <a:extLst>
              <a:ext uri="{FF2B5EF4-FFF2-40B4-BE49-F238E27FC236}">
                <a16:creationId xmlns:a16="http://schemas.microsoft.com/office/drawing/2014/main" id="{AA973FBF-1D29-9D49-9CD1-CE28522BEE26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873575" y="2537783"/>
            <a:ext cx="7502933" cy="3434392"/>
          </a:xfrm>
        </p:spPr>
        <p:txBody>
          <a:bodyPr/>
          <a:lstStyle/>
          <a:p>
            <a:endParaRPr lang="en-VN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F365A329-3473-4832-BEFC-096C4691D3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756370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cxnSp>
        <p:nvCxnSpPr>
          <p:cNvPr id="11" name="Łącznik prosty 10">
            <a:extLst>
              <a:ext uri="{FF2B5EF4-FFF2-40B4-BE49-F238E27FC236}">
                <a16:creationId xmlns:a16="http://schemas.microsoft.com/office/drawing/2014/main" id="{C2D73FA2-095C-41E7-BF3D-3E65D4600830}"/>
              </a:ext>
            </a:extLst>
          </p:cNvPr>
          <p:cNvCxnSpPr>
            <a:cxnSpLocks/>
          </p:cNvCxnSpPr>
          <p:nvPr userDrawn="1"/>
        </p:nvCxnSpPr>
        <p:spPr>
          <a:xfrm>
            <a:off x="1013426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Łącznik prosty 24">
            <a:extLst>
              <a:ext uri="{FF2B5EF4-FFF2-40B4-BE49-F238E27FC236}">
                <a16:creationId xmlns:a16="http://schemas.microsoft.com/office/drawing/2014/main" id="{3C1EBD96-FC8B-467F-BA05-89B6A01E6C87}"/>
              </a:ext>
            </a:extLst>
          </p:cNvPr>
          <p:cNvCxnSpPr>
            <a:cxnSpLocks/>
          </p:cNvCxnSpPr>
          <p:nvPr userDrawn="1"/>
        </p:nvCxnSpPr>
        <p:spPr>
          <a:xfrm>
            <a:off x="3066742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Łącznik prosty 36">
            <a:extLst>
              <a:ext uri="{FF2B5EF4-FFF2-40B4-BE49-F238E27FC236}">
                <a16:creationId xmlns:a16="http://schemas.microsoft.com/office/drawing/2014/main" id="{EA249D0D-D9C0-4F41-8C2D-B54A8594B1C9}"/>
              </a:ext>
            </a:extLst>
          </p:cNvPr>
          <p:cNvCxnSpPr>
            <a:cxnSpLocks/>
          </p:cNvCxnSpPr>
          <p:nvPr userDrawn="1"/>
        </p:nvCxnSpPr>
        <p:spPr>
          <a:xfrm>
            <a:off x="5115042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Łącznik prosty 40">
            <a:extLst>
              <a:ext uri="{FF2B5EF4-FFF2-40B4-BE49-F238E27FC236}">
                <a16:creationId xmlns:a16="http://schemas.microsoft.com/office/drawing/2014/main" id="{6373FCD6-8FF8-401A-AABF-0E3D085F8D23}"/>
              </a:ext>
            </a:extLst>
          </p:cNvPr>
          <p:cNvCxnSpPr>
            <a:cxnSpLocks/>
          </p:cNvCxnSpPr>
          <p:nvPr userDrawn="1"/>
        </p:nvCxnSpPr>
        <p:spPr>
          <a:xfrm>
            <a:off x="7168358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Łącznik prosty 50">
            <a:extLst>
              <a:ext uri="{FF2B5EF4-FFF2-40B4-BE49-F238E27FC236}">
                <a16:creationId xmlns:a16="http://schemas.microsoft.com/office/drawing/2014/main" id="{AE19DA18-FFDD-4D42-829E-2A06AA4C3EB1}"/>
              </a:ext>
            </a:extLst>
          </p:cNvPr>
          <p:cNvCxnSpPr>
            <a:cxnSpLocks/>
          </p:cNvCxnSpPr>
          <p:nvPr userDrawn="1"/>
        </p:nvCxnSpPr>
        <p:spPr>
          <a:xfrm>
            <a:off x="9199914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EC355DE3-C9CA-CD42-8086-6CD72154393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39792" y="4509711"/>
            <a:ext cx="1839291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64" name="Text Placeholder 60">
            <a:extLst>
              <a:ext uri="{FF2B5EF4-FFF2-40B4-BE49-F238E27FC236}">
                <a16:creationId xmlns:a16="http://schemas.microsoft.com/office/drawing/2014/main" id="{AB50EBF6-5D95-BC45-9C63-954D03F72C5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00840" y="3637944"/>
            <a:ext cx="1881427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1.</a:t>
            </a:r>
          </a:p>
        </p:txBody>
      </p:sp>
      <p:sp>
        <p:nvSpPr>
          <p:cNvPr id="65" name="Text Placeholder 60">
            <a:extLst>
              <a:ext uri="{FF2B5EF4-FFF2-40B4-BE49-F238E27FC236}">
                <a16:creationId xmlns:a16="http://schemas.microsoft.com/office/drawing/2014/main" id="{F720E689-39B1-9245-AB65-DD6F312DBB6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00840" y="4124820"/>
            <a:ext cx="1881427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66" name="Text Placeholder 60">
            <a:extLst>
              <a:ext uri="{FF2B5EF4-FFF2-40B4-BE49-F238E27FC236}">
                <a16:creationId xmlns:a16="http://schemas.microsoft.com/office/drawing/2014/main" id="{1B0F2A70-062F-4040-81EE-C7AC88A1CC6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59511" y="3625828"/>
            <a:ext cx="1881428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2.</a:t>
            </a:r>
          </a:p>
        </p:txBody>
      </p:sp>
      <p:sp>
        <p:nvSpPr>
          <p:cNvPr id="67" name="Text Placeholder 60">
            <a:extLst>
              <a:ext uri="{FF2B5EF4-FFF2-40B4-BE49-F238E27FC236}">
                <a16:creationId xmlns:a16="http://schemas.microsoft.com/office/drawing/2014/main" id="{7DA62FC7-0C6B-304B-B58D-884BDDE546E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154494" y="4112704"/>
            <a:ext cx="1873484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68" name="Text Placeholder 60">
            <a:extLst>
              <a:ext uri="{FF2B5EF4-FFF2-40B4-BE49-F238E27FC236}">
                <a16:creationId xmlns:a16="http://schemas.microsoft.com/office/drawing/2014/main" id="{80356AD0-D55F-B948-84CA-DF589D91D80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40584" y="3637944"/>
            <a:ext cx="1837742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3.</a:t>
            </a:r>
          </a:p>
        </p:txBody>
      </p:sp>
      <p:sp>
        <p:nvSpPr>
          <p:cNvPr id="70" name="Text Placeholder 60">
            <a:extLst>
              <a:ext uri="{FF2B5EF4-FFF2-40B4-BE49-F238E27FC236}">
                <a16:creationId xmlns:a16="http://schemas.microsoft.com/office/drawing/2014/main" id="{EC756B4B-EFF8-B34C-AEB0-8AC3B293B96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40582" y="4124821"/>
            <a:ext cx="1837741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71" name="Text Placeholder 60">
            <a:extLst>
              <a:ext uri="{FF2B5EF4-FFF2-40B4-BE49-F238E27FC236}">
                <a16:creationId xmlns:a16="http://schemas.microsoft.com/office/drawing/2014/main" id="{714DF4FC-C50D-9446-B0D3-6D6D9AFBC23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52917" y="4495093"/>
            <a:ext cx="1875060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72" name="Text Placeholder 60">
            <a:extLst>
              <a:ext uri="{FF2B5EF4-FFF2-40B4-BE49-F238E27FC236}">
                <a16:creationId xmlns:a16="http://schemas.microsoft.com/office/drawing/2014/main" id="{A07194BE-D76F-BF4B-A421-877DB1635F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00059" y="4502207"/>
            <a:ext cx="1881427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3" name="Text Placeholder 60">
            <a:extLst>
              <a:ext uri="{FF2B5EF4-FFF2-40B4-BE49-F238E27FC236}">
                <a16:creationId xmlns:a16="http://schemas.microsoft.com/office/drawing/2014/main" id="{70049643-AD52-8C45-8843-942514BF015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260611" y="4497595"/>
            <a:ext cx="1839291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4" name="Text Placeholder 60">
            <a:extLst>
              <a:ext uri="{FF2B5EF4-FFF2-40B4-BE49-F238E27FC236}">
                <a16:creationId xmlns:a16="http://schemas.microsoft.com/office/drawing/2014/main" id="{A9FD836D-BD8F-7A4F-9578-B2A1840A401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61403" y="3625828"/>
            <a:ext cx="1837742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4.</a:t>
            </a:r>
          </a:p>
        </p:txBody>
      </p:sp>
      <p:sp>
        <p:nvSpPr>
          <p:cNvPr id="85" name="Text Placeholder 60">
            <a:extLst>
              <a:ext uri="{FF2B5EF4-FFF2-40B4-BE49-F238E27FC236}">
                <a16:creationId xmlns:a16="http://schemas.microsoft.com/office/drawing/2014/main" id="{1F11E0C5-BB90-C54C-9F45-07BA01346F8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61401" y="4112705"/>
            <a:ext cx="1837741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89" name="Text Placeholder 60">
            <a:extLst>
              <a:ext uri="{FF2B5EF4-FFF2-40B4-BE49-F238E27FC236}">
                <a16:creationId xmlns:a16="http://schemas.microsoft.com/office/drawing/2014/main" id="{0CD43120-E7F9-E84C-AB53-D7B8D88DF91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96861" y="4490091"/>
            <a:ext cx="1839291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90" name="Text Placeholder 60">
            <a:extLst>
              <a:ext uri="{FF2B5EF4-FFF2-40B4-BE49-F238E27FC236}">
                <a16:creationId xmlns:a16="http://schemas.microsoft.com/office/drawing/2014/main" id="{9A1C3D79-D53B-8044-988E-FC39BF636A7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297653" y="3618324"/>
            <a:ext cx="1837742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5.</a:t>
            </a:r>
          </a:p>
        </p:txBody>
      </p:sp>
      <p:sp>
        <p:nvSpPr>
          <p:cNvPr id="91" name="Text Placeholder 60">
            <a:extLst>
              <a:ext uri="{FF2B5EF4-FFF2-40B4-BE49-F238E27FC236}">
                <a16:creationId xmlns:a16="http://schemas.microsoft.com/office/drawing/2014/main" id="{8A5DB2EF-B467-2A43-865F-C95DC9A39FD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297651" y="4105201"/>
            <a:ext cx="1837741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394B4A0-15B9-0942-BD0C-49F1B5DBE61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Process</a:t>
            </a:r>
            <a:endParaRPr lang="pl-PL"/>
          </a:p>
        </p:txBody>
      </p:sp>
      <p:graphicFrame>
        <p:nvGraphicFramePr>
          <p:cNvPr id="36" name="Diagram 35">
            <a:extLst>
              <a:ext uri="{FF2B5EF4-FFF2-40B4-BE49-F238E27FC236}">
                <a16:creationId xmlns:a16="http://schemas.microsoft.com/office/drawing/2014/main" id="{CD23FAA5-A7A5-8C49-8E0D-F024CE45546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86440504"/>
              </p:ext>
            </p:extLst>
          </p:nvPr>
        </p:nvGraphicFramePr>
        <p:xfrm>
          <a:off x="868137" y="2328182"/>
          <a:ext cx="10477501" cy="7565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60C20CF-B865-8B44-BD36-17589A21A6C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209031" y="2326909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16181BA-1FC1-E741-B679-9810D1ECAB6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68870" y="2328182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FE33DAE9-07C3-DB48-897C-2C0141E4A66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91486" y="2326909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64B5A0C-DD98-B342-82AE-38923E82673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44177" y="2337820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2081F07E-5101-144B-84C2-23242040AD7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366362" y="2337820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840059F9-9774-47EA-9875-CA53E16FEC2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043827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394B4A0-15B9-0942-BD0C-49F1B5DBE61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Process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840059F9-9774-47EA-9875-CA53E16FEC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542330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7" name="Text Placeholder 60">
            <a:extLst>
              <a:ext uri="{FF2B5EF4-FFF2-40B4-BE49-F238E27FC236}">
                <a16:creationId xmlns:a16="http://schemas.microsoft.com/office/drawing/2014/main" id="{F533D588-1515-E547-96E5-043A829923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39792" y="3650061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8" name="Text Placeholder 60">
            <a:extLst>
              <a:ext uri="{FF2B5EF4-FFF2-40B4-BE49-F238E27FC236}">
                <a16:creationId xmlns:a16="http://schemas.microsoft.com/office/drawing/2014/main" id="{4865FDAA-D4A0-BC42-8267-B5190D5B069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52917" y="3635443"/>
            <a:ext cx="1875060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9" name="Text Placeholder 60">
            <a:extLst>
              <a:ext uri="{FF2B5EF4-FFF2-40B4-BE49-F238E27FC236}">
                <a16:creationId xmlns:a16="http://schemas.microsoft.com/office/drawing/2014/main" id="{71180699-D64D-B848-91D2-41B5FAF2B1C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00059" y="3642557"/>
            <a:ext cx="1881427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0" name="Text Placeholder 60">
            <a:extLst>
              <a:ext uri="{FF2B5EF4-FFF2-40B4-BE49-F238E27FC236}">
                <a16:creationId xmlns:a16="http://schemas.microsoft.com/office/drawing/2014/main" id="{2CC46ADD-3E85-7445-9ECB-4CEF56C89D4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260611" y="3637945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1" name="Text Placeholder 60">
            <a:extLst>
              <a:ext uri="{FF2B5EF4-FFF2-40B4-BE49-F238E27FC236}">
                <a16:creationId xmlns:a16="http://schemas.microsoft.com/office/drawing/2014/main" id="{B78575ED-8EC4-A94D-ACEF-B945C14B7EE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96861" y="3630441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160E82-699B-1C42-A277-29C0FB7F381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209031" y="2398038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23A3B784-A354-024B-BD60-48D83FC3DDA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68870" y="2399311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2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976A9BDD-C86A-7341-8A72-F1B2836D58F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91486" y="2398038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3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6611BAE4-7EC3-B94A-98B0-7E3079F5872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44177" y="2408949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4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6FF69C6-D619-FA4B-8368-EAD10E1DB11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366362" y="2408949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5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4D9182F9-6A85-CC40-87F5-1190C0ECE7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Process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FD1838F8-5100-47A1-9BE2-6D817650F7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177031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ces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7" name="Text Placeholder 60">
            <a:extLst>
              <a:ext uri="{FF2B5EF4-FFF2-40B4-BE49-F238E27FC236}">
                <a16:creationId xmlns:a16="http://schemas.microsoft.com/office/drawing/2014/main" id="{F533D588-1515-E547-96E5-043A829923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39792" y="3650061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8" name="Text Placeholder 60">
            <a:extLst>
              <a:ext uri="{FF2B5EF4-FFF2-40B4-BE49-F238E27FC236}">
                <a16:creationId xmlns:a16="http://schemas.microsoft.com/office/drawing/2014/main" id="{4865FDAA-D4A0-BC42-8267-B5190D5B069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52917" y="3635443"/>
            <a:ext cx="1875060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9" name="Text Placeholder 60">
            <a:extLst>
              <a:ext uri="{FF2B5EF4-FFF2-40B4-BE49-F238E27FC236}">
                <a16:creationId xmlns:a16="http://schemas.microsoft.com/office/drawing/2014/main" id="{71180699-D64D-B848-91D2-41B5FAF2B1C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00059" y="3642557"/>
            <a:ext cx="1881427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0" name="Text Placeholder 60">
            <a:extLst>
              <a:ext uri="{FF2B5EF4-FFF2-40B4-BE49-F238E27FC236}">
                <a16:creationId xmlns:a16="http://schemas.microsoft.com/office/drawing/2014/main" id="{2CC46ADD-3E85-7445-9ECB-4CEF56C89D4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260611" y="3637945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1" name="Text Placeholder 60">
            <a:extLst>
              <a:ext uri="{FF2B5EF4-FFF2-40B4-BE49-F238E27FC236}">
                <a16:creationId xmlns:a16="http://schemas.microsoft.com/office/drawing/2014/main" id="{B78575ED-8EC4-A94D-ACEF-B945C14B7EE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96861" y="3630441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graphicFrame>
        <p:nvGraphicFramePr>
          <p:cNvPr id="17" name="Diagram 16">
            <a:extLst>
              <a:ext uri="{FF2B5EF4-FFF2-40B4-BE49-F238E27FC236}">
                <a16:creationId xmlns:a16="http://schemas.microsoft.com/office/drawing/2014/main" id="{DFC05E75-E2B2-8446-8D26-025F7CBA2B16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742539720"/>
              </p:ext>
            </p:extLst>
          </p:nvPr>
        </p:nvGraphicFramePr>
        <p:xfrm>
          <a:off x="868137" y="2328182"/>
          <a:ext cx="10477501" cy="7565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160E82-699B-1C42-A277-29C0FB7F381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209031" y="2398038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23A3B784-A354-024B-BD60-48D83FC3DDA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68870" y="2399311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2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976A9BDD-C86A-7341-8A72-F1B2836D58F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91486" y="2398038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3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6611BAE4-7EC3-B94A-98B0-7E3079F5872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44177" y="2408949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4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6FF69C6-D619-FA4B-8368-EAD10E1DB11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366362" y="2408949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5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4D9182F9-6A85-CC40-87F5-1190C0ECE7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Process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FD1838F8-5100-47A1-9BE2-6D817650F78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415386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rganisational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4" name="SmartArt Placeholder 2">
            <a:extLst>
              <a:ext uri="{FF2B5EF4-FFF2-40B4-BE49-F238E27FC236}">
                <a16:creationId xmlns:a16="http://schemas.microsoft.com/office/drawing/2014/main" id="{C9EE6DDF-4503-8B4F-8836-08F07EAC62C0}"/>
              </a:ext>
            </a:extLst>
          </p:cNvPr>
          <p:cNvSpPr>
            <a:spLocks noGrp="1"/>
          </p:cNvSpPr>
          <p:nvPr>
            <p:ph type="dgm" sz="quarter" idx="17"/>
          </p:nvPr>
        </p:nvSpPr>
        <p:spPr>
          <a:xfrm>
            <a:off x="868790" y="2545887"/>
            <a:ext cx="10476847" cy="3434391"/>
          </a:xfrm>
        </p:spPr>
        <p:txBody>
          <a:bodyPr/>
          <a:lstStyle/>
          <a:p>
            <a:endParaRPr lang="en-VN"/>
          </a:p>
        </p:txBody>
      </p:sp>
      <p:sp>
        <p:nvSpPr>
          <p:cNvPr id="11" name="Tytuł 1">
            <a:extLst>
              <a:ext uri="{FF2B5EF4-FFF2-40B4-BE49-F238E27FC236}">
                <a16:creationId xmlns:a16="http://schemas.microsoft.com/office/drawing/2014/main" id="{EEC792C8-E504-3F40-ACD9-AB64AF98C4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/>
              <a:t>Char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4FD9722D-4087-514F-AABA-0E8F73EC51A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Organisational</a:t>
            </a:r>
            <a:endParaRPr lang="pl-PL"/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9EADA050-CE5F-4E62-8280-485DFF5021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26308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ymbol zastępczy numeru slajdu 5">
            <a:extLst>
              <a:ext uri="{FF2B5EF4-FFF2-40B4-BE49-F238E27FC236}">
                <a16:creationId xmlns:a16="http://schemas.microsoft.com/office/drawing/2014/main" id="{1E56DE1E-2F16-46AE-AF32-B444265136E2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7"/>
            <a:ext cx="10504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l" defTabSz="914400" rtl="0" eaLnBrk="1" latinLnBrk="0" hangingPunct="1">
              <a:defRPr sz="1200" b="1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4" name="Tytuł 1">
            <a:extLst>
              <a:ext uri="{FF2B5EF4-FFF2-40B4-BE49-F238E27FC236}">
                <a16:creationId xmlns:a16="http://schemas.microsoft.com/office/drawing/2014/main" id="{A63FB9EB-CE12-3847-9139-913B0510B4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577" y="1460598"/>
            <a:ext cx="4716942" cy="717184"/>
          </a:xfrm>
        </p:spPr>
        <p:txBody>
          <a:bodyPr anchor="b">
            <a:normAutofit/>
          </a:bodyPr>
          <a:lstStyle>
            <a:lvl1pPr>
              <a:defRPr sz="3000" b="1" spc="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</a:t>
            </a:r>
            <a:r>
              <a:rPr lang="pl-PL" err="1"/>
              <a:t>paragraph</a:t>
            </a:r>
            <a:endParaRPr lang="pl-PL"/>
          </a:p>
        </p:txBody>
      </p:sp>
      <p:sp>
        <p:nvSpPr>
          <p:cNvPr id="14" name="Text Placeholder 60">
            <a:extLst>
              <a:ext uri="{FF2B5EF4-FFF2-40B4-BE49-F238E27FC236}">
                <a16:creationId xmlns:a16="http://schemas.microsoft.com/office/drawing/2014/main" id="{1168994B-C1E1-0847-92B6-623DE198D29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80879" y="4283358"/>
            <a:ext cx="4716941" cy="172242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9" name="Text Placeholder 60">
            <a:extLst>
              <a:ext uri="{FF2B5EF4-FFF2-40B4-BE49-F238E27FC236}">
                <a16:creationId xmlns:a16="http://schemas.microsoft.com/office/drawing/2014/main" id="{7CB87D47-F384-424D-8293-412E9135705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73578" y="2537783"/>
            <a:ext cx="4716941" cy="1555246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19647EF6-33D9-46E1-8DAF-A15A227C27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665093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Map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5" name="Tytuł 1">
            <a:extLst>
              <a:ext uri="{FF2B5EF4-FFF2-40B4-BE49-F238E27FC236}">
                <a16:creationId xmlns:a16="http://schemas.microsoft.com/office/drawing/2014/main" id="{734E2013-0338-7F3B-ACE7-4ED8BF7F93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47588AD-7F96-7036-53E2-88E70E106A16}"/>
              </a:ext>
            </a:extLst>
          </p:cNvPr>
          <p:cNvGrpSpPr/>
          <p:nvPr userDrawn="1"/>
        </p:nvGrpSpPr>
        <p:grpSpPr>
          <a:xfrm>
            <a:off x="9613647" y="311734"/>
            <a:ext cx="1948392" cy="674051"/>
            <a:chOff x="9613647" y="311734"/>
            <a:chExt cx="1948392" cy="674051"/>
          </a:xfrm>
        </p:grpSpPr>
        <p:pic>
          <p:nvPicPr>
            <p:cNvPr id="4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F151420E-BF6B-3E08-F5EF-8D91F312A6D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647" y="311734"/>
              <a:ext cx="1230566" cy="674051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BF40041-733D-ED63-4BAB-74D41C23D99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827" t="30157" r="4529" b="27153"/>
            <a:stretch/>
          </p:blipFill>
          <p:spPr>
            <a:xfrm>
              <a:off x="10760830" y="477407"/>
              <a:ext cx="801209" cy="3038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60980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ap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5" name="Tytuł 1">
            <a:extLst>
              <a:ext uri="{FF2B5EF4-FFF2-40B4-BE49-F238E27FC236}">
                <a16:creationId xmlns:a16="http://schemas.microsoft.com/office/drawing/2014/main" id="{734E2013-0338-7F3B-ACE7-4ED8BF7F93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9CC35F2-563A-9B64-E341-E9F98970DD44}"/>
              </a:ext>
            </a:extLst>
          </p:cNvPr>
          <p:cNvGrpSpPr/>
          <p:nvPr userDrawn="1"/>
        </p:nvGrpSpPr>
        <p:grpSpPr>
          <a:xfrm>
            <a:off x="9613647" y="311734"/>
            <a:ext cx="1948392" cy="674051"/>
            <a:chOff x="9613647" y="311734"/>
            <a:chExt cx="1948392" cy="674051"/>
          </a:xfrm>
        </p:grpSpPr>
        <p:pic>
          <p:nvPicPr>
            <p:cNvPr id="4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0E2FB071-3461-7FD1-54F8-076A24D9A3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647" y="311734"/>
              <a:ext cx="1230566" cy="674051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105B10B-585E-DAED-A8E0-05580E47290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827" t="30157" r="4529" b="27153"/>
            <a:stretch/>
          </p:blipFill>
          <p:spPr>
            <a:xfrm>
              <a:off x="10760830" y="477407"/>
              <a:ext cx="801209" cy="3038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940823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4246107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p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AC34C07-0340-29B4-F888-AC4291E85BEE}"/>
              </a:ext>
            </a:extLst>
          </p:cNvPr>
          <p:cNvGrpSpPr/>
          <p:nvPr userDrawn="1"/>
        </p:nvGrpSpPr>
        <p:grpSpPr>
          <a:xfrm>
            <a:off x="9613647" y="311734"/>
            <a:ext cx="1948392" cy="674051"/>
            <a:chOff x="9613647" y="311734"/>
            <a:chExt cx="1948392" cy="674051"/>
          </a:xfrm>
        </p:grpSpPr>
        <p:pic>
          <p:nvPicPr>
            <p:cNvPr id="4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AA6F8F45-381E-079B-C33A-05BEA323977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647" y="311734"/>
              <a:ext cx="1230566" cy="674051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9296582-462F-2D19-65B0-378991815A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827" t="30157" r="4529" b="27153"/>
            <a:stretch/>
          </p:blipFill>
          <p:spPr>
            <a:xfrm>
              <a:off x="10760830" y="477407"/>
              <a:ext cx="801209" cy="3038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71132044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5" name="Tytuł 1">
            <a:extLst>
              <a:ext uri="{FF2B5EF4-FFF2-40B4-BE49-F238E27FC236}">
                <a16:creationId xmlns:a16="http://schemas.microsoft.com/office/drawing/2014/main" id="{734E2013-0338-7F3B-ACE7-4ED8BF7F93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B32506F-5A74-9FF7-B317-A8AE98EB4FC3}"/>
              </a:ext>
            </a:extLst>
          </p:cNvPr>
          <p:cNvGrpSpPr/>
          <p:nvPr userDrawn="1"/>
        </p:nvGrpSpPr>
        <p:grpSpPr>
          <a:xfrm>
            <a:off x="9613647" y="311734"/>
            <a:ext cx="1948392" cy="674051"/>
            <a:chOff x="9613647" y="311734"/>
            <a:chExt cx="1948392" cy="674051"/>
          </a:xfrm>
        </p:grpSpPr>
        <p:pic>
          <p:nvPicPr>
            <p:cNvPr id="4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644B3443-A310-F0D8-3A52-77F7CD102AB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647" y="311734"/>
              <a:ext cx="1230566" cy="674051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E0659A6B-778B-E87A-5FE4-76BAC4F229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827" t="30157" r="4529" b="27153"/>
            <a:stretch/>
          </p:blipFill>
          <p:spPr>
            <a:xfrm>
              <a:off x="10760830" y="477407"/>
              <a:ext cx="801209" cy="3038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14109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ap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5" name="Tytuł 1">
            <a:extLst>
              <a:ext uri="{FF2B5EF4-FFF2-40B4-BE49-F238E27FC236}">
                <a16:creationId xmlns:a16="http://schemas.microsoft.com/office/drawing/2014/main" id="{734E2013-0338-7F3B-ACE7-4ED8BF7F93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DB9178B-8A89-0A14-ADFD-1074F5963224}"/>
              </a:ext>
            </a:extLst>
          </p:cNvPr>
          <p:cNvGrpSpPr/>
          <p:nvPr userDrawn="1"/>
        </p:nvGrpSpPr>
        <p:grpSpPr>
          <a:xfrm>
            <a:off x="9613647" y="311734"/>
            <a:ext cx="1948392" cy="674051"/>
            <a:chOff x="9613647" y="311734"/>
            <a:chExt cx="1948392" cy="674051"/>
          </a:xfrm>
        </p:grpSpPr>
        <p:pic>
          <p:nvPicPr>
            <p:cNvPr id="4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B02FBACA-270F-61EC-7674-9DDCDCEFB6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647" y="311734"/>
              <a:ext cx="1230566" cy="674051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23F32E4-6A83-115C-7ADD-04F886443ED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827" t="30157" r="4529" b="27153"/>
            <a:stretch/>
          </p:blipFill>
          <p:spPr>
            <a:xfrm>
              <a:off x="10760830" y="477407"/>
              <a:ext cx="801209" cy="3038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03027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p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619E9F3A-9366-DE75-7B06-15511A9F6301}"/>
              </a:ext>
            </a:extLst>
          </p:cNvPr>
          <p:cNvGrpSpPr/>
          <p:nvPr userDrawn="1"/>
        </p:nvGrpSpPr>
        <p:grpSpPr>
          <a:xfrm>
            <a:off x="9613647" y="311734"/>
            <a:ext cx="1948392" cy="674051"/>
            <a:chOff x="9613647" y="311734"/>
            <a:chExt cx="1948392" cy="674051"/>
          </a:xfrm>
        </p:grpSpPr>
        <p:pic>
          <p:nvPicPr>
            <p:cNvPr id="8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3E8C8131-1890-6241-4460-7EC4C76A73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647" y="311734"/>
              <a:ext cx="1230566" cy="674051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468B7EA-A2DC-B02D-F192-D2A6E3DD10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827" t="30157" r="4529" b="27153"/>
            <a:stretch/>
          </p:blipFill>
          <p:spPr>
            <a:xfrm>
              <a:off x="10760830" y="477407"/>
              <a:ext cx="801209" cy="3038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39741390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273268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Dwa elementy zawartości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6" name="Media Placeholder 2">
            <a:extLst>
              <a:ext uri="{FF2B5EF4-FFF2-40B4-BE49-F238E27FC236}">
                <a16:creationId xmlns:a16="http://schemas.microsoft.com/office/drawing/2014/main" id="{8420CF63-BCBF-DD47-94BE-F5E550B49AE6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2600960" y="1660071"/>
            <a:ext cx="6990080" cy="3931920"/>
          </a:xfrm>
        </p:spPr>
      </p:sp>
      <p:pic>
        <p:nvPicPr>
          <p:cNvPr id="2" name="Obraz 1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54CFD476-AD99-4BA6-8E9B-509B5FA299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150734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_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41653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RO_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30782800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7" name="Tytuł 1">
            <a:extLst>
              <a:ext uri="{FF2B5EF4-FFF2-40B4-BE49-F238E27FC236}">
                <a16:creationId xmlns:a16="http://schemas.microsoft.com/office/drawing/2014/main" id="{929E80EC-ABB5-FC47-BF91-33C7057C3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2220840-5540-F14A-BC1E-444C1BD005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253927"/>
            <a:ext cx="8806338" cy="679767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BE213F-335F-374B-8577-A74A6B6B78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651982"/>
            <a:ext cx="12192000" cy="2730211"/>
          </a:xfrm>
          <a:prstGeom prst="rect">
            <a:avLst/>
          </a:prstGeom>
        </p:spPr>
      </p:pic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901FBC4E-6063-FC45-8F8D-AB80DEB785C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541569" y="1769149"/>
            <a:ext cx="2824828" cy="283242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>
            <a:outerShdw dist="127000" dir="2400000" sx="101000" sy="101000" algn="tl" rotWithShape="0">
              <a:schemeClr val="tx1"/>
            </a:outerShdw>
          </a:effectLst>
        </p:spPr>
        <p:txBody>
          <a:bodyPr lIns="0" rIns="0" anchor="ctr">
            <a:normAutofit/>
          </a:bodyPr>
          <a:lstStyle>
            <a:lvl1pPr marL="17100" indent="0" algn="ctr">
              <a:buNone/>
              <a:defRPr sz="800"/>
            </a:lvl1pPr>
          </a:lstStyle>
          <a:p>
            <a:endParaRPr lang="en-US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1DF16560-BC8E-A145-BF9B-B40A5F68F3A8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097867" y="3665790"/>
            <a:ext cx="903780" cy="906210"/>
          </a:xfrm>
          <a:prstGeom prst="ellipse">
            <a:avLst/>
          </a:prstGeom>
          <a:solidFill>
            <a:schemeClr val="bg1"/>
          </a:solidFill>
          <a:effectLst>
            <a:outerShdw blurRad="179075" dist="38100" dir="2700000" algn="tl" rotWithShape="0">
              <a:prstClr val="black">
                <a:alpha val="25000"/>
              </a:prstClr>
            </a:outerShdw>
          </a:effectLst>
        </p:spPr>
        <p:txBody>
          <a:bodyPr lIns="0" rIns="0" anchor="ctr">
            <a:normAutofit/>
          </a:bodyPr>
          <a:lstStyle>
            <a:lvl1pPr marL="17100" indent="0" algn="ctr">
              <a:buNone/>
              <a:defRPr sz="800"/>
            </a:lvl1pPr>
          </a:lstStyle>
          <a:p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502F427-20CA-814F-AD64-D4106772D34A}"/>
              </a:ext>
            </a:extLst>
          </p:cNvPr>
          <p:cNvGrpSpPr/>
          <p:nvPr userDrawn="1"/>
        </p:nvGrpSpPr>
        <p:grpSpPr>
          <a:xfrm>
            <a:off x="9613647" y="311734"/>
            <a:ext cx="1924081" cy="674051"/>
            <a:chOff x="9613647" y="311734"/>
            <a:chExt cx="1924081" cy="674051"/>
          </a:xfrm>
        </p:grpSpPr>
        <p:pic>
          <p:nvPicPr>
            <p:cNvPr id="12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5C313D6C-1DC4-1647-9682-FD6B364AC0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647" y="311734"/>
              <a:ext cx="1230566" cy="674051"/>
            </a:xfrm>
            <a:prstGeom prst="rect">
              <a:avLst/>
            </a:prstGeom>
          </p:spPr>
        </p:pic>
        <p:pic>
          <p:nvPicPr>
            <p:cNvPr id="13" name="Grafika 11">
              <a:extLst>
                <a:ext uri="{FF2B5EF4-FFF2-40B4-BE49-F238E27FC236}">
                  <a16:creationId xmlns:a16="http://schemas.microsoft.com/office/drawing/2014/main" id="{9303ECB0-A893-A64B-A48F-43967DDFB7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768325" y="516268"/>
              <a:ext cx="769403" cy="2649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09585619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O_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pic>
        <p:nvPicPr>
          <p:cNvPr id="2" name="Obraz 1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D0710F1B-4FF1-4EA4-89F7-ECFC74939E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  <p:sp>
        <p:nvSpPr>
          <p:cNvPr id="4" name="Tytuł 1">
            <a:extLst>
              <a:ext uri="{FF2B5EF4-FFF2-40B4-BE49-F238E27FC236}">
                <a16:creationId xmlns:a16="http://schemas.microsoft.com/office/drawing/2014/main" id="{84E3662E-028D-2B46-A24D-9D675B2C07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D11E547-AE72-0D40-8BDD-2839E49D6FF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253927"/>
            <a:ext cx="8806338" cy="679767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163418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Dwa elementy zawartości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6" name="Media Placeholder 2">
            <a:extLst>
              <a:ext uri="{FF2B5EF4-FFF2-40B4-BE49-F238E27FC236}">
                <a16:creationId xmlns:a16="http://schemas.microsoft.com/office/drawing/2014/main" id="{8420CF63-BCBF-DD47-94BE-F5E550B49AE6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2600960" y="1660071"/>
            <a:ext cx="6990080" cy="3931920"/>
          </a:xfrm>
        </p:spPr>
      </p:sp>
      <p:pic>
        <p:nvPicPr>
          <p:cNvPr id="2" name="Obraz 1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54CFD476-AD99-4BA6-8E9B-509B5FA299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360740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IDEO_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4" name="Tytuł 1">
            <a:extLst>
              <a:ext uri="{FF2B5EF4-FFF2-40B4-BE49-F238E27FC236}">
                <a16:creationId xmlns:a16="http://schemas.microsoft.com/office/drawing/2014/main" id="{84E3662E-028D-2B46-A24D-9D675B2C07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D11E547-AE72-0D40-8BDD-2839E49D6FF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253927"/>
            <a:ext cx="8806338" cy="679767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42866137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ec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3FAEAC0-0E6D-444A-95B5-0A3C93C47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9434" y="2970926"/>
            <a:ext cx="6697683" cy="1724480"/>
          </a:xfrm>
        </p:spPr>
        <p:txBody>
          <a:bodyPr anchor="t">
            <a:normAutofit/>
          </a:bodyPr>
          <a:lstStyle>
            <a:lvl1pPr>
              <a:defRPr sz="5500" b="1">
                <a:solidFill>
                  <a:schemeClr val="bg1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3072B88E-60B1-4951-ACB4-62501281AA6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149434" y="5018314"/>
            <a:ext cx="9198015" cy="996592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err="1"/>
              <a:t>Sub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7" name="Symbol zastępczy numeru slajdu 5">
            <a:extLst>
              <a:ext uri="{FF2B5EF4-FFF2-40B4-BE49-F238E27FC236}">
                <a16:creationId xmlns:a16="http://schemas.microsoft.com/office/drawing/2014/main" id="{2BFFDC2F-69F9-4006-A2A6-11998BCE2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C37AD4BE-6D4A-446E-9235-69971E43B1B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74713" y="2970926"/>
            <a:ext cx="1274721" cy="852930"/>
          </a:xfrm>
        </p:spPr>
        <p:txBody>
          <a:bodyPr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55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1.</a:t>
            </a:r>
          </a:p>
        </p:txBody>
      </p:sp>
      <p:pic>
        <p:nvPicPr>
          <p:cNvPr id="4" name="Obraz 3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184D79CA-607E-444B-93DC-91C7C53957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284" y="344389"/>
            <a:ext cx="1820897" cy="997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539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BAE40"/>
          </p15:clr>
        </p15:guide>
        <p15:guide id="2" pos="7129">
          <p15:clr>
            <a:srgbClr val="FBAE40"/>
          </p15:clr>
        </p15:guide>
      </p15:sldGuideLst>
    </p:ext>
  </p:extLs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m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ytuł 1">
            <a:extLst>
              <a:ext uri="{FF2B5EF4-FFF2-40B4-BE49-F238E27FC236}">
                <a16:creationId xmlns:a16="http://schemas.microsoft.com/office/drawing/2014/main" id="{C7C5C807-78F5-3041-998A-E4F74E4A8D44}"/>
              </a:ext>
            </a:extLst>
          </p:cNvPr>
          <p:cNvSpPr txBox="1">
            <a:spLocks/>
          </p:cNvSpPr>
          <p:nvPr userDrawn="1"/>
        </p:nvSpPr>
        <p:spPr>
          <a:xfrm>
            <a:off x="846359" y="1474091"/>
            <a:ext cx="8806338" cy="43780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0" name="Tytuł 1">
            <a:extLst>
              <a:ext uri="{FF2B5EF4-FFF2-40B4-BE49-F238E27FC236}">
                <a16:creationId xmlns:a16="http://schemas.microsoft.com/office/drawing/2014/main" id="{2643A83C-AAA4-4441-87C4-1A950A2C9E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7" y="1474091"/>
            <a:ext cx="2886699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D1E7FBC-F14A-2948-AEA4-48D7FA9FD82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46361" y="528300"/>
            <a:ext cx="2886699" cy="10143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lim</a:t>
            </a:r>
            <a:endParaRPr lang="pl-PL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1517ED6-FE85-7A49-89E7-07C46460F18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84760" y="1280598"/>
            <a:ext cx="4333662" cy="4739200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imperdiet</a:t>
            </a:r>
            <a:r>
              <a:rPr lang="pl-PL"/>
              <a:t> </a:t>
            </a:r>
            <a:r>
              <a:rPr lang="pl-PL" err="1"/>
              <a:t>aliquet</a:t>
            </a:r>
            <a:r>
              <a:rPr lang="pl-PL"/>
              <a:t>. In </a:t>
            </a:r>
            <a:r>
              <a:rPr lang="pl-PL" err="1"/>
              <a:t>sodales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ultricies</a:t>
            </a:r>
            <a:r>
              <a:rPr lang="pl-PL"/>
              <a:t>.</a:t>
            </a:r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C0BBD46A-EAEB-4280-9F6D-049BBD8A95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766049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_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9" name="Tytuł 1">
            <a:extLst>
              <a:ext uri="{FF2B5EF4-FFF2-40B4-BE49-F238E27FC236}">
                <a16:creationId xmlns:a16="http://schemas.microsoft.com/office/drawing/2014/main" id="{E183F67A-02E0-4469-AE89-66E65C6B1F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8754" y="528300"/>
            <a:ext cx="4098471" cy="617802"/>
          </a:xfrm>
        </p:spPr>
        <p:txBody>
          <a:bodyPr anchor="b">
            <a:noAutofit/>
          </a:bodyPr>
          <a:lstStyle>
            <a:lvl1pPr>
              <a:defRPr sz="3000" b="1" spc="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Subtitle</a:t>
            </a:r>
            <a:endParaRPr lang="pl-PL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B9C214D-75C5-A14C-8EC9-F837F8D035C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448300" y="1326100"/>
            <a:ext cx="4098471" cy="1922902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49EF738-0323-0848-9CF5-BA746FE0982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3125" y="561975"/>
            <a:ext cx="4035425" cy="1668463"/>
          </a:xfrm>
        </p:spPr>
        <p:txBody>
          <a:bodyPr>
            <a:normAutofit/>
          </a:bodyPr>
          <a:lstStyle>
            <a:lvl1pPr marL="0" indent="0">
              <a:lnSpc>
                <a:spcPts val="4300"/>
              </a:lnSpc>
              <a:buNone/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Bullet</a:t>
            </a:r>
            <a:br>
              <a:rPr lang="en-US"/>
            </a:br>
            <a:r>
              <a:rPr lang="en-US"/>
              <a:t>points</a:t>
            </a:r>
            <a:endParaRPr lang="en-VN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EA85DD0-D7B6-E54F-9F47-578AB4C9DD9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448300" y="3429000"/>
            <a:ext cx="4098925" cy="2590800"/>
          </a:xfrm>
        </p:spPr>
        <p:txBody>
          <a:bodyPr/>
          <a:lstStyle/>
          <a:p>
            <a:pPr lvl="0"/>
            <a:r>
              <a:rPr lang="en-US"/>
              <a:t>First level of bullet poi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VN"/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9DB470B4-EDB0-43D8-A5F8-E671FAB773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199597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_half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2" name="Tytuł 1">
            <a:extLst>
              <a:ext uri="{FF2B5EF4-FFF2-40B4-BE49-F238E27FC236}">
                <a16:creationId xmlns:a16="http://schemas.microsoft.com/office/drawing/2014/main" id="{B7F482A2-531E-BB4D-BD3D-FFAF891C6D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249" y="2415141"/>
            <a:ext cx="4682421" cy="43177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985AE5C-CEED-704C-9F59-D34509271E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249" y="1467165"/>
            <a:ext cx="4682421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A224EE3-8E13-1445-8C1E-7D484F612A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249" y="4557650"/>
            <a:ext cx="4682421" cy="121515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6696BEB-0B93-7541-893D-B1E11196EDF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3249" y="3386917"/>
            <a:ext cx="4682421" cy="1015246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172632EE-5F54-4FEC-A8D0-15A69CBD03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14561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_half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418F9703-983A-8140-84AD-55F2F0D1F67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20907" y="1467165"/>
            <a:ext cx="4682421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45EE0EF7-BB07-FF46-8BBB-4ACBB7124A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20907" y="4557650"/>
            <a:ext cx="4682421" cy="121515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EBA941A-E641-B444-9EDE-DF471733142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620907" y="3386917"/>
            <a:ext cx="4682421" cy="1015246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27" name="Tytuł 1">
            <a:extLst>
              <a:ext uri="{FF2B5EF4-FFF2-40B4-BE49-F238E27FC236}">
                <a16:creationId xmlns:a16="http://schemas.microsoft.com/office/drawing/2014/main" id="{BEB4EBF9-CC08-6F40-A449-CA3F226A9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0905" y="2401227"/>
            <a:ext cx="4682423" cy="440875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99E1AD6D-2107-4059-A5A3-2E6FC89D16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183804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_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rostokąt 3">
            <a:extLst>
              <a:ext uri="{FF2B5EF4-FFF2-40B4-BE49-F238E27FC236}">
                <a16:creationId xmlns:a16="http://schemas.microsoft.com/office/drawing/2014/main" id="{3E29B53B-339F-4180-8021-D6DDFB296C8C}"/>
              </a:ext>
            </a:extLst>
          </p:cNvPr>
          <p:cNvSpPr/>
          <p:nvPr userDrawn="1"/>
        </p:nvSpPr>
        <p:spPr>
          <a:xfrm>
            <a:off x="-1" y="4434114"/>
            <a:ext cx="3946915" cy="24238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8" name="Tytuł 1">
            <a:extLst>
              <a:ext uri="{FF2B5EF4-FFF2-40B4-BE49-F238E27FC236}">
                <a16:creationId xmlns:a16="http://schemas.microsoft.com/office/drawing/2014/main" id="{F6BC0242-D8EE-2C4F-9F92-63D6E60774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4120" y="2408014"/>
            <a:ext cx="6839413" cy="440875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7778E96-5404-AD47-83A5-021270E9AE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74121" y="1460598"/>
            <a:ext cx="6839413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780203A-BFFA-3048-AA87-4D52350831E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74120" y="3382851"/>
            <a:ext cx="6839413" cy="263694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imperdiet</a:t>
            </a:r>
            <a:r>
              <a:rPr lang="pl-PL"/>
              <a:t> </a:t>
            </a:r>
            <a:r>
              <a:rPr lang="pl-PL" err="1"/>
              <a:t>aliquet</a:t>
            </a:r>
            <a:r>
              <a:rPr lang="pl-PL"/>
              <a:t>. In </a:t>
            </a:r>
            <a:r>
              <a:rPr lang="pl-PL" err="1"/>
              <a:t>sodales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ultricies</a:t>
            </a:r>
            <a:r>
              <a:rPr lang="pl-PL"/>
              <a:t>.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CAC3FFF-CE94-C344-9FCB-4F85D73E047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5801" y="4820501"/>
            <a:ext cx="3223583" cy="119929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628E5E2F-2132-475A-B102-3EF9E365F2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687917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_photo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rostokąt 3">
            <a:extLst>
              <a:ext uri="{FF2B5EF4-FFF2-40B4-BE49-F238E27FC236}">
                <a16:creationId xmlns:a16="http://schemas.microsoft.com/office/drawing/2014/main" id="{05B19B1F-1315-8540-80FF-321E6348E1FA}"/>
              </a:ext>
            </a:extLst>
          </p:cNvPr>
          <p:cNvSpPr/>
          <p:nvPr userDrawn="1"/>
        </p:nvSpPr>
        <p:spPr>
          <a:xfrm>
            <a:off x="8245085" y="4434114"/>
            <a:ext cx="3946915" cy="24238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pl-PL"/>
          </a:p>
        </p:txBody>
      </p:sp>
      <p:sp>
        <p:nvSpPr>
          <p:cNvPr id="18" name="Tytuł 1">
            <a:extLst>
              <a:ext uri="{FF2B5EF4-FFF2-40B4-BE49-F238E27FC236}">
                <a16:creationId xmlns:a16="http://schemas.microsoft.com/office/drawing/2014/main" id="{032000E8-4B0E-B340-97E3-182CE36946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576" y="2412279"/>
            <a:ext cx="6812196" cy="440875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24" name="Symbol zastępczy numeru slajdu 5">
            <a:extLst>
              <a:ext uri="{FF2B5EF4-FFF2-40B4-BE49-F238E27FC236}">
                <a16:creationId xmlns:a16="http://schemas.microsoft.com/office/drawing/2014/main" id="{C77FE608-EFD4-7B4E-AE82-97D11A4B8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CE74BD8B-E300-7247-9BC0-626BF672A5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576" y="1466065"/>
            <a:ext cx="6812196" cy="1008876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2E26EB-9790-974E-BBFC-F58084C7590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576" y="3290080"/>
            <a:ext cx="6812196" cy="272971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imperdiet</a:t>
            </a:r>
            <a:r>
              <a:rPr lang="pl-PL"/>
              <a:t> </a:t>
            </a:r>
            <a:r>
              <a:rPr lang="pl-PL" err="1"/>
              <a:t>aliquet</a:t>
            </a:r>
            <a:r>
              <a:rPr lang="pl-PL"/>
              <a:t>. In </a:t>
            </a:r>
            <a:r>
              <a:rPr lang="pl-PL" err="1"/>
              <a:t>sodales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ultricies</a:t>
            </a:r>
            <a:r>
              <a:rPr lang="pl-PL"/>
              <a:t>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4416197-AE21-ED44-A548-A147D4165F2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06750" y="4820501"/>
            <a:ext cx="3223583" cy="119929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A3684818-52BE-4442-95DD-E42CA92F18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0605558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36E9D73-088F-8D41-85B9-FA37DA5341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576" y="3290080"/>
            <a:ext cx="5692071" cy="245971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imperdiet</a:t>
            </a:r>
            <a:r>
              <a:rPr lang="pl-PL"/>
              <a:t> </a:t>
            </a:r>
            <a:r>
              <a:rPr lang="pl-PL" err="1"/>
              <a:t>aliquet</a:t>
            </a:r>
            <a:r>
              <a:rPr lang="pl-PL"/>
              <a:t>.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2A582AC1-4FEA-934C-A10A-133F5DFA0FB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72849" y="1455708"/>
            <a:ext cx="3023471" cy="245939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i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None/>
            </a:pPr>
            <a:r>
              <a:rPr lang="it-IT" err="1"/>
              <a:t>Suspendisse</a:t>
            </a:r>
            <a:r>
              <a:rPr lang="it-IT"/>
              <a:t> </a:t>
            </a:r>
            <a:r>
              <a:rPr lang="it-IT" err="1"/>
              <a:t>nec</a:t>
            </a:r>
            <a:r>
              <a:rPr lang="it-IT"/>
              <a:t> </a:t>
            </a:r>
            <a:r>
              <a:rPr lang="it-IT" err="1"/>
              <a:t>risus</a:t>
            </a:r>
            <a:r>
              <a:rPr lang="it-IT"/>
              <a:t> et </a:t>
            </a:r>
            <a:r>
              <a:rPr lang="it-IT" err="1"/>
              <a:t>risus</a:t>
            </a:r>
            <a:r>
              <a:rPr lang="it-IT"/>
              <a:t> gravida </a:t>
            </a:r>
            <a:r>
              <a:rPr lang="it-IT" err="1"/>
              <a:t>condimentum</a:t>
            </a:r>
            <a:r>
              <a:rPr lang="it-IT"/>
              <a:t> non </a:t>
            </a:r>
            <a:r>
              <a:rPr lang="it-IT" err="1"/>
              <a:t>at</a:t>
            </a:r>
            <a:r>
              <a:rPr lang="it-IT"/>
              <a:t> </a:t>
            </a:r>
            <a:r>
              <a:rPr lang="it-IT" err="1"/>
              <a:t>nunc</a:t>
            </a:r>
            <a:r>
              <a:rPr lang="it-IT"/>
              <a:t>. Nulla in libero odio.</a:t>
            </a:r>
            <a:r>
              <a:rPr lang="pl-PL"/>
              <a:t>”</a:t>
            </a:r>
            <a:r>
              <a:rPr lang="it-IT"/>
              <a:t> </a:t>
            </a:r>
            <a:endParaRPr lang="pl-PL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2F11A20-630A-B444-AF39-9D1727C37A2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632846" y="1403017"/>
            <a:ext cx="831145" cy="2459397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5000" b="1" i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None/>
            </a:pPr>
            <a:r>
              <a:rPr lang="en-US"/>
              <a:t>“</a:t>
            </a:r>
            <a:endParaRPr lang="pl-PL"/>
          </a:p>
        </p:txBody>
      </p:sp>
      <p:sp>
        <p:nvSpPr>
          <p:cNvPr id="15" name="Tytuł 1">
            <a:extLst>
              <a:ext uri="{FF2B5EF4-FFF2-40B4-BE49-F238E27FC236}">
                <a16:creationId xmlns:a16="http://schemas.microsoft.com/office/drawing/2014/main" id="{3C0D1142-5CFF-164F-99C0-4141EDE3D7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576" y="2412279"/>
            <a:ext cx="5692071" cy="440875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729BE3BF-51A0-6E43-BD3F-0BED08EF0F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576" y="1466065"/>
            <a:ext cx="5692071" cy="1008876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AFF5C035-7AFC-445F-BC6A-C2D82E3A31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104789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_photo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1314902-A424-CA4F-82B7-7D319E75ECF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3574" y="3028075"/>
            <a:ext cx="2628150" cy="2973032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8D154230-6519-5B49-9643-AEF3BFBC60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250" y="1467165"/>
            <a:ext cx="2628150" cy="1389628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Title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90D9A7AD-6FC5-436B-A9D3-108F954F41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21980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_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pic>
        <p:nvPicPr>
          <p:cNvPr id="2" name="Obraz 1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D0710F1B-4FF1-4EA4-89F7-ECFC74939E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619262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_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ymbol zastępczy numeru slajdu 5">
            <a:extLst>
              <a:ext uri="{FF2B5EF4-FFF2-40B4-BE49-F238E27FC236}">
                <a16:creationId xmlns:a16="http://schemas.microsoft.com/office/drawing/2014/main" id="{4F9AFD66-8230-EA46-9578-E8517B113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504A461-4EF5-034A-AFB8-E45B8CCB018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90272" y="3036791"/>
            <a:ext cx="2628150" cy="296431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66FD4FB-DDB4-F541-A9F6-FBD6DC3F476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90273" y="1467165"/>
            <a:ext cx="2628149" cy="1389628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Title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0EC5F6BF-32CB-4C0E-A3F3-58F653F0F1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243013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0" name="Tytuł 1">
            <a:extLst>
              <a:ext uri="{FF2B5EF4-FFF2-40B4-BE49-F238E27FC236}">
                <a16:creationId xmlns:a16="http://schemas.microsoft.com/office/drawing/2014/main" id="{BEA94BF6-C721-49E5-8669-A9C293F51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428" y="1470931"/>
            <a:ext cx="4684939" cy="829418"/>
          </a:xfrm>
        </p:spPr>
        <p:txBody>
          <a:bodyPr anchor="b">
            <a:normAutofit/>
          </a:bodyPr>
          <a:lstStyle>
            <a:lvl1pPr>
              <a:defRPr sz="3000" b="1" spc="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</a:t>
            </a:r>
            <a:r>
              <a:rPr lang="pl-PL" err="1"/>
              <a:t>paragraph</a:t>
            </a:r>
            <a:endParaRPr lang="pl-PL"/>
          </a:p>
        </p:txBody>
      </p:sp>
      <p:sp>
        <p:nvSpPr>
          <p:cNvPr id="18" name="Text Placeholder 60">
            <a:extLst>
              <a:ext uri="{FF2B5EF4-FFF2-40B4-BE49-F238E27FC236}">
                <a16:creationId xmlns:a16="http://schemas.microsoft.com/office/drawing/2014/main" id="{55EC8E82-A0B8-1346-B16A-C4D81298EB7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67428" y="4283359"/>
            <a:ext cx="4688572" cy="1697376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21" name="Text Placeholder 60">
            <a:extLst>
              <a:ext uri="{FF2B5EF4-FFF2-40B4-BE49-F238E27FC236}">
                <a16:creationId xmlns:a16="http://schemas.microsoft.com/office/drawing/2014/main" id="{43D40684-6F32-2E41-B8D2-F548AF210F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67428" y="2545890"/>
            <a:ext cx="4684940" cy="1547139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F524CA45-116A-4FC8-BCC8-61EEEE1646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421097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ytuł 1">
            <a:extLst>
              <a:ext uri="{FF2B5EF4-FFF2-40B4-BE49-F238E27FC236}">
                <a16:creationId xmlns:a16="http://schemas.microsoft.com/office/drawing/2014/main" id="{6766530A-D4D5-C947-85CC-5E3A5C954B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6178" y="1470931"/>
            <a:ext cx="4692204" cy="829418"/>
          </a:xfrm>
        </p:spPr>
        <p:txBody>
          <a:bodyPr anchor="b">
            <a:normAutofit/>
          </a:bodyPr>
          <a:lstStyle>
            <a:lvl1pPr>
              <a:defRPr sz="3000" b="1" spc="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</a:t>
            </a:r>
            <a:r>
              <a:rPr lang="pl-PL" err="1"/>
              <a:t>paragraph</a:t>
            </a:r>
            <a:endParaRPr lang="pl-PL"/>
          </a:p>
        </p:txBody>
      </p:sp>
      <p:sp>
        <p:nvSpPr>
          <p:cNvPr id="12" name="Text Placeholder 60">
            <a:extLst>
              <a:ext uri="{FF2B5EF4-FFF2-40B4-BE49-F238E27FC236}">
                <a16:creationId xmlns:a16="http://schemas.microsoft.com/office/drawing/2014/main" id="{BEACCA14-3DF5-8246-84FC-44E498EF399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633442" y="4283358"/>
            <a:ext cx="4684940" cy="1697375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5" name="Text Placeholder 60">
            <a:extLst>
              <a:ext uri="{FF2B5EF4-FFF2-40B4-BE49-F238E27FC236}">
                <a16:creationId xmlns:a16="http://schemas.microsoft.com/office/drawing/2014/main" id="{A85EFFF3-C3D2-A744-976F-EF9324FD8C4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629810" y="2545889"/>
            <a:ext cx="4684940" cy="1547139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49776CBF-0E36-4DA0-BF40-3309DB47D1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214580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ipes_green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577D3F5B-30C0-8347-BB91-74311F200E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-4" y="4807504"/>
            <a:ext cx="6994355" cy="100266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VN"/>
              <a:t> 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E3FB6C64-106C-CF47-AE35-AF5DFCFEF35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-4" y="3575519"/>
            <a:ext cx="6994355" cy="100266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VN"/>
              <a:t>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600E447-2B35-F143-A598-31157DA1326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0" y="2347984"/>
            <a:ext cx="6994355" cy="100266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VN"/>
              <a:t> </a:t>
            </a:r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7" name="Tytuł 1">
            <a:extLst>
              <a:ext uri="{FF2B5EF4-FFF2-40B4-BE49-F238E27FC236}">
                <a16:creationId xmlns:a16="http://schemas.microsoft.com/office/drawing/2014/main" id="{F28C8F42-AD4C-C54F-8161-D0D6DEB164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0" y="1342966"/>
            <a:ext cx="4716942" cy="712900"/>
          </a:xfrm>
        </p:spPr>
        <p:txBody>
          <a:bodyPr anchor="b">
            <a:normAutofit/>
          </a:bodyPr>
          <a:lstStyle>
            <a:lvl1pPr>
              <a:defRPr sz="3000" b="1" spc="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</a:t>
            </a:r>
            <a:r>
              <a:rPr lang="pl-PL" err="1"/>
              <a:t>paragraph</a:t>
            </a:r>
            <a:endParaRPr lang="pl-PL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F6560EC-AA04-BE4D-A40F-A1DB489AC4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95345" y="2508417"/>
            <a:ext cx="579892" cy="567285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9" name="Picture Placeholder 5">
            <a:extLst>
              <a:ext uri="{FF2B5EF4-FFF2-40B4-BE49-F238E27FC236}">
                <a16:creationId xmlns:a16="http://schemas.microsoft.com/office/drawing/2014/main" id="{8BE5CB42-C968-8C42-AE01-15CBF9806CF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95345" y="3796949"/>
            <a:ext cx="579892" cy="567285"/>
          </a:xfr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D6C14DA-307E-D64B-9347-9D7DB1D07AE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70819" y="3684381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7738FA18-177C-A54E-8923-24A61CCF5F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670819" y="4921446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DF4272C-ECE7-1845-AAB1-9CD4240F15A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70819" y="2456846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2C3F7D50-94BC-F74E-B66E-C737B24F24D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7100" y="5024094"/>
            <a:ext cx="756379" cy="567285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C317104C-3940-47E9-B463-BCBC13CD473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809267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ripes_green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A4E6CDD7-E2B3-0D40-AA32-D9366218B37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97644" y="2347338"/>
            <a:ext cx="6994358" cy="1011710"/>
          </a:xfrm>
          <a:solidFill>
            <a:schemeClr val="bg1"/>
          </a:solidFill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1000"/>
              </a:spcBef>
              <a:buFont typeface="System Font Regular"/>
              <a:buNone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indent="0">
              <a:buNone/>
            </a:pPr>
            <a:r>
              <a:rPr lang="en-VN"/>
              <a:t>  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0EB6AF7A-5344-4049-B287-59B87E011FC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97642" y="3581260"/>
            <a:ext cx="6994359" cy="1011710"/>
          </a:xfrm>
          <a:solidFill>
            <a:schemeClr val="bg1"/>
          </a:solidFill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1000"/>
              </a:spcBef>
              <a:buFont typeface="System Font Regular"/>
              <a:buNone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VN"/>
              <a:t>  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9DF55C36-FE57-3648-B310-BD3559A715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97642" y="4802135"/>
            <a:ext cx="6994358" cy="1011710"/>
          </a:xfrm>
          <a:solidFill>
            <a:schemeClr val="bg1"/>
          </a:solidFill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1000"/>
              </a:spcBef>
              <a:buFont typeface="System Font Regular"/>
              <a:buNone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VN"/>
              <a:t>  </a:t>
            </a:r>
          </a:p>
        </p:txBody>
      </p:sp>
      <p:sp>
        <p:nvSpPr>
          <p:cNvPr id="51" name="Picture Placeholder 5">
            <a:extLst>
              <a:ext uri="{FF2B5EF4-FFF2-40B4-BE49-F238E27FC236}">
                <a16:creationId xmlns:a16="http://schemas.microsoft.com/office/drawing/2014/main" id="{1B6D52F7-F4D8-8540-A2A7-468C40471A5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463990" y="5024347"/>
            <a:ext cx="756380" cy="567285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67" name="Picture Placeholder 5">
            <a:extLst>
              <a:ext uri="{FF2B5EF4-FFF2-40B4-BE49-F238E27FC236}">
                <a16:creationId xmlns:a16="http://schemas.microsoft.com/office/drawing/2014/main" id="{2ACC7F8B-0883-F84A-8471-9CC95C57EB4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552234" y="2576338"/>
            <a:ext cx="579892" cy="567285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AEF35F9-0DC5-BE4B-96F3-67A5BE706D8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572299" y="2462244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>
                <a:solidFill>
                  <a:schemeClr val="tx2"/>
                </a:solidFill>
              </a:rPr>
              <a:t>risus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gravida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condimentum</a:t>
            </a:r>
            <a:r>
              <a:rPr lang="pl-PL">
                <a:solidFill>
                  <a:schemeClr val="tx2"/>
                </a:solidFill>
              </a:rPr>
              <a:t> non </a:t>
            </a:r>
            <a:r>
              <a:rPr lang="pl-PL" err="1">
                <a:solidFill>
                  <a:schemeClr val="tx2"/>
                </a:solidFill>
              </a:rPr>
              <a:t>at</a:t>
            </a:r>
            <a:r>
              <a:rPr lang="pl-PL">
                <a:solidFill>
                  <a:schemeClr val="tx2"/>
                </a:solidFill>
              </a:rPr>
              <a:t> nunc.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BC4AC382-608D-C146-ADFD-F4CDB1BB678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552234" y="3803471"/>
            <a:ext cx="579892" cy="56728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10261F7-52F2-A140-8A58-8E840D865C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72299" y="3694643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>
                <a:solidFill>
                  <a:schemeClr val="tx2"/>
                </a:solidFill>
              </a:rPr>
              <a:t>risus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gravida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condimentum</a:t>
            </a:r>
            <a:r>
              <a:rPr lang="pl-PL">
                <a:solidFill>
                  <a:schemeClr val="tx2"/>
                </a:solidFill>
              </a:rPr>
              <a:t> non </a:t>
            </a:r>
            <a:r>
              <a:rPr lang="pl-PL" err="1">
                <a:solidFill>
                  <a:schemeClr val="tx2"/>
                </a:solidFill>
              </a:rPr>
              <a:t>at</a:t>
            </a:r>
            <a:r>
              <a:rPr lang="pl-PL">
                <a:solidFill>
                  <a:schemeClr val="tx2"/>
                </a:solidFill>
              </a:rPr>
              <a:t> nunc.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14F417C-24E8-3246-8919-7383A6EBCCD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72299" y="4914132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>
                <a:solidFill>
                  <a:schemeClr val="tx2"/>
                </a:solidFill>
              </a:rPr>
              <a:t>risus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gravida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condimentum</a:t>
            </a:r>
            <a:r>
              <a:rPr lang="pl-PL">
                <a:solidFill>
                  <a:schemeClr val="tx2"/>
                </a:solidFill>
              </a:rPr>
              <a:t> non </a:t>
            </a:r>
            <a:r>
              <a:rPr lang="pl-PL" err="1">
                <a:solidFill>
                  <a:schemeClr val="tx2"/>
                </a:solidFill>
              </a:rPr>
              <a:t>at</a:t>
            </a:r>
            <a:r>
              <a:rPr lang="pl-PL">
                <a:solidFill>
                  <a:schemeClr val="tx2"/>
                </a:solidFill>
              </a:rPr>
              <a:t> nunc.</a:t>
            </a:r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31374420-E582-4C80-AE43-4E5EB4C06D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198661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meline_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ymbol zastępczy numeru slajdu 5">
            <a:extLst>
              <a:ext uri="{FF2B5EF4-FFF2-40B4-BE49-F238E27FC236}">
                <a16:creationId xmlns:a16="http://schemas.microsoft.com/office/drawing/2014/main" id="{D526C90E-13B5-4D95-8BE9-03ED11780FC9}"/>
              </a:ext>
            </a:extLst>
          </p:cNvPr>
          <p:cNvSpPr>
            <a:spLocks noGrp="1"/>
          </p:cNvSpPr>
          <p:nvPr userDrawn="1">
            <p:ph type="sldNum" sz="quarter" idx="19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31" name="Text Placeholder 78">
            <a:extLst>
              <a:ext uri="{FF2B5EF4-FFF2-40B4-BE49-F238E27FC236}">
                <a16:creationId xmlns:a16="http://schemas.microsoft.com/office/drawing/2014/main" id="{53991EA8-1DE2-B04F-947B-B0DC9489981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222719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16</a:t>
            </a:r>
          </a:p>
        </p:txBody>
      </p:sp>
      <p:sp>
        <p:nvSpPr>
          <p:cNvPr id="39" name="Text Placeholder 78">
            <a:extLst>
              <a:ext uri="{FF2B5EF4-FFF2-40B4-BE49-F238E27FC236}">
                <a16:creationId xmlns:a16="http://schemas.microsoft.com/office/drawing/2014/main" id="{153D7BBB-71C9-CA45-88F7-0AE8F2F3713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028837" y="4733750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40" name="Text Placeholder 78">
            <a:extLst>
              <a:ext uri="{FF2B5EF4-FFF2-40B4-BE49-F238E27FC236}">
                <a16:creationId xmlns:a16="http://schemas.microsoft.com/office/drawing/2014/main" id="{4EB89907-6B4C-9542-8101-8B2FB45E100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028609" y="3678479"/>
            <a:ext cx="1817884" cy="967838"/>
          </a:xfrm>
        </p:spPr>
        <p:txBody>
          <a:bodyPr anchor="b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41" name="Text Placeholder 78">
            <a:extLst>
              <a:ext uri="{FF2B5EF4-FFF2-40B4-BE49-F238E27FC236}">
                <a16:creationId xmlns:a16="http://schemas.microsoft.com/office/drawing/2014/main" id="{26B9FE68-8C91-2645-B8C3-1AAA6AEFCE4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187286" y="4733750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42" name="Text Placeholder 78">
            <a:extLst>
              <a:ext uri="{FF2B5EF4-FFF2-40B4-BE49-F238E27FC236}">
                <a16:creationId xmlns:a16="http://schemas.microsoft.com/office/drawing/2014/main" id="{18E955D3-BF1F-F448-BC17-A37BB123719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187058" y="3678479"/>
            <a:ext cx="1817884" cy="967838"/>
          </a:xfrm>
        </p:spPr>
        <p:txBody>
          <a:bodyPr anchor="b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3B2A8A9C-6F4F-0045-A89D-D0743E068F6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345508" y="4733750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44" name="Text Placeholder 78">
            <a:extLst>
              <a:ext uri="{FF2B5EF4-FFF2-40B4-BE49-F238E27FC236}">
                <a16:creationId xmlns:a16="http://schemas.microsoft.com/office/drawing/2014/main" id="{EEE1401C-8217-E04A-9A37-26BE6028B96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345280" y="3678479"/>
            <a:ext cx="1817884" cy="967838"/>
          </a:xfrm>
        </p:spPr>
        <p:txBody>
          <a:bodyPr anchor="b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51" name="Text Placeholder 78">
            <a:extLst>
              <a:ext uri="{FF2B5EF4-FFF2-40B4-BE49-F238E27FC236}">
                <a16:creationId xmlns:a16="http://schemas.microsoft.com/office/drawing/2014/main" id="{A105B319-A7C3-C641-A304-CB2D4A1E928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503730" y="4733750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52" name="Text Placeholder 78">
            <a:extLst>
              <a:ext uri="{FF2B5EF4-FFF2-40B4-BE49-F238E27FC236}">
                <a16:creationId xmlns:a16="http://schemas.microsoft.com/office/drawing/2014/main" id="{801F9EA7-5570-F543-BF0B-FB16CA448CB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503502" y="3678479"/>
            <a:ext cx="1817884" cy="967838"/>
          </a:xfrm>
        </p:spPr>
        <p:txBody>
          <a:bodyPr anchor="b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74" name="Text Placeholder 78">
            <a:extLst>
              <a:ext uri="{FF2B5EF4-FFF2-40B4-BE49-F238E27FC236}">
                <a16:creationId xmlns:a16="http://schemas.microsoft.com/office/drawing/2014/main" id="{21E92614-1F2A-AD47-AA40-C80F1B33118D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70388" y="4731603"/>
            <a:ext cx="1817884" cy="1288262"/>
          </a:xfrm>
        </p:spPr>
        <p:txBody>
          <a:bodyPr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err="1"/>
              <a:t>Suspendisse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risus</a:t>
            </a:r>
            <a:r>
              <a:rPr lang="en-US"/>
              <a:t>.</a:t>
            </a:r>
            <a:endParaRPr lang="en-VN"/>
          </a:p>
        </p:txBody>
      </p:sp>
      <p:sp>
        <p:nvSpPr>
          <p:cNvPr id="75" name="Text Placeholder 78">
            <a:extLst>
              <a:ext uri="{FF2B5EF4-FFF2-40B4-BE49-F238E27FC236}">
                <a16:creationId xmlns:a16="http://schemas.microsoft.com/office/drawing/2014/main" id="{F85A0D46-AE83-704C-8143-860288B971D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70160" y="3676332"/>
            <a:ext cx="1817884" cy="967838"/>
          </a:xfrm>
        </p:spPr>
        <p:txBody>
          <a:bodyPr anchor="b">
            <a:normAutofit/>
          </a:bodyPr>
          <a:lstStyle>
            <a:lvl1pPr marL="0" marR="0" indent="0" fontAlgn="auto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33" name="Text Placeholder 78">
            <a:extLst>
              <a:ext uri="{FF2B5EF4-FFF2-40B4-BE49-F238E27FC236}">
                <a16:creationId xmlns:a16="http://schemas.microsoft.com/office/drawing/2014/main" id="{74CCB615-9E6A-FC48-9CA9-1D2C5AF7A891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3376844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17</a:t>
            </a:r>
          </a:p>
        </p:txBody>
      </p:sp>
      <p:sp>
        <p:nvSpPr>
          <p:cNvPr id="34" name="Text Placeholder 78">
            <a:extLst>
              <a:ext uri="{FF2B5EF4-FFF2-40B4-BE49-F238E27FC236}">
                <a16:creationId xmlns:a16="http://schemas.microsoft.com/office/drawing/2014/main" id="{31235041-E1E2-6844-B06D-4B8C8B2C9F15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5533230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18</a:t>
            </a:r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C6394014-B288-094A-AF03-5BDB43D8E39D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7689616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19</a:t>
            </a:r>
          </a:p>
        </p:txBody>
      </p:sp>
      <p:sp>
        <p:nvSpPr>
          <p:cNvPr id="46" name="Text Placeholder 78">
            <a:extLst>
              <a:ext uri="{FF2B5EF4-FFF2-40B4-BE49-F238E27FC236}">
                <a16:creationId xmlns:a16="http://schemas.microsoft.com/office/drawing/2014/main" id="{FE6C76C7-00D0-D543-A9D5-697ACE8E498E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9846002" y="2376596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26" name="Tytuł 1">
            <a:extLst>
              <a:ext uri="{FF2B5EF4-FFF2-40B4-BE49-F238E27FC236}">
                <a16:creationId xmlns:a16="http://schemas.microsoft.com/office/drawing/2014/main" id="{A8B49C75-881C-054D-96A0-4E70170D1F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5D994EA-5467-B240-9B14-C688E2DBCDF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Timeline</a:t>
            </a:r>
            <a:endParaRPr lang="pl-PL"/>
          </a:p>
        </p:txBody>
      </p:sp>
      <p:pic>
        <p:nvPicPr>
          <p:cNvPr id="2" name="Obraz 1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7D614EB5-9AC5-4AA1-81FE-60CDD1930D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941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meline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ymbol zastępczy numeru slajdu 5">
            <a:extLst>
              <a:ext uri="{FF2B5EF4-FFF2-40B4-BE49-F238E27FC236}">
                <a16:creationId xmlns:a16="http://schemas.microsoft.com/office/drawing/2014/main" id="{D526C90E-13B5-4D95-8BE9-03ED11780FC9}"/>
              </a:ext>
            </a:extLst>
          </p:cNvPr>
          <p:cNvSpPr>
            <a:spLocks noGrp="1"/>
          </p:cNvSpPr>
          <p:nvPr userDrawn="1">
            <p:ph type="sldNum" sz="quarter" idx="19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1" name="Tytuł 1">
            <a:extLst>
              <a:ext uri="{FF2B5EF4-FFF2-40B4-BE49-F238E27FC236}">
                <a16:creationId xmlns:a16="http://schemas.microsoft.com/office/drawing/2014/main" id="{E483A55E-99F0-564C-B886-7FA64CCB85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6AFB9C2-FA15-C745-BF2C-DB3BC77DC2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Timeline</a:t>
            </a:r>
            <a:endParaRPr lang="pl-PL"/>
          </a:p>
        </p:txBody>
      </p:sp>
      <p:pic>
        <p:nvPicPr>
          <p:cNvPr id="4" name="Obraz 3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8DC80185-3761-4FDC-8206-2A1270E789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1250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meline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77D4DF0A-3B17-CD4A-AFC5-CD25F565E4FC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73465" y="2533179"/>
            <a:ext cx="1955169" cy="362877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algn="r">
              <a:defRPr/>
            </a:lvl1pPr>
          </a:lstStyle>
          <a:p>
            <a:endParaRPr lang="en-VN"/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FF636FEF-9B78-E44A-9A6C-EEBB57DEBB0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092735" y="2533179"/>
            <a:ext cx="1955169" cy="362877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algn="r">
              <a:defRPr/>
            </a:lvl1pPr>
          </a:lstStyle>
          <a:p>
            <a:endParaRPr lang="en-VN"/>
          </a:p>
        </p:txBody>
      </p:sp>
      <p:sp>
        <p:nvSpPr>
          <p:cNvPr id="49" name="Picture Placeholder 4">
            <a:extLst>
              <a:ext uri="{FF2B5EF4-FFF2-40B4-BE49-F238E27FC236}">
                <a16:creationId xmlns:a16="http://schemas.microsoft.com/office/drawing/2014/main" id="{5835D3BB-545F-9D43-BD37-01B58E3F0681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483213" y="2533179"/>
            <a:ext cx="1955169" cy="362877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algn="r">
              <a:defRPr/>
            </a:lvl1pPr>
          </a:lstStyle>
          <a:p>
            <a:endParaRPr lang="en-VN"/>
          </a:p>
        </p:txBody>
      </p:sp>
      <p:sp>
        <p:nvSpPr>
          <p:cNvPr id="54" name="Picture Placeholder 11">
            <a:extLst>
              <a:ext uri="{FF2B5EF4-FFF2-40B4-BE49-F238E27FC236}">
                <a16:creationId xmlns:a16="http://schemas.microsoft.com/office/drawing/2014/main" id="{3658F892-3B86-014C-AC98-9FBDC77E6A4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873465" y="3886206"/>
            <a:ext cx="1955170" cy="2275518"/>
          </a:xfrm>
          <a:gradFill flip="none" rotWithShape="1">
            <a:gsLst>
              <a:gs pos="0">
                <a:srgbClr val="000000">
                  <a:alpha val="0"/>
                </a:srgbClr>
              </a:gs>
              <a:gs pos="46000">
                <a:srgbClr val="056E3E">
                  <a:alpha val="40000"/>
                </a:srgbClr>
              </a:gs>
              <a:gs pos="80000">
                <a:srgbClr val="056E3E">
                  <a:alpha val="80000"/>
                </a:srgbClr>
              </a:gs>
              <a:gs pos="97000">
                <a:srgbClr val="056E3E"/>
              </a:gs>
            </a:gsLst>
            <a:lin ang="5400000" scaled="1"/>
            <a:tileRect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36" name="Symbol zastępczy numeru slajdu 5">
            <a:extLst>
              <a:ext uri="{FF2B5EF4-FFF2-40B4-BE49-F238E27FC236}">
                <a16:creationId xmlns:a16="http://schemas.microsoft.com/office/drawing/2014/main" id="{D526C90E-13B5-4D95-8BE9-03ED11780FC9}"/>
              </a:ext>
            </a:extLst>
          </p:cNvPr>
          <p:cNvSpPr>
            <a:spLocks noGrp="1"/>
          </p:cNvSpPr>
          <p:nvPr userDrawn="1">
            <p:ph type="sldNum" sz="quarter" idx="19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80" name="Text Placeholder 78">
            <a:extLst>
              <a:ext uri="{FF2B5EF4-FFF2-40B4-BE49-F238E27FC236}">
                <a16:creationId xmlns:a16="http://schemas.microsoft.com/office/drawing/2014/main" id="{6288EA3E-4CDA-E94A-AFD8-12B9E08949B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437391" y="5005685"/>
            <a:ext cx="2132710" cy="1016326"/>
          </a:xfrm>
        </p:spPr>
        <p:txBody>
          <a:bodyPr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2" name="Text Placeholder 78">
            <a:extLst>
              <a:ext uri="{FF2B5EF4-FFF2-40B4-BE49-F238E27FC236}">
                <a16:creationId xmlns:a16="http://schemas.microsoft.com/office/drawing/2014/main" id="{FD8D786A-E851-6844-AE06-40D72BC31AE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37163" y="4276150"/>
            <a:ext cx="2132710" cy="671666"/>
          </a:xfrm>
        </p:spPr>
        <p:txBody>
          <a:bodyPr anchor="b"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35" name="Text Placeholder 78">
            <a:extLst>
              <a:ext uri="{FF2B5EF4-FFF2-40B4-BE49-F238E27FC236}">
                <a16:creationId xmlns:a16="http://schemas.microsoft.com/office/drawing/2014/main" id="{4F9F41A7-C8DB-DB40-8F1D-DF4E34A18A6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1022227" y="2992835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37" name="Text Placeholder 78">
            <a:extLst>
              <a:ext uri="{FF2B5EF4-FFF2-40B4-BE49-F238E27FC236}">
                <a16:creationId xmlns:a16="http://schemas.microsoft.com/office/drawing/2014/main" id="{93C96D09-B104-8246-AB35-F2C637F9CC91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4631976" y="2992835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F76529C6-5B56-A046-A5BC-FBD15D44EB08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241725" y="2992835"/>
            <a:ext cx="1121414" cy="1121414"/>
          </a:xfrm>
          <a:prstGeom prst="ellipse">
            <a:avLst/>
          </a:prstGeom>
          <a:ln w="38100">
            <a:solidFill>
              <a:schemeClr val="bg1"/>
            </a:solidFill>
          </a:ln>
        </p:spPr>
        <p:txBody>
          <a:bodyPr lIns="0" tIns="0" rIns="0" bIns="0" anchor="ctr">
            <a:normAutofit/>
          </a:bodyPr>
          <a:lstStyle>
            <a:lvl1pPr marL="0" marR="0" indent="0" algn="ctr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2020</a:t>
            </a:r>
          </a:p>
        </p:txBody>
      </p:sp>
      <p:sp>
        <p:nvSpPr>
          <p:cNvPr id="25" name="Picture Placeholder 11">
            <a:extLst>
              <a:ext uri="{FF2B5EF4-FFF2-40B4-BE49-F238E27FC236}">
                <a16:creationId xmlns:a16="http://schemas.microsoft.com/office/drawing/2014/main" id="{04ABCCAF-4380-844C-8C74-EEE8ABBBEDD1}"/>
              </a:ext>
            </a:extLst>
          </p:cNvPr>
          <p:cNvSpPr>
            <a:spLocks noGrp="1"/>
          </p:cNvSpPr>
          <p:nvPr>
            <p:ph type="pic" sz="quarter" idx="79" hasCustomPrompt="1"/>
          </p:nvPr>
        </p:nvSpPr>
        <p:spPr>
          <a:xfrm>
            <a:off x="4482987" y="3886206"/>
            <a:ext cx="1955169" cy="2275518"/>
          </a:xfrm>
          <a:gradFill flip="none" rotWithShape="1">
            <a:gsLst>
              <a:gs pos="0">
                <a:srgbClr val="000000">
                  <a:alpha val="0"/>
                </a:srgbClr>
              </a:gs>
              <a:gs pos="46000">
                <a:srgbClr val="056E3E">
                  <a:alpha val="40000"/>
                </a:srgbClr>
              </a:gs>
              <a:gs pos="80000">
                <a:srgbClr val="056E3E">
                  <a:alpha val="80000"/>
                </a:srgbClr>
              </a:gs>
              <a:gs pos="97000">
                <a:srgbClr val="056E3E"/>
              </a:gs>
            </a:gsLst>
            <a:lin ang="5400000" scaled="1"/>
            <a:tileRect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53E26D6-AC11-6F42-A2AA-2A7B4D8DD84D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5046912" y="5005685"/>
            <a:ext cx="2132710" cy="1016326"/>
          </a:xfrm>
        </p:spPr>
        <p:txBody>
          <a:bodyPr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0" name="Text Placeholder 78">
            <a:extLst>
              <a:ext uri="{FF2B5EF4-FFF2-40B4-BE49-F238E27FC236}">
                <a16:creationId xmlns:a16="http://schemas.microsoft.com/office/drawing/2014/main" id="{415F11DF-0FF1-DE4B-8F88-129F882DA378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5046684" y="4276150"/>
            <a:ext cx="2132710" cy="671666"/>
          </a:xfrm>
        </p:spPr>
        <p:txBody>
          <a:bodyPr anchor="b"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31" name="Picture Placeholder 11">
            <a:extLst>
              <a:ext uri="{FF2B5EF4-FFF2-40B4-BE49-F238E27FC236}">
                <a16:creationId xmlns:a16="http://schemas.microsoft.com/office/drawing/2014/main" id="{C4C0F5D3-8EB7-DA4C-A552-3268EE883FCD}"/>
              </a:ext>
            </a:extLst>
          </p:cNvPr>
          <p:cNvSpPr>
            <a:spLocks noGrp="1"/>
          </p:cNvSpPr>
          <p:nvPr>
            <p:ph type="pic" sz="quarter" idx="82" hasCustomPrompt="1"/>
          </p:nvPr>
        </p:nvSpPr>
        <p:spPr>
          <a:xfrm>
            <a:off x="8092963" y="3886206"/>
            <a:ext cx="1954941" cy="2275518"/>
          </a:xfrm>
          <a:gradFill flip="none" rotWithShape="1">
            <a:gsLst>
              <a:gs pos="0">
                <a:srgbClr val="000000">
                  <a:alpha val="0"/>
                </a:srgbClr>
              </a:gs>
              <a:gs pos="46000">
                <a:srgbClr val="056E3E">
                  <a:alpha val="40000"/>
                </a:srgbClr>
              </a:gs>
              <a:gs pos="80000">
                <a:srgbClr val="056E3E">
                  <a:alpha val="80000"/>
                </a:srgbClr>
              </a:gs>
              <a:gs pos="97000">
                <a:srgbClr val="056E3E"/>
              </a:gs>
            </a:gsLst>
            <a:lin ang="5400000" scaled="1"/>
            <a:tileRect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39" name="Text Placeholder 78">
            <a:extLst>
              <a:ext uri="{FF2B5EF4-FFF2-40B4-BE49-F238E27FC236}">
                <a16:creationId xmlns:a16="http://schemas.microsoft.com/office/drawing/2014/main" id="{63C380DC-73A1-EB44-8D5C-10B04279CD82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8804933" y="5005798"/>
            <a:ext cx="2132710" cy="1016326"/>
          </a:xfrm>
        </p:spPr>
        <p:txBody>
          <a:bodyPr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40" name="Text Placeholder 78">
            <a:extLst>
              <a:ext uri="{FF2B5EF4-FFF2-40B4-BE49-F238E27FC236}">
                <a16:creationId xmlns:a16="http://schemas.microsoft.com/office/drawing/2014/main" id="{7B4AD03E-7FBC-F144-8C91-CF545BF60E66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8804705" y="4276263"/>
            <a:ext cx="2132710" cy="671666"/>
          </a:xfrm>
        </p:spPr>
        <p:txBody>
          <a:bodyPr anchor="b">
            <a:normAutofit/>
          </a:bodyPr>
          <a:lstStyle>
            <a:lvl1pPr marL="0" marR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1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/>
              <a:t>Event </a:t>
            </a:r>
            <a:r>
              <a:rPr lang="pl-PL" err="1"/>
              <a:t>name</a:t>
            </a:r>
            <a:endParaRPr lang="pl-PL"/>
          </a:p>
        </p:txBody>
      </p:sp>
      <p:sp>
        <p:nvSpPr>
          <p:cNvPr id="43" name="Tytuł 1">
            <a:extLst>
              <a:ext uri="{FF2B5EF4-FFF2-40B4-BE49-F238E27FC236}">
                <a16:creationId xmlns:a16="http://schemas.microsoft.com/office/drawing/2014/main" id="{5C6CC5B8-EE4D-9D48-B8BD-5C6B56DBFF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E06CFBF1-04D5-0C45-8595-BB96252F3C1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Timeline</a:t>
            </a:r>
            <a:endParaRPr lang="pl-PL"/>
          </a:p>
        </p:txBody>
      </p:sp>
      <p:pic>
        <p:nvPicPr>
          <p:cNvPr id="3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8A333359-947F-4FCD-8334-060F02F9892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251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ces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cxnSp>
        <p:nvCxnSpPr>
          <p:cNvPr id="11" name="Łącznik prosty 10">
            <a:extLst>
              <a:ext uri="{FF2B5EF4-FFF2-40B4-BE49-F238E27FC236}">
                <a16:creationId xmlns:a16="http://schemas.microsoft.com/office/drawing/2014/main" id="{C2D73FA2-095C-41E7-BF3D-3E65D4600830}"/>
              </a:ext>
            </a:extLst>
          </p:cNvPr>
          <p:cNvCxnSpPr>
            <a:cxnSpLocks/>
          </p:cNvCxnSpPr>
          <p:nvPr userDrawn="1"/>
        </p:nvCxnSpPr>
        <p:spPr>
          <a:xfrm>
            <a:off x="1013426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Łącznik prosty 24">
            <a:extLst>
              <a:ext uri="{FF2B5EF4-FFF2-40B4-BE49-F238E27FC236}">
                <a16:creationId xmlns:a16="http://schemas.microsoft.com/office/drawing/2014/main" id="{3C1EBD96-FC8B-467F-BA05-89B6A01E6C87}"/>
              </a:ext>
            </a:extLst>
          </p:cNvPr>
          <p:cNvCxnSpPr>
            <a:cxnSpLocks/>
          </p:cNvCxnSpPr>
          <p:nvPr userDrawn="1"/>
        </p:nvCxnSpPr>
        <p:spPr>
          <a:xfrm>
            <a:off x="3066742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Łącznik prosty 36">
            <a:extLst>
              <a:ext uri="{FF2B5EF4-FFF2-40B4-BE49-F238E27FC236}">
                <a16:creationId xmlns:a16="http://schemas.microsoft.com/office/drawing/2014/main" id="{EA249D0D-D9C0-4F41-8C2D-B54A8594B1C9}"/>
              </a:ext>
            </a:extLst>
          </p:cNvPr>
          <p:cNvCxnSpPr>
            <a:cxnSpLocks/>
          </p:cNvCxnSpPr>
          <p:nvPr userDrawn="1"/>
        </p:nvCxnSpPr>
        <p:spPr>
          <a:xfrm>
            <a:off x="5115042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Łącznik prosty 40">
            <a:extLst>
              <a:ext uri="{FF2B5EF4-FFF2-40B4-BE49-F238E27FC236}">
                <a16:creationId xmlns:a16="http://schemas.microsoft.com/office/drawing/2014/main" id="{6373FCD6-8FF8-401A-AABF-0E3D085F8D23}"/>
              </a:ext>
            </a:extLst>
          </p:cNvPr>
          <p:cNvCxnSpPr>
            <a:cxnSpLocks/>
          </p:cNvCxnSpPr>
          <p:nvPr userDrawn="1"/>
        </p:nvCxnSpPr>
        <p:spPr>
          <a:xfrm>
            <a:off x="7168358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Łącznik prosty 50">
            <a:extLst>
              <a:ext uri="{FF2B5EF4-FFF2-40B4-BE49-F238E27FC236}">
                <a16:creationId xmlns:a16="http://schemas.microsoft.com/office/drawing/2014/main" id="{AE19DA18-FFDD-4D42-829E-2A06AA4C3EB1}"/>
              </a:ext>
            </a:extLst>
          </p:cNvPr>
          <p:cNvCxnSpPr>
            <a:cxnSpLocks/>
          </p:cNvCxnSpPr>
          <p:nvPr userDrawn="1"/>
        </p:nvCxnSpPr>
        <p:spPr>
          <a:xfrm>
            <a:off x="9199914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EC355DE3-C9CA-CD42-8086-6CD72154393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39792" y="4509711"/>
            <a:ext cx="1839291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64" name="Text Placeholder 60">
            <a:extLst>
              <a:ext uri="{FF2B5EF4-FFF2-40B4-BE49-F238E27FC236}">
                <a16:creationId xmlns:a16="http://schemas.microsoft.com/office/drawing/2014/main" id="{AB50EBF6-5D95-BC45-9C63-954D03F72C5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00840" y="3637944"/>
            <a:ext cx="1881427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1.</a:t>
            </a:r>
          </a:p>
        </p:txBody>
      </p:sp>
      <p:sp>
        <p:nvSpPr>
          <p:cNvPr id="65" name="Text Placeholder 60">
            <a:extLst>
              <a:ext uri="{FF2B5EF4-FFF2-40B4-BE49-F238E27FC236}">
                <a16:creationId xmlns:a16="http://schemas.microsoft.com/office/drawing/2014/main" id="{F720E689-39B1-9245-AB65-DD6F312DBB6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00840" y="4124820"/>
            <a:ext cx="1881427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66" name="Text Placeholder 60">
            <a:extLst>
              <a:ext uri="{FF2B5EF4-FFF2-40B4-BE49-F238E27FC236}">
                <a16:creationId xmlns:a16="http://schemas.microsoft.com/office/drawing/2014/main" id="{1B0F2A70-062F-4040-81EE-C7AC88A1CC6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59511" y="3625828"/>
            <a:ext cx="1881428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2.</a:t>
            </a:r>
          </a:p>
        </p:txBody>
      </p:sp>
      <p:sp>
        <p:nvSpPr>
          <p:cNvPr id="67" name="Text Placeholder 60">
            <a:extLst>
              <a:ext uri="{FF2B5EF4-FFF2-40B4-BE49-F238E27FC236}">
                <a16:creationId xmlns:a16="http://schemas.microsoft.com/office/drawing/2014/main" id="{7DA62FC7-0C6B-304B-B58D-884BDDE546E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154494" y="4112704"/>
            <a:ext cx="1873484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68" name="Text Placeholder 60">
            <a:extLst>
              <a:ext uri="{FF2B5EF4-FFF2-40B4-BE49-F238E27FC236}">
                <a16:creationId xmlns:a16="http://schemas.microsoft.com/office/drawing/2014/main" id="{80356AD0-D55F-B948-84CA-DF589D91D80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40584" y="3637944"/>
            <a:ext cx="1837742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3.</a:t>
            </a:r>
          </a:p>
        </p:txBody>
      </p:sp>
      <p:sp>
        <p:nvSpPr>
          <p:cNvPr id="70" name="Text Placeholder 60">
            <a:extLst>
              <a:ext uri="{FF2B5EF4-FFF2-40B4-BE49-F238E27FC236}">
                <a16:creationId xmlns:a16="http://schemas.microsoft.com/office/drawing/2014/main" id="{EC756B4B-EFF8-B34C-AEB0-8AC3B293B96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40582" y="4124821"/>
            <a:ext cx="1837741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71" name="Text Placeholder 60">
            <a:extLst>
              <a:ext uri="{FF2B5EF4-FFF2-40B4-BE49-F238E27FC236}">
                <a16:creationId xmlns:a16="http://schemas.microsoft.com/office/drawing/2014/main" id="{714DF4FC-C50D-9446-B0D3-6D6D9AFBC23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52917" y="4495093"/>
            <a:ext cx="1875060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72" name="Text Placeholder 60">
            <a:extLst>
              <a:ext uri="{FF2B5EF4-FFF2-40B4-BE49-F238E27FC236}">
                <a16:creationId xmlns:a16="http://schemas.microsoft.com/office/drawing/2014/main" id="{A07194BE-D76F-BF4B-A421-877DB1635F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00059" y="4502207"/>
            <a:ext cx="1881427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3" name="Text Placeholder 60">
            <a:extLst>
              <a:ext uri="{FF2B5EF4-FFF2-40B4-BE49-F238E27FC236}">
                <a16:creationId xmlns:a16="http://schemas.microsoft.com/office/drawing/2014/main" id="{70049643-AD52-8C45-8843-942514BF015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260611" y="4497595"/>
            <a:ext cx="1839291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4" name="Text Placeholder 60">
            <a:extLst>
              <a:ext uri="{FF2B5EF4-FFF2-40B4-BE49-F238E27FC236}">
                <a16:creationId xmlns:a16="http://schemas.microsoft.com/office/drawing/2014/main" id="{A9FD836D-BD8F-7A4F-9578-B2A1840A401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61403" y="3625828"/>
            <a:ext cx="1837742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4.</a:t>
            </a:r>
          </a:p>
        </p:txBody>
      </p:sp>
      <p:sp>
        <p:nvSpPr>
          <p:cNvPr id="85" name="Text Placeholder 60">
            <a:extLst>
              <a:ext uri="{FF2B5EF4-FFF2-40B4-BE49-F238E27FC236}">
                <a16:creationId xmlns:a16="http://schemas.microsoft.com/office/drawing/2014/main" id="{1F11E0C5-BB90-C54C-9F45-07BA01346F8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61401" y="4112705"/>
            <a:ext cx="1837741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89" name="Text Placeholder 60">
            <a:extLst>
              <a:ext uri="{FF2B5EF4-FFF2-40B4-BE49-F238E27FC236}">
                <a16:creationId xmlns:a16="http://schemas.microsoft.com/office/drawing/2014/main" id="{0CD43120-E7F9-E84C-AB53-D7B8D88DF91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96861" y="4490091"/>
            <a:ext cx="1839291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90" name="Text Placeholder 60">
            <a:extLst>
              <a:ext uri="{FF2B5EF4-FFF2-40B4-BE49-F238E27FC236}">
                <a16:creationId xmlns:a16="http://schemas.microsoft.com/office/drawing/2014/main" id="{9A1C3D79-D53B-8044-988E-FC39BF636A7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297653" y="3618324"/>
            <a:ext cx="1837742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5.</a:t>
            </a:r>
          </a:p>
        </p:txBody>
      </p:sp>
      <p:sp>
        <p:nvSpPr>
          <p:cNvPr id="91" name="Text Placeholder 60">
            <a:extLst>
              <a:ext uri="{FF2B5EF4-FFF2-40B4-BE49-F238E27FC236}">
                <a16:creationId xmlns:a16="http://schemas.microsoft.com/office/drawing/2014/main" id="{8A5DB2EF-B467-2A43-865F-C95DC9A39FD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297651" y="4105201"/>
            <a:ext cx="1837741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394B4A0-15B9-0942-BD0C-49F1B5DBE61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Process</a:t>
            </a:r>
            <a:endParaRPr lang="pl-PL"/>
          </a:p>
        </p:txBody>
      </p:sp>
      <p:graphicFrame>
        <p:nvGraphicFramePr>
          <p:cNvPr id="36" name="Diagram 35">
            <a:extLst>
              <a:ext uri="{FF2B5EF4-FFF2-40B4-BE49-F238E27FC236}">
                <a16:creationId xmlns:a16="http://schemas.microsoft.com/office/drawing/2014/main" id="{CD23FAA5-A7A5-8C49-8E0D-F024CE45546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056300382"/>
              </p:ext>
            </p:extLst>
          </p:nvPr>
        </p:nvGraphicFramePr>
        <p:xfrm>
          <a:off x="868137" y="2328182"/>
          <a:ext cx="10477501" cy="7565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60C20CF-B865-8B44-BD36-17589A21A6C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209031" y="2326909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16181BA-1FC1-E741-B679-9810D1ECAB6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68870" y="2328182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FE33DAE9-07C3-DB48-897C-2C0141E4A66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91486" y="2326909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64B5A0C-DD98-B342-82AE-38923E82673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44177" y="2337820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2081F07E-5101-144B-84C2-23242040AD7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366362" y="2337820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840059F9-9774-47EA-9875-CA53E16FEC2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254036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oces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7" name="Text Placeholder 60">
            <a:extLst>
              <a:ext uri="{FF2B5EF4-FFF2-40B4-BE49-F238E27FC236}">
                <a16:creationId xmlns:a16="http://schemas.microsoft.com/office/drawing/2014/main" id="{F533D588-1515-E547-96E5-043A829923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39792" y="3650061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8" name="Text Placeholder 60">
            <a:extLst>
              <a:ext uri="{FF2B5EF4-FFF2-40B4-BE49-F238E27FC236}">
                <a16:creationId xmlns:a16="http://schemas.microsoft.com/office/drawing/2014/main" id="{4865FDAA-D4A0-BC42-8267-B5190D5B069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52917" y="3635443"/>
            <a:ext cx="1875060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9" name="Text Placeholder 60">
            <a:extLst>
              <a:ext uri="{FF2B5EF4-FFF2-40B4-BE49-F238E27FC236}">
                <a16:creationId xmlns:a16="http://schemas.microsoft.com/office/drawing/2014/main" id="{71180699-D64D-B848-91D2-41B5FAF2B1C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00059" y="3642557"/>
            <a:ext cx="1881427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0" name="Text Placeholder 60">
            <a:extLst>
              <a:ext uri="{FF2B5EF4-FFF2-40B4-BE49-F238E27FC236}">
                <a16:creationId xmlns:a16="http://schemas.microsoft.com/office/drawing/2014/main" id="{2CC46ADD-3E85-7445-9ECB-4CEF56C89D4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260611" y="3637945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1" name="Text Placeholder 60">
            <a:extLst>
              <a:ext uri="{FF2B5EF4-FFF2-40B4-BE49-F238E27FC236}">
                <a16:creationId xmlns:a16="http://schemas.microsoft.com/office/drawing/2014/main" id="{B78575ED-8EC4-A94D-ACEF-B945C14B7EE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96861" y="3630441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graphicFrame>
        <p:nvGraphicFramePr>
          <p:cNvPr id="17" name="Diagram 16">
            <a:extLst>
              <a:ext uri="{FF2B5EF4-FFF2-40B4-BE49-F238E27FC236}">
                <a16:creationId xmlns:a16="http://schemas.microsoft.com/office/drawing/2014/main" id="{DFC05E75-E2B2-8446-8D26-025F7CBA2B16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726783963"/>
              </p:ext>
            </p:extLst>
          </p:nvPr>
        </p:nvGraphicFramePr>
        <p:xfrm>
          <a:off x="868137" y="2328182"/>
          <a:ext cx="10477501" cy="7565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160E82-699B-1C42-A277-29C0FB7F381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209031" y="2398038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23A3B784-A354-024B-BD60-48D83FC3DDA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68870" y="2399311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2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976A9BDD-C86A-7341-8A72-F1B2836D58F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91486" y="2398038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3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6611BAE4-7EC3-B94A-98B0-7E3079F5872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44177" y="2408949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4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6FF69C6-D619-FA4B-8368-EAD10E1DB11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366362" y="2408949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5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4D9182F9-6A85-CC40-87F5-1190C0ECE7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Process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FD1838F8-5100-47A1-9BE2-6D817650F78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74208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RO_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pic>
        <p:nvPicPr>
          <p:cNvPr id="3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E6C2588B-6E86-4918-8788-9A3721B7D3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7737" y="2745152"/>
            <a:ext cx="2796526" cy="1531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310366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ymbol zastępczy numeru slajdu 5">
            <a:extLst>
              <a:ext uri="{FF2B5EF4-FFF2-40B4-BE49-F238E27FC236}">
                <a16:creationId xmlns:a16="http://schemas.microsoft.com/office/drawing/2014/main" id="{53E83CEF-607C-41E1-83A7-A80B1C0345A9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7"/>
            <a:ext cx="10504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l" defTabSz="914400" rtl="0" eaLnBrk="1" latinLnBrk="0" hangingPunct="1">
              <a:defRPr sz="1200" b="1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FD7E4E4-5BBC-3144-81F6-BE086EF4664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398814" y="2422338"/>
            <a:ext cx="1303338" cy="1303338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0104F3A1-122D-9E43-8ABB-1F2BE99402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945922" y="2435390"/>
            <a:ext cx="2927584" cy="82060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72E2E9E8-87C2-DE43-99AB-BB0BB356238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95626" y="2435390"/>
            <a:ext cx="2927584" cy="82060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A06AA3E9-1EF5-C745-994B-FF3BB785DBA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95625" y="3267036"/>
            <a:ext cx="2927585" cy="469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Job </a:t>
            </a:r>
            <a:r>
              <a:rPr lang="pl-PL" err="1"/>
              <a:t>position</a:t>
            </a:r>
            <a:endParaRPr lang="pl-PL"/>
          </a:p>
        </p:txBody>
      </p:sp>
      <p:sp>
        <p:nvSpPr>
          <p:cNvPr id="31" name="Text Placeholder 60">
            <a:extLst>
              <a:ext uri="{FF2B5EF4-FFF2-40B4-BE49-F238E27FC236}">
                <a16:creationId xmlns:a16="http://schemas.microsoft.com/office/drawing/2014/main" id="{B068799D-3753-9D4D-9556-6CB1ADFDDE3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08789" y="3943978"/>
            <a:ext cx="4479480" cy="191275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33" name="Text Placeholder 60">
            <a:extLst>
              <a:ext uri="{FF2B5EF4-FFF2-40B4-BE49-F238E27FC236}">
                <a16:creationId xmlns:a16="http://schemas.microsoft.com/office/drawing/2014/main" id="{F6D78EDB-59F3-A74F-AE67-77B092CD525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43730" y="3937957"/>
            <a:ext cx="4479480" cy="1912752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D80B7087-0113-8E49-8685-221D4DD4678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843730" y="2435390"/>
            <a:ext cx="1303338" cy="1303338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15" name="Tytuł 1">
            <a:extLst>
              <a:ext uri="{FF2B5EF4-FFF2-40B4-BE49-F238E27FC236}">
                <a16:creationId xmlns:a16="http://schemas.microsoft.com/office/drawing/2014/main" id="{EF425BDB-F83B-3740-BA0E-5BC71F603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F1BF282F-7D7D-354E-A8A9-4ED744B7FB1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Peopl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F0D5944E-9DCB-FD42-AC93-727D5DE51CE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945921" y="3270644"/>
            <a:ext cx="2927585" cy="469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Job </a:t>
            </a:r>
            <a:r>
              <a:rPr lang="pl-PL" err="1"/>
              <a:t>position</a:t>
            </a:r>
            <a:endParaRPr lang="pl-PL"/>
          </a:p>
        </p:txBody>
      </p:sp>
      <p:pic>
        <p:nvPicPr>
          <p:cNvPr id="4" name="Obraz 3" descr="Obraz zawierający znak, zegar&#10;&#10;Opis wygenerowany automatycznie">
            <a:extLst>
              <a:ext uri="{FF2B5EF4-FFF2-40B4-BE49-F238E27FC236}">
                <a16:creationId xmlns:a16="http://schemas.microsoft.com/office/drawing/2014/main" id="{973D65FA-04BF-459D-A159-EFB4AA012EF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12649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ymbol zastępczy numeru slajdu 5">
            <a:extLst>
              <a:ext uri="{FF2B5EF4-FFF2-40B4-BE49-F238E27FC236}">
                <a16:creationId xmlns:a16="http://schemas.microsoft.com/office/drawing/2014/main" id="{F61F9CEE-A24D-4167-9652-6F0DCFB843BA}"/>
              </a:ext>
            </a:extLst>
          </p:cNvPr>
          <p:cNvSpPr txBox="1">
            <a:spLocks/>
          </p:cNvSpPr>
          <p:nvPr userDrawn="1"/>
        </p:nvSpPr>
        <p:spPr>
          <a:xfrm>
            <a:off x="348342" y="6312807"/>
            <a:ext cx="10504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l" defTabSz="914400" rtl="0" eaLnBrk="1" latinLnBrk="0" hangingPunct="1">
              <a:defRPr sz="1200" b="1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C66D0F66-5DD0-CC47-9406-16BC3B730ED1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398814" y="2418860"/>
            <a:ext cx="1303338" cy="1303338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F069552-AAC9-4140-967D-BBB36666210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945922" y="2431912"/>
            <a:ext cx="2927584" cy="469675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69C5C8F3-08C1-0B4B-820E-D50C6D18D74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45921" y="2926119"/>
            <a:ext cx="2927585" cy="469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Job </a:t>
            </a:r>
            <a:r>
              <a:rPr lang="pl-PL" err="1"/>
              <a:t>position</a:t>
            </a:r>
            <a:endParaRPr lang="pl-PL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451B3AD-1644-6E43-867B-2F5A0BBEC442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843730" y="2431912"/>
            <a:ext cx="1303338" cy="1303338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F4161CB-4C3A-B94B-869A-FED3AF102200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98814" y="4530841"/>
            <a:ext cx="1303338" cy="1303338"/>
          </a:xfrm>
          <a:prstGeom prst="ellipse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4411615A-1143-F74F-AA3B-974154DD0B7D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843730" y="4543893"/>
            <a:ext cx="1303338" cy="1303338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B746B448-3E57-F443-B31B-41815AC9940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945921" y="3406836"/>
            <a:ext cx="2927585" cy="82060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kern="1200" spc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D300C504-C864-AD4E-A7DE-E222E6B1207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949348" y="4530841"/>
            <a:ext cx="2927584" cy="469675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C9464E39-87EE-C441-BB8F-B585640E667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949347" y="5025048"/>
            <a:ext cx="2927585" cy="469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Job </a:t>
            </a:r>
            <a:r>
              <a:rPr lang="pl-PL" err="1"/>
              <a:t>position</a:t>
            </a:r>
            <a:endParaRPr lang="pl-PL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289E6739-D418-E042-BD61-31503F78F6C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949347" y="5505765"/>
            <a:ext cx="2927585" cy="82060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kern="1200" spc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EBFEAA0C-A173-8F47-9201-A2F676532E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385939" y="2431912"/>
            <a:ext cx="2927584" cy="469675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61A5EFAB-F364-764A-BC31-6A7434FDE31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385938" y="2926119"/>
            <a:ext cx="2927585" cy="469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Job </a:t>
            </a:r>
            <a:r>
              <a:rPr lang="pl-PL" err="1"/>
              <a:t>position</a:t>
            </a:r>
            <a:endParaRPr lang="pl-PL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116246CD-539F-B547-82BA-71BA9E02DBB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385938" y="3406836"/>
            <a:ext cx="2927585" cy="82060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kern="1200" spc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639FCED2-BA6F-A54F-8F23-0DEF2CA3231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385939" y="4530841"/>
            <a:ext cx="2927584" cy="469675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E58F7C63-751C-CB4E-A396-CC22CA89ABA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385938" y="5025048"/>
            <a:ext cx="2927585" cy="469674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Job </a:t>
            </a:r>
            <a:r>
              <a:rPr lang="pl-PL" err="1"/>
              <a:t>position</a:t>
            </a:r>
            <a:endParaRPr lang="pl-PL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5FFF813A-76B4-CE4F-B80A-B5B2F91EEA0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385938" y="5505765"/>
            <a:ext cx="2927585" cy="820602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kern="1200" spc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9" name="Tytuł 1">
            <a:extLst>
              <a:ext uri="{FF2B5EF4-FFF2-40B4-BE49-F238E27FC236}">
                <a16:creationId xmlns:a16="http://schemas.microsoft.com/office/drawing/2014/main" id="{85BEC029-6B7C-9044-B91D-2783A5453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F8E08C5C-FE16-194E-936E-115ED0F3632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People</a:t>
            </a:r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5E4E33F4-5229-4B13-A1AB-860CA1B1BC4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984725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55" name="Tytuł 1">
            <a:extLst>
              <a:ext uri="{FF2B5EF4-FFF2-40B4-BE49-F238E27FC236}">
                <a16:creationId xmlns:a16="http://schemas.microsoft.com/office/drawing/2014/main" id="{9BF03333-7666-44CE-BC39-1F8FA0BAB218}"/>
              </a:ext>
            </a:extLst>
          </p:cNvPr>
          <p:cNvSpPr txBox="1">
            <a:spLocks/>
          </p:cNvSpPr>
          <p:nvPr userDrawn="1"/>
        </p:nvSpPr>
        <p:spPr>
          <a:xfrm>
            <a:off x="873578" y="1171162"/>
            <a:ext cx="4542064" cy="51162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1" kern="1200" spc="-15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200" spc="0" err="1"/>
              <a:t>Icons</a:t>
            </a:r>
            <a:endParaRPr lang="pl-PL" sz="2200" spc="0"/>
          </a:p>
        </p:txBody>
      </p:sp>
      <p:pic>
        <p:nvPicPr>
          <p:cNvPr id="27" name="Obraz 26" descr="Obraz zawierający znak, zegar&#10;&#10;Opis wygenerowany automatycznie">
            <a:extLst>
              <a:ext uri="{FF2B5EF4-FFF2-40B4-BE49-F238E27FC236}">
                <a16:creationId xmlns:a16="http://schemas.microsoft.com/office/drawing/2014/main" id="{DA80CAF4-4327-46E2-8BE6-EFF99D5124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790033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UTRO_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pic>
        <p:nvPicPr>
          <p:cNvPr id="3" name="Obraz 2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E6C2588B-6E86-4918-8788-9A3721B7D3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7737" y="2745152"/>
            <a:ext cx="2796526" cy="1531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714796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5F7413-A858-4143-BF3A-DFDAB10F2425}" type="datetimeFigureOut">
              <a:rPr lang="pl-PL" smtClean="0"/>
              <a:t>29.10.2024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5D0C64-DF36-4A56-91DF-CE78B4BAFAD0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19081113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p 2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E9986452-DCBE-7D63-CE4D-C58DE1DB1E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40008" y="253928"/>
            <a:ext cx="1473637" cy="807195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32FD308-9CA3-3FE0-1B46-63EAA4852A1A}"/>
              </a:ext>
            </a:extLst>
          </p:cNvPr>
          <p:cNvSpPr txBox="1"/>
          <p:nvPr/>
        </p:nvSpPr>
        <p:spPr>
          <a:xfrm>
            <a:off x="348340" y="6312807"/>
            <a:ext cx="2743200" cy="36512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CBBB1AD8-2A2F-4B14-B7C3-91C218CD0770}" type="slidenum">
              <a:t>‹#›</a:t>
            </a:fld>
            <a:endParaRPr lang="en-GB" sz="1200" b="1" i="1" u="none" strike="noStrike" kern="1200" cap="none" spc="0" baseline="0">
              <a:solidFill>
                <a:srgbClr val="29A457"/>
              </a:solidFill>
              <a:uFillTx/>
              <a:latin typeface="Open Sans" pitchFamily="34"/>
              <a:ea typeface="Open Sans" pitchFamily="34"/>
              <a:cs typeface="Open Sans" pitchFamily="34"/>
            </a:endParaRPr>
          </a:p>
        </p:txBody>
      </p:sp>
    </p:spTree>
    <p:extLst>
      <p:ext uri="{BB962C8B-B14F-4D97-AF65-F5344CB8AC3E}">
        <p14:creationId xmlns:p14="http://schemas.microsoft.com/office/powerpoint/2010/main" val="2870912994"/>
      </p:ext>
    </p:extLst>
  </p:cSld>
  <p:clrMapOvr>
    <a:masterClrMapping/>
  </p:clrMapOvr>
  <p:hf sldNum="0"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odtytuł 2">
            <a:extLst>
              <a:ext uri="{FF2B5EF4-FFF2-40B4-BE49-F238E27FC236}">
                <a16:creationId xmlns:a16="http://schemas.microsoft.com/office/drawing/2014/main" id="{79EEAF39-E7D1-914B-88A8-7FB94096E83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8048" y="3602038"/>
            <a:ext cx="10107562" cy="1655762"/>
          </a:xfrm>
        </p:spPr>
        <p:txBody>
          <a:bodyPr/>
          <a:lstStyle>
            <a:lvl1pPr marL="0" indent="0" algn="l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err="1"/>
              <a:t>This</a:t>
            </a:r>
            <a:r>
              <a:rPr lang="pl-PL"/>
              <a:t> </a:t>
            </a:r>
            <a:r>
              <a:rPr lang="pl-PL" err="1"/>
              <a:t>is</a:t>
            </a:r>
            <a:r>
              <a:rPr lang="pl-PL"/>
              <a:t> </a:t>
            </a:r>
            <a:r>
              <a:rPr lang="pl-PL" err="1"/>
              <a:t>template</a:t>
            </a:r>
            <a:r>
              <a:rPr lang="pl-PL"/>
              <a:t> of Presentation. </a:t>
            </a:r>
            <a:r>
              <a:rPr lang="pl-PL" err="1"/>
              <a:t>Let’s</a:t>
            </a:r>
            <a:r>
              <a:rPr lang="pl-PL"/>
              <a:t> </a:t>
            </a:r>
            <a:r>
              <a:rPr lang="pl-PL" err="1"/>
              <a:t>Create</a:t>
            </a:r>
            <a:r>
              <a:rPr lang="pl-PL"/>
              <a:t>!</a:t>
            </a:r>
          </a:p>
        </p:txBody>
      </p:sp>
      <p:sp>
        <p:nvSpPr>
          <p:cNvPr id="14" name="Tytuł 1">
            <a:extLst>
              <a:ext uri="{FF2B5EF4-FFF2-40B4-BE49-F238E27FC236}">
                <a16:creationId xmlns:a16="http://schemas.microsoft.com/office/drawing/2014/main" id="{96148336-9628-9245-9708-3F0C8DFF3E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8048" y="1332689"/>
            <a:ext cx="10447652" cy="2177274"/>
          </a:xfrm>
        </p:spPr>
        <p:txBody>
          <a:bodyPr anchor="b">
            <a:normAutofit/>
          </a:bodyPr>
          <a:lstStyle>
            <a:lvl1pPr algn="l">
              <a:defRPr sz="5500" b="1" spc="-150">
                <a:solidFill>
                  <a:schemeClr val="bg1"/>
                </a:solidFill>
              </a:defRPr>
            </a:lvl1pPr>
          </a:lstStyle>
          <a:p>
            <a:r>
              <a:rPr lang="pl-PL"/>
              <a:t>Hello World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91FB4A8-DA88-1540-9DB5-7DB2123BBE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8047" y="5788505"/>
            <a:ext cx="5396457" cy="4875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eneva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day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6 </a:t>
            </a: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une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020</a:t>
            </a:r>
          </a:p>
        </p:txBody>
      </p:sp>
    </p:spTree>
    <p:extLst>
      <p:ext uri="{BB962C8B-B14F-4D97-AF65-F5344CB8AC3E}">
        <p14:creationId xmlns:p14="http://schemas.microsoft.com/office/powerpoint/2010/main" val="2382693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IDEO_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4" name="Tytuł 1">
            <a:extLst>
              <a:ext uri="{FF2B5EF4-FFF2-40B4-BE49-F238E27FC236}">
                <a16:creationId xmlns:a16="http://schemas.microsoft.com/office/drawing/2014/main" id="{84E3662E-028D-2B46-A24D-9D675B2C07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D11E547-AE72-0D40-8BDD-2839E49D6FF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253927"/>
            <a:ext cx="8806338" cy="679767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151044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m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ytuł 1">
            <a:extLst>
              <a:ext uri="{FF2B5EF4-FFF2-40B4-BE49-F238E27FC236}">
                <a16:creationId xmlns:a16="http://schemas.microsoft.com/office/drawing/2014/main" id="{C7C5C807-78F5-3041-998A-E4F74E4A8D44}"/>
              </a:ext>
            </a:extLst>
          </p:cNvPr>
          <p:cNvSpPr txBox="1">
            <a:spLocks/>
          </p:cNvSpPr>
          <p:nvPr userDrawn="1"/>
        </p:nvSpPr>
        <p:spPr>
          <a:xfrm>
            <a:off x="846359" y="1474091"/>
            <a:ext cx="8806338" cy="43780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0" name="Tytuł 1">
            <a:extLst>
              <a:ext uri="{FF2B5EF4-FFF2-40B4-BE49-F238E27FC236}">
                <a16:creationId xmlns:a16="http://schemas.microsoft.com/office/drawing/2014/main" id="{2643A83C-AAA4-4441-87C4-1A950A2C9E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7" y="1474091"/>
            <a:ext cx="2886699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D1E7FBC-F14A-2948-AEA4-48D7FA9FD82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46361" y="528300"/>
            <a:ext cx="2886699" cy="10143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lim</a:t>
            </a:r>
            <a:endParaRPr lang="pl-PL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1517ED6-FE85-7A49-89E7-07C46460F18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84760" y="1280598"/>
            <a:ext cx="4333662" cy="4739200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imperdiet</a:t>
            </a:r>
            <a:r>
              <a:rPr lang="pl-PL"/>
              <a:t> </a:t>
            </a:r>
            <a:r>
              <a:rPr lang="pl-PL" err="1"/>
              <a:t>aliquet</a:t>
            </a:r>
            <a:r>
              <a:rPr lang="pl-PL"/>
              <a:t>. In </a:t>
            </a:r>
            <a:r>
              <a:rPr lang="pl-PL" err="1"/>
              <a:t>sodales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ultricies</a:t>
            </a:r>
            <a:r>
              <a:rPr lang="pl-PL"/>
              <a:t>.</a:t>
            </a:r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C0BBD46A-EAEB-4280-9F6D-049BBD8A95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7765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1DD86EA-EA42-44C7-8A4A-0066D92A8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9434" y="3073673"/>
            <a:ext cx="7445706" cy="1427075"/>
          </a:xfrm>
        </p:spPr>
        <p:txBody>
          <a:bodyPr anchor="t">
            <a:noAutofit/>
          </a:bodyPr>
          <a:lstStyle>
            <a:lvl1pPr marL="0" indent="0">
              <a:defRPr sz="4500" b="1" spc="-15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the </a:t>
            </a:r>
            <a:r>
              <a:rPr lang="pl-PL" err="1"/>
              <a:t>subsection</a:t>
            </a:r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E216245F-23B8-415E-9B16-3CDC42FB6A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91A28437-09C3-4BD5-A0ED-FE65C08B3832}"/>
              </a:ext>
            </a:extLst>
          </p:cNvPr>
          <p:cNvSpPr/>
          <p:nvPr userDrawn="1"/>
        </p:nvSpPr>
        <p:spPr>
          <a:xfrm>
            <a:off x="11206843" y="0"/>
            <a:ext cx="98515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1" name="Symbol zastępczy tekstu 2">
            <a:extLst>
              <a:ext uri="{FF2B5EF4-FFF2-40B4-BE49-F238E27FC236}">
                <a16:creationId xmlns:a16="http://schemas.microsoft.com/office/drawing/2014/main" id="{47C8ADBB-ACFA-574D-A9FF-6F34AD09FA91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74712" y="3073673"/>
            <a:ext cx="1274722" cy="744868"/>
          </a:xfrm>
        </p:spPr>
        <p:txBody>
          <a:bodyPr>
            <a:norm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4500" b="1" kern="1200" spc="-15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1.1.</a:t>
            </a:r>
          </a:p>
        </p:txBody>
      </p:sp>
      <p:pic>
        <p:nvPicPr>
          <p:cNvPr id="5" name="Obraz 4" descr="Obraz zawierający znak, zegar&#10;&#10;Opis wygenerowany automatycznie">
            <a:extLst>
              <a:ext uri="{FF2B5EF4-FFF2-40B4-BE49-F238E27FC236}">
                <a16:creationId xmlns:a16="http://schemas.microsoft.com/office/drawing/2014/main" id="{448DD1C7-DA96-44B0-88A4-CB7360BEA4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622" y="289845"/>
            <a:ext cx="1885007" cy="1032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8090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_half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2" name="Tytuł 1">
            <a:extLst>
              <a:ext uri="{FF2B5EF4-FFF2-40B4-BE49-F238E27FC236}">
                <a16:creationId xmlns:a16="http://schemas.microsoft.com/office/drawing/2014/main" id="{B7F482A2-531E-BB4D-BD3D-FFAF891C6D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249" y="2415141"/>
            <a:ext cx="4682421" cy="43177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985AE5C-CEED-704C-9F59-D34509271E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249" y="1467165"/>
            <a:ext cx="4682421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A224EE3-8E13-1445-8C1E-7D484F612A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249" y="4557650"/>
            <a:ext cx="4682421" cy="121515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6696BEB-0B93-7541-893D-B1E11196EDF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3249" y="3386917"/>
            <a:ext cx="4682421" cy="1015246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172632EE-5F54-4FEC-A8D0-15A69CBD03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89302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_half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418F9703-983A-8140-84AD-55F2F0D1F67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20907" y="1467165"/>
            <a:ext cx="4682421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45EE0EF7-BB07-FF46-8BBB-4ACBB7124A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20907" y="4557650"/>
            <a:ext cx="4682421" cy="121515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EBA941A-E641-B444-9EDE-DF471733142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620907" y="3386917"/>
            <a:ext cx="4682421" cy="1015246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27" name="Tytuł 1">
            <a:extLst>
              <a:ext uri="{FF2B5EF4-FFF2-40B4-BE49-F238E27FC236}">
                <a16:creationId xmlns:a16="http://schemas.microsoft.com/office/drawing/2014/main" id="{BEB4EBF9-CC08-6F40-A449-CA3F226A94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0905" y="2401227"/>
            <a:ext cx="4682423" cy="440875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99E1AD6D-2107-4059-A5A3-2E6FC89D16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58912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_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rostokąt 3">
            <a:extLst>
              <a:ext uri="{FF2B5EF4-FFF2-40B4-BE49-F238E27FC236}">
                <a16:creationId xmlns:a16="http://schemas.microsoft.com/office/drawing/2014/main" id="{3E29B53B-339F-4180-8021-D6DDFB296C8C}"/>
              </a:ext>
            </a:extLst>
          </p:cNvPr>
          <p:cNvSpPr/>
          <p:nvPr userDrawn="1"/>
        </p:nvSpPr>
        <p:spPr>
          <a:xfrm>
            <a:off x="-1" y="4434114"/>
            <a:ext cx="3946915" cy="24238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8" name="Tytuł 1">
            <a:extLst>
              <a:ext uri="{FF2B5EF4-FFF2-40B4-BE49-F238E27FC236}">
                <a16:creationId xmlns:a16="http://schemas.microsoft.com/office/drawing/2014/main" id="{F6BC0242-D8EE-2C4F-9F92-63D6E60774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4120" y="2408014"/>
            <a:ext cx="6839413" cy="440875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7778E96-5404-AD47-83A5-021270E9AE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74121" y="1460598"/>
            <a:ext cx="6839413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780203A-BFFA-3048-AA87-4D52350831E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74120" y="3382851"/>
            <a:ext cx="6839413" cy="263694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imperdiet</a:t>
            </a:r>
            <a:r>
              <a:rPr lang="pl-PL"/>
              <a:t> </a:t>
            </a:r>
            <a:r>
              <a:rPr lang="pl-PL" err="1"/>
              <a:t>aliquet</a:t>
            </a:r>
            <a:r>
              <a:rPr lang="pl-PL"/>
              <a:t>. In </a:t>
            </a:r>
            <a:r>
              <a:rPr lang="pl-PL" err="1"/>
              <a:t>sodales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ultricies</a:t>
            </a:r>
            <a:r>
              <a:rPr lang="pl-PL"/>
              <a:t>.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CAC3FFF-CE94-C344-9FCB-4F85D73E047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5801" y="4820501"/>
            <a:ext cx="3223583" cy="119929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628E5E2F-2132-475A-B102-3EF9E365F2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5524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_photo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rostokąt 3">
            <a:extLst>
              <a:ext uri="{FF2B5EF4-FFF2-40B4-BE49-F238E27FC236}">
                <a16:creationId xmlns:a16="http://schemas.microsoft.com/office/drawing/2014/main" id="{05B19B1F-1315-8540-80FF-321E6348E1FA}"/>
              </a:ext>
            </a:extLst>
          </p:cNvPr>
          <p:cNvSpPr/>
          <p:nvPr userDrawn="1"/>
        </p:nvSpPr>
        <p:spPr>
          <a:xfrm>
            <a:off x="8245085" y="4434114"/>
            <a:ext cx="3946915" cy="24238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pl-PL"/>
          </a:p>
        </p:txBody>
      </p:sp>
      <p:sp>
        <p:nvSpPr>
          <p:cNvPr id="18" name="Tytuł 1">
            <a:extLst>
              <a:ext uri="{FF2B5EF4-FFF2-40B4-BE49-F238E27FC236}">
                <a16:creationId xmlns:a16="http://schemas.microsoft.com/office/drawing/2014/main" id="{032000E8-4B0E-B340-97E3-182CE36946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576" y="2412279"/>
            <a:ext cx="6812196" cy="440875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24" name="Symbol zastępczy numeru slajdu 5">
            <a:extLst>
              <a:ext uri="{FF2B5EF4-FFF2-40B4-BE49-F238E27FC236}">
                <a16:creationId xmlns:a16="http://schemas.microsoft.com/office/drawing/2014/main" id="{C77FE608-EFD4-7B4E-AE82-97D11A4B8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CE74BD8B-E300-7247-9BC0-626BF672A51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576" y="1466065"/>
            <a:ext cx="6812196" cy="1008876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2E26EB-9790-974E-BBFC-F58084C7590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576" y="3290080"/>
            <a:ext cx="6812196" cy="272971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imperdiet</a:t>
            </a:r>
            <a:r>
              <a:rPr lang="pl-PL"/>
              <a:t> </a:t>
            </a:r>
            <a:r>
              <a:rPr lang="pl-PL" err="1"/>
              <a:t>aliquet</a:t>
            </a:r>
            <a:r>
              <a:rPr lang="pl-PL"/>
              <a:t>. In </a:t>
            </a:r>
            <a:r>
              <a:rPr lang="pl-PL" err="1"/>
              <a:t>sodales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ultricies</a:t>
            </a:r>
            <a:r>
              <a:rPr lang="pl-PL"/>
              <a:t>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4416197-AE21-ED44-A548-A147D4165F2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06750" y="4820501"/>
            <a:ext cx="3223583" cy="119929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A3684818-52BE-4442-95DD-E42CA92F18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080872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36E9D73-088F-8D41-85B9-FA37DA5341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576" y="3290080"/>
            <a:ext cx="5692071" cy="245971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imperdiet</a:t>
            </a:r>
            <a:r>
              <a:rPr lang="pl-PL"/>
              <a:t> </a:t>
            </a:r>
            <a:r>
              <a:rPr lang="pl-PL" err="1"/>
              <a:t>aliquet</a:t>
            </a:r>
            <a:r>
              <a:rPr lang="pl-PL"/>
              <a:t>.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2A582AC1-4FEA-934C-A10A-133F5DFA0FB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72849" y="1455708"/>
            <a:ext cx="3023471" cy="245939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i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None/>
            </a:pPr>
            <a:r>
              <a:rPr lang="it-IT" err="1"/>
              <a:t>Suspendisse</a:t>
            </a:r>
            <a:r>
              <a:rPr lang="it-IT"/>
              <a:t> </a:t>
            </a:r>
            <a:r>
              <a:rPr lang="it-IT" err="1"/>
              <a:t>nec</a:t>
            </a:r>
            <a:r>
              <a:rPr lang="it-IT"/>
              <a:t> </a:t>
            </a:r>
            <a:r>
              <a:rPr lang="it-IT" err="1"/>
              <a:t>risus</a:t>
            </a:r>
            <a:r>
              <a:rPr lang="it-IT"/>
              <a:t> et </a:t>
            </a:r>
            <a:r>
              <a:rPr lang="it-IT" err="1"/>
              <a:t>risus</a:t>
            </a:r>
            <a:r>
              <a:rPr lang="it-IT"/>
              <a:t> gravida </a:t>
            </a:r>
            <a:r>
              <a:rPr lang="it-IT" err="1"/>
              <a:t>condimentum</a:t>
            </a:r>
            <a:r>
              <a:rPr lang="it-IT"/>
              <a:t> non </a:t>
            </a:r>
            <a:r>
              <a:rPr lang="it-IT" err="1"/>
              <a:t>at</a:t>
            </a:r>
            <a:r>
              <a:rPr lang="it-IT"/>
              <a:t> </a:t>
            </a:r>
            <a:r>
              <a:rPr lang="it-IT" err="1"/>
              <a:t>nunc</a:t>
            </a:r>
            <a:r>
              <a:rPr lang="it-IT"/>
              <a:t>. Nulla in libero odio.</a:t>
            </a:r>
            <a:r>
              <a:rPr lang="pl-PL"/>
              <a:t>”</a:t>
            </a:r>
            <a:r>
              <a:rPr lang="it-IT"/>
              <a:t> </a:t>
            </a:r>
            <a:endParaRPr lang="pl-PL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2F11A20-630A-B444-AF39-9D1727C37A2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632846" y="1403017"/>
            <a:ext cx="831145" cy="2459397"/>
          </a:xfrm>
        </p:spPr>
        <p:txBody>
          <a:bodyPr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5000" b="1" i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None/>
            </a:pPr>
            <a:r>
              <a:rPr lang="en-US"/>
              <a:t>“</a:t>
            </a:r>
            <a:endParaRPr lang="pl-PL"/>
          </a:p>
        </p:txBody>
      </p:sp>
      <p:sp>
        <p:nvSpPr>
          <p:cNvPr id="15" name="Tytuł 1">
            <a:extLst>
              <a:ext uri="{FF2B5EF4-FFF2-40B4-BE49-F238E27FC236}">
                <a16:creationId xmlns:a16="http://schemas.microsoft.com/office/drawing/2014/main" id="{3C0D1142-5CFF-164F-99C0-4141EDE3D7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576" y="2412279"/>
            <a:ext cx="5692071" cy="440875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729BE3BF-51A0-6E43-BD3F-0BED08EF0F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576" y="1466065"/>
            <a:ext cx="5692071" cy="1008876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AFF5C035-7AFC-445F-BC6A-C2D82E3A31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97313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_photo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1314902-A424-CA4F-82B7-7D319E75ECF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3574" y="3028075"/>
            <a:ext cx="2628150" cy="2973032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8D154230-6519-5B49-9643-AEF3BFBC60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250" y="1467165"/>
            <a:ext cx="2628150" cy="1389628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Title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90D9A7AD-6FC5-436B-A9D3-108F954F41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38321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_photo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ymbol zastępczy numeru slajdu 5">
            <a:extLst>
              <a:ext uri="{FF2B5EF4-FFF2-40B4-BE49-F238E27FC236}">
                <a16:creationId xmlns:a16="http://schemas.microsoft.com/office/drawing/2014/main" id="{4F9AFD66-8230-EA46-9578-E8517B113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504A461-4EF5-034A-AFB8-E45B8CCB018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90272" y="3036791"/>
            <a:ext cx="2628150" cy="296431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66FD4FB-DDB4-F541-A9F6-FBD6DC3F476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90273" y="1467165"/>
            <a:ext cx="2628149" cy="1389628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3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Title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0EC5F6BF-32CB-4C0E-A3F3-58F653F0F1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62486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0" name="Tytuł 1">
            <a:extLst>
              <a:ext uri="{FF2B5EF4-FFF2-40B4-BE49-F238E27FC236}">
                <a16:creationId xmlns:a16="http://schemas.microsoft.com/office/drawing/2014/main" id="{BEA94BF6-C721-49E5-8669-A9C293F51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428" y="1470931"/>
            <a:ext cx="4684939" cy="829418"/>
          </a:xfrm>
        </p:spPr>
        <p:txBody>
          <a:bodyPr anchor="b">
            <a:normAutofit/>
          </a:bodyPr>
          <a:lstStyle>
            <a:lvl1pPr>
              <a:defRPr sz="3000" b="1" spc="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</a:t>
            </a:r>
            <a:r>
              <a:rPr lang="pl-PL" err="1"/>
              <a:t>paragraph</a:t>
            </a:r>
            <a:endParaRPr lang="pl-PL"/>
          </a:p>
        </p:txBody>
      </p:sp>
      <p:sp>
        <p:nvSpPr>
          <p:cNvPr id="18" name="Text Placeholder 60">
            <a:extLst>
              <a:ext uri="{FF2B5EF4-FFF2-40B4-BE49-F238E27FC236}">
                <a16:creationId xmlns:a16="http://schemas.microsoft.com/office/drawing/2014/main" id="{55EC8E82-A0B8-1346-B16A-C4D81298EB7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67428" y="4283359"/>
            <a:ext cx="4688572" cy="1697376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21" name="Text Placeholder 60">
            <a:extLst>
              <a:ext uri="{FF2B5EF4-FFF2-40B4-BE49-F238E27FC236}">
                <a16:creationId xmlns:a16="http://schemas.microsoft.com/office/drawing/2014/main" id="{43D40684-6F32-2E41-B8D2-F548AF210F1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67428" y="2545890"/>
            <a:ext cx="4684940" cy="1547139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F524CA45-116A-4FC8-BCC8-61EEEE1646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38262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ytuł 1">
            <a:extLst>
              <a:ext uri="{FF2B5EF4-FFF2-40B4-BE49-F238E27FC236}">
                <a16:creationId xmlns:a16="http://schemas.microsoft.com/office/drawing/2014/main" id="{6766530A-D4D5-C947-85CC-5E3A5C954B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6178" y="1470931"/>
            <a:ext cx="4692204" cy="829418"/>
          </a:xfrm>
        </p:spPr>
        <p:txBody>
          <a:bodyPr anchor="b">
            <a:normAutofit/>
          </a:bodyPr>
          <a:lstStyle>
            <a:lvl1pPr>
              <a:defRPr sz="3000" b="1" spc="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</a:t>
            </a:r>
            <a:r>
              <a:rPr lang="pl-PL" err="1"/>
              <a:t>paragraph</a:t>
            </a:r>
            <a:endParaRPr lang="pl-PL"/>
          </a:p>
        </p:txBody>
      </p:sp>
      <p:sp>
        <p:nvSpPr>
          <p:cNvPr id="12" name="Text Placeholder 60">
            <a:extLst>
              <a:ext uri="{FF2B5EF4-FFF2-40B4-BE49-F238E27FC236}">
                <a16:creationId xmlns:a16="http://schemas.microsoft.com/office/drawing/2014/main" id="{BEACCA14-3DF5-8246-84FC-44E498EF399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633442" y="4283358"/>
            <a:ext cx="4684940" cy="1697375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sp>
        <p:nvSpPr>
          <p:cNvPr id="15" name="Text Placeholder 60">
            <a:extLst>
              <a:ext uri="{FF2B5EF4-FFF2-40B4-BE49-F238E27FC236}">
                <a16:creationId xmlns:a16="http://schemas.microsoft.com/office/drawing/2014/main" id="{A85EFFF3-C3D2-A744-976F-EF9324FD8C4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629810" y="2545889"/>
            <a:ext cx="4684940" cy="1547139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49776CBF-0E36-4DA0-BF40-3309DB47D1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527512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ipes_green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577D3F5B-30C0-8347-BB91-74311F200E4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-4" y="4807504"/>
            <a:ext cx="6994355" cy="100266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VN"/>
              <a:t> 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E3FB6C64-106C-CF47-AE35-AF5DFCFEF35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-4" y="3575519"/>
            <a:ext cx="6994355" cy="100266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VN"/>
              <a:t>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600E447-2B35-F143-A598-31157DA1326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0" y="2347984"/>
            <a:ext cx="6994355" cy="100266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VN"/>
              <a:t> </a:t>
            </a:r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7" name="Tytuł 1">
            <a:extLst>
              <a:ext uri="{FF2B5EF4-FFF2-40B4-BE49-F238E27FC236}">
                <a16:creationId xmlns:a16="http://schemas.microsoft.com/office/drawing/2014/main" id="{F28C8F42-AD4C-C54F-8161-D0D6DEB164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0" y="1342966"/>
            <a:ext cx="4716942" cy="712900"/>
          </a:xfrm>
        </p:spPr>
        <p:txBody>
          <a:bodyPr anchor="b">
            <a:normAutofit/>
          </a:bodyPr>
          <a:lstStyle>
            <a:lvl1pPr>
              <a:defRPr sz="3000" b="1" spc="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</a:t>
            </a:r>
            <a:r>
              <a:rPr lang="pl-PL" err="1"/>
              <a:t>paragraph</a:t>
            </a:r>
            <a:endParaRPr lang="pl-PL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F6560EC-AA04-BE4D-A40F-A1DB489AC4F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95345" y="2508417"/>
            <a:ext cx="579892" cy="567285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9" name="Picture Placeholder 5">
            <a:extLst>
              <a:ext uri="{FF2B5EF4-FFF2-40B4-BE49-F238E27FC236}">
                <a16:creationId xmlns:a16="http://schemas.microsoft.com/office/drawing/2014/main" id="{8BE5CB42-C968-8C42-AE01-15CBF9806CF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95345" y="3796949"/>
            <a:ext cx="579892" cy="567285"/>
          </a:xfr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D6C14DA-307E-D64B-9347-9D7DB1D07AE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70819" y="3684381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7738FA18-177C-A54E-8923-24A61CCF5FB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670819" y="4921446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DF4272C-ECE7-1845-AAB1-9CD4240F15A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70819" y="2456846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</a:t>
            </a:r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2C3F7D50-94BC-F74E-B66E-C737B24F24D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7100" y="5024094"/>
            <a:ext cx="756379" cy="567285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C317104C-3940-47E9-B463-BCBC13CD473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8065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8675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7" name="Tytuł 1">
            <a:extLst>
              <a:ext uri="{FF2B5EF4-FFF2-40B4-BE49-F238E27FC236}">
                <a16:creationId xmlns:a16="http://schemas.microsoft.com/office/drawing/2014/main" id="{929E80EC-ABB5-FC47-BF91-33C7057C3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2220840-5540-F14A-BC1E-444C1BD005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EA3DE48-E235-B948-82FC-0FD10B1AA6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6359" y="2537783"/>
            <a:ext cx="10499281" cy="348201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err="1"/>
              <a:t>Proin</a:t>
            </a:r>
            <a:r>
              <a:rPr lang="pl-PL"/>
              <a:t> vitae </a:t>
            </a:r>
            <a:r>
              <a:rPr lang="pl-PL" err="1"/>
              <a:t>odio</a:t>
            </a:r>
            <a:r>
              <a:rPr lang="pl-PL"/>
              <a:t>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auctor</a:t>
            </a:r>
            <a:r>
              <a:rPr lang="pl-PL"/>
              <a:t> </a:t>
            </a:r>
            <a:r>
              <a:rPr lang="pl-PL" err="1"/>
              <a:t>faucibus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pic>
        <p:nvPicPr>
          <p:cNvPr id="4" name="Obraz 3" descr="Obraz zawierający znak, zegar&#10;&#10;Opis wygenerowany automatycznie">
            <a:extLst>
              <a:ext uri="{FF2B5EF4-FFF2-40B4-BE49-F238E27FC236}">
                <a16:creationId xmlns:a16="http://schemas.microsoft.com/office/drawing/2014/main" id="{4B9CABC8-B237-46DF-B1EC-029DE6B3F5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49080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ripes_green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A4E6CDD7-E2B3-0D40-AA32-D9366218B37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97644" y="2347338"/>
            <a:ext cx="6994358" cy="1011710"/>
          </a:xfrm>
          <a:solidFill>
            <a:schemeClr val="bg1"/>
          </a:solidFill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1000"/>
              </a:spcBef>
              <a:buFont typeface="System Font Regular"/>
              <a:buNone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indent="0">
              <a:buNone/>
            </a:pPr>
            <a:r>
              <a:rPr lang="en-VN"/>
              <a:t>  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0EB6AF7A-5344-4049-B287-59B87E011FC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97642" y="3581260"/>
            <a:ext cx="6994359" cy="1011710"/>
          </a:xfrm>
          <a:solidFill>
            <a:schemeClr val="bg1"/>
          </a:solidFill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1000"/>
              </a:spcBef>
              <a:buFont typeface="System Font Regular"/>
              <a:buNone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VN"/>
              <a:t>  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9DF55C36-FE57-3648-B310-BD3559A715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97642" y="4802135"/>
            <a:ext cx="6994358" cy="1011710"/>
          </a:xfrm>
          <a:solidFill>
            <a:schemeClr val="bg1"/>
          </a:solidFill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1000"/>
              </a:spcBef>
              <a:buFont typeface="System Font Regular"/>
              <a:buNone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VN"/>
              <a:t>  </a:t>
            </a:r>
          </a:p>
        </p:txBody>
      </p:sp>
      <p:sp>
        <p:nvSpPr>
          <p:cNvPr id="51" name="Picture Placeholder 5">
            <a:extLst>
              <a:ext uri="{FF2B5EF4-FFF2-40B4-BE49-F238E27FC236}">
                <a16:creationId xmlns:a16="http://schemas.microsoft.com/office/drawing/2014/main" id="{1B6D52F7-F4D8-8540-A2A7-468C40471A5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463990" y="5024347"/>
            <a:ext cx="756380" cy="567285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67" name="Picture Placeholder 5">
            <a:extLst>
              <a:ext uri="{FF2B5EF4-FFF2-40B4-BE49-F238E27FC236}">
                <a16:creationId xmlns:a16="http://schemas.microsoft.com/office/drawing/2014/main" id="{2ACC7F8B-0883-F84A-8471-9CC95C57EB4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552234" y="2576338"/>
            <a:ext cx="579892" cy="567285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AEF35F9-0DC5-BE4B-96F3-67A5BE706D8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572299" y="2462244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>
                <a:solidFill>
                  <a:schemeClr val="tx2"/>
                </a:solidFill>
              </a:rPr>
              <a:t>risus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gravida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condimentum</a:t>
            </a:r>
            <a:r>
              <a:rPr lang="pl-PL">
                <a:solidFill>
                  <a:schemeClr val="tx2"/>
                </a:solidFill>
              </a:rPr>
              <a:t> non </a:t>
            </a:r>
            <a:r>
              <a:rPr lang="pl-PL" err="1">
                <a:solidFill>
                  <a:schemeClr val="tx2"/>
                </a:solidFill>
              </a:rPr>
              <a:t>at</a:t>
            </a:r>
            <a:r>
              <a:rPr lang="pl-PL">
                <a:solidFill>
                  <a:schemeClr val="tx2"/>
                </a:solidFill>
              </a:rPr>
              <a:t> nunc.</a:t>
            </a:r>
          </a:p>
        </p:txBody>
      </p:sp>
      <p:sp>
        <p:nvSpPr>
          <p:cNvPr id="27" name="Picture Placeholder 5">
            <a:extLst>
              <a:ext uri="{FF2B5EF4-FFF2-40B4-BE49-F238E27FC236}">
                <a16:creationId xmlns:a16="http://schemas.microsoft.com/office/drawing/2014/main" id="{BC4AC382-608D-C146-ADFD-F4CDB1BB678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552234" y="3803471"/>
            <a:ext cx="579892" cy="567285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VN"/>
              <a:t> 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10261F7-52F2-A140-8A58-8E840D865C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72299" y="3694643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>
                <a:solidFill>
                  <a:schemeClr val="tx2"/>
                </a:solidFill>
              </a:rPr>
              <a:t>risus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gravida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condimentum</a:t>
            </a:r>
            <a:r>
              <a:rPr lang="pl-PL">
                <a:solidFill>
                  <a:schemeClr val="tx2"/>
                </a:solidFill>
              </a:rPr>
              <a:t> non </a:t>
            </a:r>
            <a:r>
              <a:rPr lang="pl-PL" err="1">
                <a:solidFill>
                  <a:schemeClr val="tx2"/>
                </a:solidFill>
              </a:rPr>
              <a:t>at</a:t>
            </a:r>
            <a:r>
              <a:rPr lang="pl-PL">
                <a:solidFill>
                  <a:schemeClr val="tx2"/>
                </a:solidFill>
              </a:rPr>
              <a:t> nunc.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14F417C-24E8-3246-8919-7383A6EBCCD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72299" y="4914132"/>
            <a:ext cx="5179530" cy="784940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>
                <a:solidFill>
                  <a:schemeClr val="tx2"/>
                </a:solidFill>
              </a:rPr>
              <a:t>risus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gravida</a:t>
            </a:r>
            <a:r>
              <a:rPr lang="pl-PL">
                <a:solidFill>
                  <a:schemeClr val="tx2"/>
                </a:solidFill>
              </a:rPr>
              <a:t> </a:t>
            </a:r>
            <a:r>
              <a:rPr lang="pl-PL" err="1">
                <a:solidFill>
                  <a:schemeClr val="tx2"/>
                </a:solidFill>
              </a:rPr>
              <a:t>condimentum</a:t>
            </a:r>
            <a:r>
              <a:rPr lang="pl-PL">
                <a:solidFill>
                  <a:schemeClr val="tx2"/>
                </a:solidFill>
              </a:rPr>
              <a:t> non </a:t>
            </a:r>
            <a:r>
              <a:rPr lang="pl-PL" err="1">
                <a:solidFill>
                  <a:schemeClr val="tx2"/>
                </a:solidFill>
              </a:rPr>
              <a:t>at</a:t>
            </a:r>
            <a:r>
              <a:rPr lang="pl-PL">
                <a:solidFill>
                  <a:schemeClr val="tx2"/>
                </a:solidFill>
              </a:rPr>
              <a:t> nunc.</a:t>
            </a:r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31374420-E582-4C80-AE43-4E5EB4C06D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41992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meline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ymbol zastępczy numeru slajdu 5">
            <a:extLst>
              <a:ext uri="{FF2B5EF4-FFF2-40B4-BE49-F238E27FC236}">
                <a16:creationId xmlns:a16="http://schemas.microsoft.com/office/drawing/2014/main" id="{D526C90E-13B5-4D95-8BE9-03ED11780FC9}"/>
              </a:ext>
            </a:extLst>
          </p:cNvPr>
          <p:cNvSpPr>
            <a:spLocks noGrp="1"/>
          </p:cNvSpPr>
          <p:nvPr userDrawn="1">
            <p:ph type="sldNum" sz="quarter" idx="19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1" name="Tytuł 1">
            <a:extLst>
              <a:ext uri="{FF2B5EF4-FFF2-40B4-BE49-F238E27FC236}">
                <a16:creationId xmlns:a16="http://schemas.microsoft.com/office/drawing/2014/main" id="{E483A55E-99F0-564C-B886-7FA64CCB85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bg1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title</a:t>
            </a:r>
            <a:endParaRPr lang="pl-PL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6AFB9C2-FA15-C745-BF2C-DB3BC77DC2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Timeline</a:t>
            </a:r>
            <a:endParaRPr lang="pl-PL"/>
          </a:p>
        </p:txBody>
      </p:sp>
      <p:pic>
        <p:nvPicPr>
          <p:cNvPr id="4" name="Obraz 3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8DC80185-3761-4FDC-8206-2A1270E789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495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ces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cxnSp>
        <p:nvCxnSpPr>
          <p:cNvPr id="11" name="Łącznik prosty 10">
            <a:extLst>
              <a:ext uri="{FF2B5EF4-FFF2-40B4-BE49-F238E27FC236}">
                <a16:creationId xmlns:a16="http://schemas.microsoft.com/office/drawing/2014/main" id="{C2D73FA2-095C-41E7-BF3D-3E65D4600830}"/>
              </a:ext>
            </a:extLst>
          </p:cNvPr>
          <p:cNvCxnSpPr>
            <a:cxnSpLocks/>
          </p:cNvCxnSpPr>
          <p:nvPr userDrawn="1"/>
        </p:nvCxnSpPr>
        <p:spPr>
          <a:xfrm>
            <a:off x="1013426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Łącznik prosty 24">
            <a:extLst>
              <a:ext uri="{FF2B5EF4-FFF2-40B4-BE49-F238E27FC236}">
                <a16:creationId xmlns:a16="http://schemas.microsoft.com/office/drawing/2014/main" id="{3C1EBD96-FC8B-467F-BA05-89B6A01E6C87}"/>
              </a:ext>
            </a:extLst>
          </p:cNvPr>
          <p:cNvCxnSpPr>
            <a:cxnSpLocks/>
          </p:cNvCxnSpPr>
          <p:nvPr userDrawn="1"/>
        </p:nvCxnSpPr>
        <p:spPr>
          <a:xfrm>
            <a:off x="3066742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Łącznik prosty 36">
            <a:extLst>
              <a:ext uri="{FF2B5EF4-FFF2-40B4-BE49-F238E27FC236}">
                <a16:creationId xmlns:a16="http://schemas.microsoft.com/office/drawing/2014/main" id="{EA249D0D-D9C0-4F41-8C2D-B54A8594B1C9}"/>
              </a:ext>
            </a:extLst>
          </p:cNvPr>
          <p:cNvCxnSpPr>
            <a:cxnSpLocks/>
          </p:cNvCxnSpPr>
          <p:nvPr userDrawn="1"/>
        </p:nvCxnSpPr>
        <p:spPr>
          <a:xfrm>
            <a:off x="5115042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Łącznik prosty 40">
            <a:extLst>
              <a:ext uri="{FF2B5EF4-FFF2-40B4-BE49-F238E27FC236}">
                <a16:creationId xmlns:a16="http://schemas.microsoft.com/office/drawing/2014/main" id="{6373FCD6-8FF8-401A-AABF-0E3D085F8D23}"/>
              </a:ext>
            </a:extLst>
          </p:cNvPr>
          <p:cNvCxnSpPr>
            <a:cxnSpLocks/>
          </p:cNvCxnSpPr>
          <p:nvPr userDrawn="1"/>
        </p:nvCxnSpPr>
        <p:spPr>
          <a:xfrm>
            <a:off x="7168358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Łącznik prosty 50">
            <a:extLst>
              <a:ext uri="{FF2B5EF4-FFF2-40B4-BE49-F238E27FC236}">
                <a16:creationId xmlns:a16="http://schemas.microsoft.com/office/drawing/2014/main" id="{AE19DA18-FFDD-4D42-829E-2A06AA4C3EB1}"/>
              </a:ext>
            </a:extLst>
          </p:cNvPr>
          <p:cNvCxnSpPr>
            <a:cxnSpLocks/>
          </p:cNvCxnSpPr>
          <p:nvPr userDrawn="1"/>
        </p:nvCxnSpPr>
        <p:spPr>
          <a:xfrm>
            <a:off x="9199914" y="3924300"/>
            <a:ext cx="0" cy="201930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EC355DE3-C9CA-CD42-8086-6CD72154393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39792" y="4509711"/>
            <a:ext cx="1839291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64" name="Text Placeholder 60">
            <a:extLst>
              <a:ext uri="{FF2B5EF4-FFF2-40B4-BE49-F238E27FC236}">
                <a16:creationId xmlns:a16="http://schemas.microsoft.com/office/drawing/2014/main" id="{AB50EBF6-5D95-BC45-9C63-954D03F72C5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00840" y="3637944"/>
            <a:ext cx="1881427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1.</a:t>
            </a:r>
          </a:p>
        </p:txBody>
      </p:sp>
      <p:sp>
        <p:nvSpPr>
          <p:cNvPr id="65" name="Text Placeholder 60">
            <a:extLst>
              <a:ext uri="{FF2B5EF4-FFF2-40B4-BE49-F238E27FC236}">
                <a16:creationId xmlns:a16="http://schemas.microsoft.com/office/drawing/2014/main" id="{F720E689-39B1-9245-AB65-DD6F312DBB6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100840" y="4124820"/>
            <a:ext cx="1881427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66" name="Text Placeholder 60">
            <a:extLst>
              <a:ext uri="{FF2B5EF4-FFF2-40B4-BE49-F238E27FC236}">
                <a16:creationId xmlns:a16="http://schemas.microsoft.com/office/drawing/2014/main" id="{1B0F2A70-062F-4040-81EE-C7AC88A1CC6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59511" y="3625828"/>
            <a:ext cx="1881428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2.</a:t>
            </a:r>
          </a:p>
        </p:txBody>
      </p:sp>
      <p:sp>
        <p:nvSpPr>
          <p:cNvPr id="67" name="Text Placeholder 60">
            <a:extLst>
              <a:ext uri="{FF2B5EF4-FFF2-40B4-BE49-F238E27FC236}">
                <a16:creationId xmlns:a16="http://schemas.microsoft.com/office/drawing/2014/main" id="{7DA62FC7-0C6B-304B-B58D-884BDDE546E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154494" y="4112704"/>
            <a:ext cx="1873484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68" name="Text Placeholder 60">
            <a:extLst>
              <a:ext uri="{FF2B5EF4-FFF2-40B4-BE49-F238E27FC236}">
                <a16:creationId xmlns:a16="http://schemas.microsoft.com/office/drawing/2014/main" id="{80356AD0-D55F-B948-84CA-DF589D91D80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40584" y="3637944"/>
            <a:ext cx="1837742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3.</a:t>
            </a:r>
          </a:p>
        </p:txBody>
      </p:sp>
      <p:sp>
        <p:nvSpPr>
          <p:cNvPr id="70" name="Text Placeholder 60">
            <a:extLst>
              <a:ext uri="{FF2B5EF4-FFF2-40B4-BE49-F238E27FC236}">
                <a16:creationId xmlns:a16="http://schemas.microsoft.com/office/drawing/2014/main" id="{EC756B4B-EFF8-B34C-AEB0-8AC3B293B96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40582" y="4124821"/>
            <a:ext cx="1837741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71" name="Text Placeholder 60">
            <a:extLst>
              <a:ext uri="{FF2B5EF4-FFF2-40B4-BE49-F238E27FC236}">
                <a16:creationId xmlns:a16="http://schemas.microsoft.com/office/drawing/2014/main" id="{714DF4FC-C50D-9446-B0D3-6D6D9AFBC23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52917" y="4495093"/>
            <a:ext cx="1875060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72" name="Text Placeholder 60">
            <a:extLst>
              <a:ext uri="{FF2B5EF4-FFF2-40B4-BE49-F238E27FC236}">
                <a16:creationId xmlns:a16="http://schemas.microsoft.com/office/drawing/2014/main" id="{A07194BE-D76F-BF4B-A421-877DB1635FE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00059" y="4502207"/>
            <a:ext cx="1881427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3" name="Text Placeholder 60">
            <a:extLst>
              <a:ext uri="{FF2B5EF4-FFF2-40B4-BE49-F238E27FC236}">
                <a16:creationId xmlns:a16="http://schemas.microsoft.com/office/drawing/2014/main" id="{70049643-AD52-8C45-8843-942514BF015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260611" y="4497595"/>
            <a:ext cx="1839291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84" name="Text Placeholder 60">
            <a:extLst>
              <a:ext uri="{FF2B5EF4-FFF2-40B4-BE49-F238E27FC236}">
                <a16:creationId xmlns:a16="http://schemas.microsoft.com/office/drawing/2014/main" id="{A9FD836D-BD8F-7A4F-9578-B2A1840A401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261403" y="3625828"/>
            <a:ext cx="1837742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4.</a:t>
            </a:r>
          </a:p>
        </p:txBody>
      </p:sp>
      <p:sp>
        <p:nvSpPr>
          <p:cNvPr id="85" name="Text Placeholder 60">
            <a:extLst>
              <a:ext uri="{FF2B5EF4-FFF2-40B4-BE49-F238E27FC236}">
                <a16:creationId xmlns:a16="http://schemas.microsoft.com/office/drawing/2014/main" id="{1F11E0C5-BB90-C54C-9F45-07BA01346F8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261401" y="4112705"/>
            <a:ext cx="1837741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89" name="Text Placeholder 60">
            <a:extLst>
              <a:ext uri="{FF2B5EF4-FFF2-40B4-BE49-F238E27FC236}">
                <a16:creationId xmlns:a16="http://schemas.microsoft.com/office/drawing/2014/main" id="{0CD43120-E7F9-E84C-AB53-D7B8D88DF91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96861" y="4490091"/>
            <a:ext cx="1839291" cy="1475037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90" name="Text Placeholder 60">
            <a:extLst>
              <a:ext uri="{FF2B5EF4-FFF2-40B4-BE49-F238E27FC236}">
                <a16:creationId xmlns:a16="http://schemas.microsoft.com/office/drawing/2014/main" id="{9A1C3D79-D53B-8044-988E-FC39BF636A7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297653" y="3618324"/>
            <a:ext cx="1837742" cy="476993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3000" b="1" kern="1200" dirty="0" smtClean="0">
                <a:solidFill>
                  <a:srgbClr val="52525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/>
              <a:t>05.</a:t>
            </a:r>
          </a:p>
        </p:txBody>
      </p:sp>
      <p:sp>
        <p:nvSpPr>
          <p:cNvPr id="91" name="Text Placeholder 60">
            <a:extLst>
              <a:ext uri="{FF2B5EF4-FFF2-40B4-BE49-F238E27FC236}">
                <a16:creationId xmlns:a16="http://schemas.microsoft.com/office/drawing/2014/main" id="{8A5DB2EF-B467-2A43-865F-C95DC9A39FD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297651" y="4105201"/>
            <a:ext cx="1837741" cy="36750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l-PL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Name</a:t>
            </a:r>
            <a:endParaRPr lang="pl-PL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394B4A0-15B9-0942-BD0C-49F1B5DBE61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Process</a:t>
            </a:r>
            <a:endParaRPr lang="pl-PL"/>
          </a:p>
        </p:txBody>
      </p:sp>
      <p:graphicFrame>
        <p:nvGraphicFramePr>
          <p:cNvPr id="36" name="Diagram 35">
            <a:extLst>
              <a:ext uri="{FF2B5EF4-FFF2-40B4-BE49-F238E27FC236}">
                <a16:creationId xmlns:a16="http://schemas.microsoft.com/office/drawing/2014/main" id="{CD23FAA5-A7A5-8C49-8E0D-F024CE45546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056300382"/>
              </p:ext>
            </p:extLst>
          </p:nvPr>
        </p:nvGraphicFramePr>
        <p:xfrm>
          <a:off x="868137" y="2328182"/>
          <a:ext cx="10477501" cy="7565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60C20CF-B865-8B44-BD36-17589A21A6C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209031" y="2326909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16181BA-1FC1-E741-B679-9810D1ECAB6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68870" y="2328182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FE33DAE9-07C3-DB48-897C-2C0141E4A66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91486" y="2326909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C64B5A0C-DD98-B342-82AE-38923E82673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44177" y="2337820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2081F07E-5101-144B-84C2-23242040AD7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366362" y="2337820"/>
            <a:ext cx="1645549" cy="756558"/>
          </a:xfrm>
        </p:spPr>
        <p:txBody>
          <a:bodyPr anchor="ctr"/>
          <a:lstStyle>
            <a:lvl1pPr marL="17100" indent="0" algn="l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Name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840059F9-9774-47EA-9875-CA53E16FEC2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18858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oces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27" name="Text Placeholder 60">
            <a:extLst>
              <a:ext uri="{FF2B5EF4-FFF2-40B4-BE49-F238E27FC236}">
                <a16:creationId xmlns:a16="http://schemas.microsoft.com/office/drawing/2014/main" id="{F533D588-1515-E547-96E5-043A829923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39792" y="3650061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8" name="Text Placeholder 60">
            <a:extLst>
              <a:ext uri="{FF2B5EF4-FFF2-40B4-BE49-F238E27FC236}">
                <a16:creationId xmlns:a16="http://schemas.microsoft.com/office/drawing/2014/main" id="{4865FDAA-D4A0-BC42-8267-B5190D5B069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152917" y="3635443"/>
            <a:ext cx="1875060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29" name="Text Placeholder 60">
            <a:extLst>
              <a:ext uri="{FF2B5EF4-FFF2-40B4-BE49-F238E27FC236}">
                <a16:creationId xmlns:a16="http://schemas.microsoft.com/office/drawing/2014/main" id="{71180699-D64D-B848-91D2-41B5FAF2B1C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00059" y="3642557"/>
            <a:ext cx="1881427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0" name="Text Placeholder 60">
            <a:extLst>
              <a:ext uri="{FF2B5EF4-FFF2-40B4-BE49-F238E27FC236}">
                <a16:creationId xmlns:a16="http://schemas.microsoft.com/office/drawing/2014/main" id="{2CC46ADD-3E85-7445-9ECB-4CEF56C89D4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260611" y="3637945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sp>
        <p:nvSpPr>
          <p:cNvPr id="31" name="Text Placeholder 60">
            <a:extLst>
              <a:ext uri="{FF2B5EF4-FFF2-40B4-BE49-F238E27FC236}">
                <a16:creationId xmlns:a16="http://schemas.microsoft.com/office/drawing/2014/main" id="{B78575ED-8EC4-A94D-ACEF-B945C14B7EE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96861" y="3630441"/>
            <a:ext cx="1839291" cy="2334688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400" b="0" i="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graphicFrame>
        <p:nvGraphicFramePr>
          <p:cNvPr id="17" name="Diagram 16">
            <a:extLst>
              <a:ext uri="{FF2B5EF4-FFF2-40B4-BE49-F238E27FC236}">
                <a16:creationId xmlns:a16="http://schemas.microsoft.com/office/drawing/2014/main" id="{DFC05E75-E2B2-8446-8D26-025F7CBA2B16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726783963"/>
              </p:ext>
            </p:extLst>
          </p:nvPr>
        </p:nvGraphicFramePr>
        <p:xfrm>
          <a:off x="868137" y="2328182"/>
          <a:ext cx="10477501" cy="7565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160E82-699B-1C42-A277-29C0FB7F381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209031" y="2398038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23A3B784-A354-024B-BD60-48D83FC3DDA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268870" y="2399311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2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976A9BDD-C86A-7341-8A72-F1B2836D58FD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91486" y="2398038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3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6611BAE4-7EC3-B94A-98B0-7E3079F5872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44177" y="2408949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4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6FF69C6-D619-FA4B-8368-EAD10E1DB11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366362" y="2408949"/>
            <a:ext cx="1645549" cy="610386"/>
          </a:xfrm>
        </p:spPr>
        <p:txBody>
          <a:bodyPr anchor="ctr"/>
          <a:lstStyle>
            <a:lvl1pPr marL="1710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VN"/>
              <a:t>05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4D9182F9-6A85-CC40-87F5-1190C0ECE7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5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Process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FD1838F8-5100-47A1-9BE2-6D817650F78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64999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ec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3FAEAC0-0E6D-444A-95B5-0A3C93C47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9434" y="2970926"/>
            <a:ext cx="6697683" cy="1724480"/>
          </a:xfrm>
        </p:spPr>
        <p:txBody>
          <a:bodyPr anchor="t">
            <a:normAutofit/>
          </a:bodyPr>
          <a:lstStyle>
            <a:lvl1pPr>
              <a:defRPr sz="5500" b="1">
                <a:solidFill>
                  <a:schemeClr val="bg1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3072B88E-60B1-4951-ACB4-62501281AA6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149434" y="5018314"/>
            <a:ext cx="9198015" cy="996592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err="1"/>
              <a:t>Sub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7" name="Symbol zastępczy numeru slajdu 5">
            <a:extLst>
              <a:ext uri="{FF2B5EF4-FFF2-40B4-BE49-F238E27FC236}">
                <a16:creationId xmlns:a16="http://schemas.microsoft.com/office/drawing/2014/main" id="{2BFFDC2F-69F9-4006-A2A6-11998BCE2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C37AD4BE-6D4A-446E-9235-69971E43B1B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74713" y="2970926"/>
            <a:ext cx="1274721" cy="852930"/>
          </a:xfrm>
        </p:spPr>
        <p:txBody>
          <a:bodyPr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55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1.</a:t>
            </a:r>
          </a:p>
        </p:txBody>
      </p:sp>
      <p:grpSp>
        <p:nvGrpSpPr>
          <p:cNvPr id="8" name="Grupa 3">
            <a:extLst>
              <a:ext uri="{FF2B5EF4-FFF2-40B4-BE49-F238E27FC236}">
                <a16:creationId xmlns:a16="http://schemas.microsoft.com/office/drawing/2014/main" id="{01AE8B2C-E71A-B446-9855-C9F2CB4F0EE3}"/>
              </a:ext>
            </a:extLst>
          </p:cNvPr>
          <p:cNvGrpSpPr/>
          <p:nvPr userDrawn="1"/>
        </p:nvGrpSpPr>
        <p:grpSpPr>
          <a:xfrm>
            <a:off x="558987" y="334537"/>
            <a:ext cx="3137299" cy="1025911"/>
            <a:chOff x="721666" y="638286"/>
            <a:chExt cx="1909130" cy="624294"/>
          </a:xfrm>
        </p:grpSpPr>
        <p:pic>
          <p:nvPicPr>
            <p:cNvPr id="9" name="Obraz 6" descr="Obraz zawierający zegar, rysunek, znak&#10;&#10;Opis wygenerowany automatycznie">
              <a:extLst>
                <a:ext uri="{FF2B5EF4-FFF2-40B4-BE49-F238E27FC236}">
                  <a16:creationId xmlns:a16="http://schemas.microsoft.com/office/drawing/2014/main" id="{3C581CD8-0D9E-CA4D-A100-8AC496F9623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1666" y="638286"/>
              <a:ext cx="1139727" cy="624294"/>
            </a:xfrm>
            <a:prstGeom prst="rect">
              <a:avLst/>
            </a:prstGeom>
          </p:spPr>
        </p:pic>
        <p:pic>
          <p:nvPicPr>
            <p:cNvPr id="10" name="Grafika 8">
              <a:extLst>
                <a:ext uri="{FF2B5EF4-FFF2-40B4-BE49-F238E27FC236}">
                  <a16:creationId xmlns:a16="http://schemas.microsoft.com/office/drawing/2014/main" id="{958CBBF2-F52C-0D41-ABD0-950ECE019B4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861393" y="798876"/>
              <a:ext cx="769403" cy="2649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49029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BAE40"/>
          </p15:clr>
        </p15:guide>
        <p15:guide id="2" pos="7129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ap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5" name="Tytuł 1">
            <a:extLst>
              <a:ext uri="{FF2B5EF4-FFF2-40B4-BE49-F238E27FC236}">
                <a16:creationId xmlns:a16="http://schemas.microsoft.com/office/drawing/2014/main" id="{734E2013-0338-7F3B-ACE7-4ED8BF7F93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8B1251C-1BDB-70F1-32AD-B9FBF21D6D2A}"/>
              </a:ext>
            </a:extLst>
          </p:cNvPr>
          <p:cNvGrpSpPr/>
          <p:nvPr userDrawn="1"/>
        </p:nvGrpSpPr>
        <p:grpSpPr>
          <a:xfrm>
            <a:off x="9613647" y="311734"/>
            <a:ext cx="1924081" cy="674051"/>
            <a:chOff x="9613647" y="311734"/>
            <a:chExt cx="1924081" cy="674051"/>
          </a:xfrm>
        </p:grpSpPr>
        <p:pic>
          <p:nvPicPr>
            <p:cNvPr id="7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F4C71066-DDE1-2BE8-8088-6A8CC34D6B3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647" y="311734"/>
              <a:ext cx="1230566" cy="674051"/>
            </a:xfrm>
            <a:prstGeom prst="rect">
              <a:avLst/>
            </a:prstGeom>
          </p:spPr>
        </p:pic>
        <p:pic>
          <p:nvPicPr>
            <p:cNvPr id="8" name="Grafika 11">
              <a:extLst>
                <a:ext uri="{FF2B5EF4-FFF2-40B4-BE49-F238E27FC236}">
                  <a16:creationId xmlns:a16="http://schemas.microsoft.com/office/drawing/2014/main" id="{F02225A9-9966-E870-CA5A-996BBCBEF8D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768325" y="516268"/>
              <a:ext cx="769403" cy="2649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53840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p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5" name="Tytuł 1">
            <a:extLst>
              <a:ext uri="{FF2B5EF4-FFF2-40B4-BE49-F238E27FC236}">
                <a16:creationId xmlns:a16="http://schemas.microsoft.com/office/drawing/2014/main" id="{734E2013-0338-7F3B-ACE7-4ED8BF7F93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8B1251C-1BDB-70F1-32AD-B9FBF21D6D2A}"/>
              </a:ext>
            </a:extLst>
          </p:cNvPr>
          <p:cNvGrpSpPr/>
          <p:nvPr userDrawn="1"/>
        </p:nvGrpSpPr>
        <p:grpSpPr>
          <a:xfrm>
            <a:off x="9613647" y="311734"/>
            <a:ext cx="1924081" cy="674051"/>
            <a:chOff x="9613647" y="311734"/>
            <a:chExt cx="1924081" cy="674051"/>
          </a:xfrm>
        </p:grpSpPr>
        <p:pic>
          <p:nvPicPr>
            <p:cNvPr id="7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F4C71066-DDE1-2BE8-8088-6A8CC34D6B3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647" y="311734"/>
              <a:ext cx="1230566" cy="674051"/>
            </a:xfrm>
            <a:prstGeom prst="rect">
              <a:avLst/>
            </a:prstGeom>
          </p:spPr>
        </p:pic>
        <p:pic>
          <p:nvPicPr>
            <p:cNvPr id="8" name="Grafika 11">
              <a:extLst>
                <a:ext uri="{FF2B5EF4-FFF2-40B4-BE49-F238E27FC236}">
                  <a16:creationId xmlns:a16="http://schemas.microsoft.com/office/drawing/2014/main" id="{F02225A9-9966-E870-CA5A-996BBCBEF8D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768325" y="516268"/>
              <a:ext cx="769403" cy="2649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22090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92034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IDEO_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63749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UTRO_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grpSp>
        <p:nvGrpSpPr>
          <p:cNvPr id="7" name="Grupa 3">
            <a:extLst>
              <a:ext uri="{FF2B5EF4-FFF2-40B4-BE49-F238E27FC236}">
                <a16:creationId xmlns:a16="http://schemas.microsoft.com/office/drawing/2014/main" id="{4D3C6D76-F220-3E4E-BE70-98BE06DCF5AA}"/>
              </a:ext>
            </a:extLst>
          </p:cNvPr>
          <p:cNvGrpSpPr/>
          <p:nvPr userDrawn="1"/>
        </p:nvGrpSpPr>
        <p:grpSpPr>
          <a:xfrm>
            <a:off x="3728907" y="2775632"/>
            <a:ext cx="4591184" cy="1501338"/>
            <a:chOff x="721666" y="638286"/>
            <a:chExt cx="1909130" cy="624294"/>
          </a:xfrm>
        </p:grpSpPr>
        <p:pic>
          <p:nvPicPr>
            <p:cNvPr id="8" name="Obraz 6" descr="Obraz zawierający zegar, rysunek, znak&#10;&#10;Opis wygenerowany automatycznie">
              <a:extLst>
                <a:ext uri="{FF2B5EF4-FFF2-40B4-BE49-F238E27FC236}">
                  <a16:creationId xmlns:a16="http://schemas.microsoft.com/office/drawing/2014/main" id="{3BE30908-2A4E-444D-92D7-F0DE4DC7747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1666" y="638286"/>
              <a:ext cx="1139727" cy="624294"/>
            </a:xfrm>
            <a:prstGeom prst="rect">
              <a:avLst/>
            </a:prstGeom>
          </p:spPr>
        </p:pic>
        <p:pic>
          <p:nvPicPr>
            <p:cNvPr id="9" name="Grafika 8">
              <a:extLst>
                <a:ext uri="{FF2B5EF4-FFF2-40B4-BE49-F238E27FC236}">
                  <a16:creationId xmlns:a16="http://schemas.microsoft.com/office/drawing/2014/main" id="{978CE089-6718-494D-B797-1AACE7F1A8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861393" y="798876"/>
              <a:ext cx="769403" cy="2649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611619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_column_text_and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E5A33A5-C501-854D-8332-AB6B555464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50350" y="0"/>
            <a:ext cx="3041650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E921302-7DE3-BD41-8B22-8AC8ECE8B1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6359" y="2840349"/>
            <a:ext cx="7770561" cy="317944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sp>
        <p:nvSpPr>
          <p:cNvPr id="28" name="Tytuł 1">
            <a:extLst>
              <a:ext uri="{FF2B5EF4-FFF2-40B4-BE49-F238E27FC236}">
                <a16:creationId xmlns:a16="http://schemas.microsoft.com/office/drawing/2014/main" id="{1DF88112-C106-6D44-87FF-A650FE327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862546"/>
            <a:ext cx="7770559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A04151-C436-4A41-A014-CB3407F0CC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920598"/>
            <a:ext cx="7770559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AA1D4B21-02EC-484F-93D1-352AD0ADF2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995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34962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odtytuł 2">
            <a:extLst>
              <a:ext uri="{FF2B5EF4-FFF2-40B4-BE49-F238E27FC236}">
                <a16:creationId xmlns:a16="http://schemas.microsoft.com/office/drawing/2014/main" id="{79EEAF39-E7D1-914B-88A8-7FB94096E83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8048" y="3602038"/>
            <a:ext cx="10107562" cy="1655762"/>
          </a:xfrm>
        </p:spPr>
        <p:txBody>
          <a:bodyPr/>
          <a:lstStyle>
            <a:lvl1pPr marL="0" indent="0" algn="l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err="1"/>
              <a:t>This</a:t>
            </a:r>
            <a:r>
              <a:rPr lang="pl-PL"/>
              <a:t> </a:t>
            </a:r>
            <a:r>
              <a:rPr lang="pl-PL" err="1"/>
              <a:t>is</a:t>
            </a:r>
            <a:r>
              <a:rPr lang="pl-PL"/>
              <a:t> </a:t>
            </a:r>
            <a:r>
              <a:rPr lang="pl-PL" err="1"/>
              <a:t>template</a:t>
            </a:r>
            <a:r>
              <a:rPr lang="pl-PL"/>
              <a:t> of Presentation. </a:t>
            </a:r>
            <a:r>
              <a:rPr lang="pl-PL" err="1"/>
              <a:t>Let’s</a:t>
            </a:r>
            <a:r>
              <a:rPr lang="pl-PL"/>
              <a:t> </a:t>
            </a:r>
            <a:r>
              <a:rPr lang="pl-PL" err="1"/>
              <a:t>Create</a:t>
            </a:r>
            <a:r>
              <a:rPr lang="pl-PL"/>
              <a:t>!</a:t>
            </a:r>
          </a:p>
        </p:txBody>
      </p:sp>
      <p:sp>
        <p:nvSpPr>
          <p:cNvPr id="14" name="Tytuł 1">
            <a:extLst>
              <a:ext uri="{FF2B5EF4-FFF2-40B4-BE49-F238E27FC236}">
                <a16:creationId xmlns:a16="http://schemas.microsoft.com/office/drawing/2014/main" id="{96148336-9628-9245-9708-3F0C8DFF3E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8048" y="1332689"/>
            <a:ext cx="10447652" cy="2177274"/>
          </a:xfrm>
        </p:spPr>
        <p:txBody>
          <a:bodyPr anchor="b">
            <a:normAutofit/>
          </a:bodyPr>
          <a:lstStyle>
            <a:lvl1pPr algn="l">
              <a:defRPr sz="5500" b="1" spc="-150">
                <a:solidFill>
                  <a:schemeClr val="bg1"/>
                </a:solidFill>
              </a:defRPr>
            </a:lvl1pPr>
          </a:lstStyle>
          <a:p>
            <a:r>
              <a:rPr lang="pl-PL"/>
              <a:t>Hello World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91FB4A8-DA88-1540-9DB5-7DB2123BBE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8047" y="5788505"/>
            <a:ext cx="5396457" cy="4875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eneva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day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6 </a:t>
            </a: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une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020</a:t>
            </a:r>
          </a:p>
        </p:txBody>
      </p:sp>
      <p:grpSp>
        <p:nvGrpSpPr>
          <p:cNvPr id="6" name="Grupa 3">
            <a:extLst>
              <a:ext uri="{FF2B5EF4-FFF2-40B4-BE49-F238E27FC236}">
                <a16:creationId xmlns:a16="http://schemas.microsoft.com/office/drawing/2014/main" id="{ACD4CD08-ED0A-C84D-9CD6-16FCA01C1310}"/>
              </a:ext>
            </a:extLst>
          </p:cNvPr>
          <p:cNvGrpSpPr/>
          <p:nvPr userDrawn="1"/>
        </p:nvGrpSpPr>
        <p:grpSpPr>
          <a:xfrm>
            <a:off x="558987" y="334537"/>
            <a:ext cx="3137299" cy="1025911"/>
            <a:chOff x="721666" y="638286"/>
            <a:chExt cx="1909130" cy="624294"/>
          </a:xfrm>
        </p:grpSpPr>
        <p:pic>
          <p:nvPicPr>
            <p:cNvPr id="7" name="Obraz 6" descr="Obraz zawierający zegar, rysunek, znak&#10;&#10;Opis wygenerowany automatycznie">
              <a:extLst>
                <a:ext uri="{FF2B5EF4-FFF2-40B4-BE49-F238E27FC236}">
                  <a16:creationId xmlns:a16="http://schemas.microsoft.com/office/drawing/2014/main" id="{9ECF481A-EF47-0C48-9DEA-D53219ED2BA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1666" y="638286"/>
              <a:ext cx="1139727" cy="624294"/>
            </a:xfrm>
            <a:prstGeom prst="rect">
              <a:avLst/>
            </a:prstGeom>
          </p:spPr>
        </p:pic>
        <p:pic>
          <p:nvPicPr>
            <p:cNvPr id="8" name="Grafika 8">
              <a:extLst>
                <a:ext uri="{FF2B5EF4-FFF2-40B4-BE49-F238E27FC236}">
                  <a16:creationId xmlns:a16="http://schemas.microsoft.com/office/drawing/2014/main" id="{B2C9E2D4-3A4D-AF4A-A57C-3B54D1313B6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861393" y="798876"/>
              <a:ext cx="769403" cy="2649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66516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7" name="Tytuł 1">
            <a:extLst>
              <a:ext uri="{FF2B5EF4-FFF2-40B4-BE49-F238E27FC236}">
                <a16:creationId xmlns:a16="http://schemas.microsoft.com/office/drawing/2014/main" id="{929E80EC-ABB5-FC47-BF91-33C7057C3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2220840-5540-F14A-BC1E-444C1BD005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253927"/>
            <a:ext cx="8806338" cy="679767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BE213F-335F-374B-8577-A74A6B6B78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651982"/>
            <a:ext cx="12192000" cy="2730211"/>
          </a:xfrm>
          <a:prstGeom prst="rect">
            <a:avLst/>
          </a:prstGeom>
        </p:spPr>
      </p:pic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901FBC4E-6063-FC45-8F8D-AB80DEB785C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541569" y="1769149"/>
            <a:ext cx="2824828" cy="283242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>
            <a:outerShdw dist="127000" dir="2400000" sx="101000" sy="101000" algn="tl" rotWithShape="0">
              <a:schemeClr val="tx1"/>
            </a:outerShdw>
          </a:effectLst>
        </p:spPr>
        <p:txBody>
          <a:bodyPr lIns="0" rIns="0" anchor="ctr">
            <a:normAutofit/>
          </a:bodyPr>
          <a:lstStyle>
            <a:lvl1pPr marL="17100" indent="0" algn="ctr">
              <a:buNone/>
              <a:defRPr sz="800"/>
            </a:lvl1pPr>
          </a:lstStyle>
          <a:p>
            <a:endParaRPr lang="en-US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1DF16560-BC8E-A145-BF9B-B40A5F68F3A8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097867" y="3665790"/>
            <a:ext cx="903780" cy="906210"/>
          </a:xfrm>
          <a:prstGeom prst="ellipse">
            <a:avLst/>
          </a:prstGeom>
          <a:solidFill>
            <a:schemeClr val="bg1"/>
          </a:solidFill>
          <a:effectLst>
            <a:outerShdw blurRad="179075" dist="38100" dir="2700000" algn="tl" rotWithShape="0">
              <a:prstClr val="black">
                <a:alpha val="25000"/>
              </a:prstClr>
            </a:outerShdw>
          </a:effectLst>
        </p:spPr>
        <p:txBody>
          <a:bodyPr lIns="0" rIns="0" anchor="ctr">
            <a:normAutofit/>
          </a:bodyPr>
          <a:lstStyle>
            <a:lvl1pPr marL="17100" indent="0" algn="ctr">
              <a:buNone/>
              <a:defRPr sz="800"/>
            </a:lvl1pPr>
          </a:lstStyle>
          <a:p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502F427-20CA-814F-AD64-D4106772D34A}"/>
              </a:ext>
            </a:extLst>
          </p:cNvPr>
          <p:cNvGrpSpPr/>
          <p:nvPr userDrawn="1"/>
        </p:nvGrpSpPr>
        <p:grpSpPr>
          <a:xfrm>
            <a:off x="9613647" y="311734"/>
            <a:ext cx="1924081" cy="674051"/>
            <a:chOff x="9613647" y="311734"/>
            <a:chExt cx="1924081" cy="674051"/>
          </a:xfrm>
        </p:grpSpPr>
        <p:pic>
          <p:nvPicPr>
            <p:cNvPr id="12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5C313D6C-1DC4-1647-9682-FD6B364AC0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647" y="311734"/>
              <a:ext cx="1230566" cy="674051"/>
            </a:xfrm>
            <a:prstGeom prst="rect">
              <a:avLst/>
            </a:prstGeom>
          </p:spPr>
        </p:pic>
        <p:pic>
          <p:nvPicPr>
            <p:cNvPr id="13" name="Grafika 11">
              <a:extLst>
                <a:ext uri="{FF2B5EF4-FFF2-40B4-BE49-F238E27FC236}">
                  <a16:creationId xmlns:a16="http://schemas.microsoft.com/office/drawing/2014/main" id="{9303ECB0-A893-A64B-A48F-43967DDFB7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768325" y="516268"/>
              <a:ext cx="769403" cy="2649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4010993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O_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pic>
        <p:nvPicPr>
          <p:cNvPr id="2" name="Obraz 1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D0710F1B-4FF1-4EA4-89F7-ECFC74939E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7552" y="333794"/>
            <a:ext cx="1139727" cy="624294"/>
          </a:xfrm>
          <a:prstGeom prst="rect">
            <a:avLst/>
          </a:prstGeom>
        </p:spPr>
      </p:pic>
      <p:sp>
        <p:nvSpPr>
          <p:cNvPr id="4" name="Tytuł 1">
            <a:extLst>
              <a:ext uri="{FF2B5EF4-FFF2-40B4-BE49-F238E27FC236}">
                <a16:creationId xmlns:a16="http://schemas.microsoft.com/office/drawing/2014/main" id="{84E3662E-028D-2B46-A24D-9D675B2C07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1D11E547-AE72-0D40-8BDD-2839E49D6FF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253927"/>
            <a:ext cx="8806338" cy="679767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702414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ec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3FAEAC0-0E6D-444A-95B5-0A3C93C47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9434" y="2970926"/>
            <a:ext cx="6697683" cy="1724480"/>
          </a:xfrm>
        </p:spPr>
        <p:txBody>
          <a:bodyPr anchor="t">
            <a:normAutofit/>
          </a:bodyPr>
          <a:lstStyle>
            <a:lvl1pPr>
              <a:defRPr sz="5500" b="1">
                <a:solidFill>
                  <a:schemeClr val="bg1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3072B88E-60B1-4951-ACB4-62501281AA6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149434" y="5018314"/>
            <a:ext cx="9198015" cy="996592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err="1"/>
              <a:t>Sub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7" name="Symbol zastępczy numeru slajdu 5">
            <a:extLst>
              <a:ext uri="{FF2B5EF4-FFF2-40B4-BE49-F238E27FC236}">
                <a16:creationId xmlns:a16="http://schemas.microsoft.com/office/drawing/2014/main" id="{2BFFDC2F-69F9-4006-A2A6-11998BCE2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C37AD4BE-6D4A-446E-9235-69971E43B1B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74713" y="2970926"/>
            <a:ext cx="1274721" cy="852930"/>
          </a:xfrm>
        </p:spPr>
        <p:txBody>
          <a:bodyPr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55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1.</a:t>
            </a:r>
          </a:p>
        </p:txBody>
      </p:sp>
      <p:pic>
        <p:nvPicPr>
          <p:cNvPr id="4" name="Obraz 3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184D79CA-607E-444B-93DC-91C7C53957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284" y="344389"/>
            <a:ext cx="1820897" cy="997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273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BAE40"/>
          </p15:clr>
        </p15:guide>
        <p15:guide id="2" pos="7129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ec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3FAEAC0-0E6D-444A-95B5-0A3C93C47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9434" y="2970926"/>
            <a:ext cx="6697683" cy="1724480"/>
          </a:xfrm>
        </p:spPr>
        <p:txBody>
          <a:bodyPr anchor="t">
            <a:normAutofit/>
          </a:bodyPr>
          <a:lstStyle>
            <a:lvl1pPr>
              <a:defRPr sz="5500" b="1">
                <a:solidFill>
                  <a:schemeClr val="bg1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3072B88E-60B1-4951-ACB4-62501281AA6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149434" y="5018314"/>
            <a:ext cx="9198015" cy="996592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err="1"/>
              <a:t>Sub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7" name="Symbol zastępczy numeru slajdu 5">
            <a:extLst>
              <a:ext uri="{FF2B5EF4-FFF2-40B4-BE49-F238E27FC236}">
                <a16:creationId xmlns:a16="http://schemas.microsoft.com/office/drawing/2014/main" id="{2BFFDC2F-69F9-4006-A2A6-11998BCE2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C37AD4BE-6D4A-446E-9235-69971E43B1B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74713" y="2970926"/>
            <a:ext cx="1274721" cy="852930"/>
          </a:xfrm>
        </p:spPr>
        <p:txBody>
          <a:bodyPr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55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1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C190FFA-0216-90FA-6647-2FF796D4F78D}"/>
              </a:ext>
            </a:extLst>
          </p:cNvPr>
          <p:cNvGrpSpPr/>
          <p:nvPr userDrawn="1"/>
        </p:nvGrpSpPr>
        <p:grpSpPr>
          <a:xfrm>
            <a:off x="558987" y="334537"/>
            <a:ext cx="3137300" cy="1025911"/>
            <a:chOff x="558987" y="334537"/>
            <a:chExt cx="3137300" cy="1025911"/>
          </a:xfrm>
        </p:grpSpPr>
        <p:pic>
          <p:nvPicPr>
            <p:cNvPr id="6" name="Obraz 6" descr="Obraz zawierający zegar, rysunek, znak&#10;&#10;Opis wygenerowany automatycznie">
              <a:extLst>
                <a:ext uri="{FF2B5EF4-FFF2-40B4-BE49-F238E27FC236}">
                  <a16:creationId xmlns:a16="http://schemas.microsoft.com/office/drawing/2014/main" id="{A1E900DC-0041-305D-9436-1D43CCA003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8987" y="334537"/>
              <a:ext cx="1872929" cy="1025911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7305713-B9CD-9C76-DFD2-A404874B95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951" t="31825" r="4655" b="27130"/>
            <a:stretch/>
          </p:blipFill>
          <p:spPr>
            <a:xfrm>
              <a:off x="2431917" y="568005"/>
              <a:ext cx="1264370" cy="4622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1245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BAE40"/>
          </p15:clr>
        </p15:guide>
        <p15:guide id="2" pos="712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ec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3FAEAC0-0E6D-444A-95B5-0A3C93C47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9434" y="2970926"/>
            <a:ext cx="6697683" cy="1724480"/>
          </a:xfrm>
        </p:spPr>
        <p:txBody>
          <a:bodyPr anchor="t">
            <a:normAutofit/>
          </a:bodyPr>
          <a:lstStyle>
            <a:lvl1pPr>
              <a:defRPr sz="5500" b="1">
                <a:solidFill>
                  <a:schemeClr val="bg1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3072B88E-60B1-4951-ACB4-62501281AA6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149434" y="5018314"/>
            <a:ext cx="9198015" cy="996592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err="1"/>
              <a:t>Sub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7" name="Symbol zastępczy numeru slajdu 5">
            <a:extLst>
              <a:ext uri="{FF2B5EF4-FFF2-40B4-BE49-F238E27FC236}">
                <a16:creationId xmlns:a16="http://schemas.microsoft.com/office/drawing/2014/main" id="{2BFFDC2F-69F9-4006-A2A6-11998BCE2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C37AD4BE-6D4A-446E-9235-69971E43B1B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74713" y="2970926"/>
            <a:ext cx="1274721" cy="852930"/>
          </a:xfrm>
        </p:spPr>
        <p:txBody>
          <a:bodyPr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55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1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6F7B1A7-FBAC-0BDA-650A-8264F6EBB9B6}"/>
              </a:ext>
            </a:extLst>
          </p:cNvPr>
          <p:cNvGrpSpPr/>
          <p:nvPr userDrawn="1"/>
        </p:nvGrpSpPr>
        <p:grpSpPr>
          <a:xfrm>
            <a:off x="545858" y="481975"/>
            <a:ext cx="1932429" cy="629463"/>
            <a:chOff x="558987" y="334537"/>
            <a:chExt cx="3149515" cy="1025911"/>
          </a:xfrm>
        </p:grpSpPr>
        <p:pic>
          <p:nvPicPr>
            <p:cNvPr id="6" name="Obraz 6" descr="Obraz zawierający zegar, rysunek, znak&#10;&#10;Opis wygenerowany automatycznie">
              <a:extLst>
                <a:ext uri="{FF2B5EF4-FFF2-40B4-BE49-F238E27FC236}">
                  <a16:creationId xmlns:a16="http://schemas.microsoft.com/office/drawing/2014/main" id="{A901D59D-0C35-C896-F989-66F3A645B2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8987" y="334537"/>
              <a:ext cx="1872929" cy="1025911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8A7FBF6-176B-E663-055D-3139D0FB8F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951" t="31825" r="4655" b="27130"/>
            <a:stretch/>
          </p:blipFill>
          <p:spPr>
            <a:xfrm>
              <a:off x="2407485" y="566822"/>
              <a:ext cx="1301017" cy="4756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55463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BAE40"/>
          </p15:clr>
        </p15:guide>
        <p15:guide id="2" pos="71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Map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5" name="Tytuł 1">
            <a:extLst>
              <a:ext uri="{FF2B5EF4-FFF2-40B4-BE49-F238E27FC236}">
                <a16:creationId xmlns:a16="http://schemas.microsoft.com/office/drawing/2014/main" id="{734E2013-0338-7F3B-ACE7-4ED8BF7F93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47588AD-7F96-7036-53E2-88E70E106A16}"/>
              </a:ext>
            </a:extLst>
          </p:cNvPr>
          <p:cNvGrpSpPr/>
          <p:nvPr userDrawn="1"/>
        </p:nvGrpSpPr>
        <p:grpSpPr>
          <a:xfrm>
            <a:off x="9613647" y="311734"/>
            <a:ext cx="1948392" cy="674051"/>
            <a:chOff x="9613647" y="311734"/>
            <a:chExt cx="1948392" cy="674051"/>
          </a:xfrm>
        </p:grpSpPr>
        <p:pic>
          <p:nvPicPr>
            <p:cNvPr id="4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F151420E-BF6B-3E08-F5EF-8D91F312A6D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647" y="311734"/>
              <a:ext cx="1230566" cy="674051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BF40041-733D-ED63-4BAB-74D41C23D99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827" t="30157" r="4529" b="27153"/>
            <a:stretch/>
          </p:blipFill>
          <p:spPr>
            <a:xfrm>
              <a:off x="10760830" y="477407"/>
              <a:ext cx="801209" cy="3038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36077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Map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5" name="Tytuł 1">
            <a:extLst>
              <a:ext uri="{FF2B5EF4-FFF2-40B4-BE49-F238E27FC236}">
                <a16:creationId xmlns:a16="http://schemas.microsoft.com/office/drawing/2014/main" id="{734E2013-0338-7F3B-ACE7-4ED8BF7F93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9CC35F2-563A-9B64-E341-E9F98970DD44}"/>
              </a:ext>
            </a:extLst>
          </p:cNvPr>
          <p:cNvGrpSpPr/>
          <p:nvPr userDrawn="1"/>
        </p:nvGrpSpPr>
        <p:grpSpPr>
          <a:xfrm>
            <a:off x="9613647" y="311734"/>
            <a:ext cx="1948392" cy="674051"/>
            <a:chOff x="9613647" y="311734"/>
            <a:chExt cx="1948392" cy="674051"/>
          </a:xfrm>
        </p:grpSpPr>
        <p:pic>
          <p:nvPicPr>
            <p:cNvPr id="4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0E2FB071-3461-7FD1-54F8-076A24D9A3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647" y="311734"/>
              <a:ext cx="1230566" cy="674051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105B10B-585E-DAED-A8E0-05580E47290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827" t="30157" r="4529" b="27153"/>
            <a:stretch/>
          </p:blipFill>
          <p:spPr>
            <a:xfrm>
              <a:off x="10760830" y="477407"/>
              <a:ext cx="801209" cy="3038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8512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Map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AC34C07-0340-29B4-F888-AC4291E85BEE}"/>
              </a:ext>
            </a:extLst>
          </p:cNvPr>
          <p:cNvGrpSpPr/>
          <p:nvPr userDrawn="1"/>
        </p:nvGrpSpPr>
        <p:grpSpPr>
          <a:xfrm>
            <a:off x="9613647" y="311734"/>
            <a:ext cx="1948392" cy="674051"/>
            <a:chOff x="9613647" y="311734"/>
            <a:chExt cx="1948392" cy="674051"/>
          </a:xfrm>
        </p:grpSpPr>
        <p:pic>
          <p:nvPicPr>
            <p:cNvPr id="4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AA6F8F45-381E-079B-C33A-05BEA323977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647" y="311734"/>
              <a:ext cx="1230566" cy="674051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9296582-462F-2D19-65B0-378991815A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827" t="30157" r="4529" b="27153"/>
            <a:stretch/>
          </p:blipFill>
          <p:spPr>
            <a:xfrm>
              <a:off x="10760830" y="477407"/>
              <a:ext cx="801209" cy="3038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6588758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Map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619E9F3A-9366-DE75-7B06-15511A9F6301}"/>
              </a:ext>
            </a:extLst>
          </p:cNvPr>
          <p:cNvGrpSpPr/>
          <p:nvPr userDrawn="1"/>
        </p:nvGrpSpPr>
        <p:grpSpPr>
          <a:xfrm>
            <a:off x="9613647" y="311734"/>
            <a:ext cx="1948392" cy="674051"/>
            <a:chOff x="9613647" y="311734"/>
            <a:chExt cx="1948392" cy="674051"/>
          </a:xfrm>
        </p:grpSpPr>
        <p:pic>
          <p:nvPicPr>
            <p:cNvPr id="8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3E8C8131-1890-6241-4460-7EC4C76A73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647" y="311734"/>
              <a:ext cx="1230566" cy="674051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468B7EA-A2DC-B02D-F192-D2A6E3DD10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827" t="30157" r="4529" b="27153"/>
            <a:stretch/>
          </p:blipFill>
          <p:spPr>
            <a:xfrm>
              <a:off x="10760830" y="477407"/>
              <a:ext cx="801209" cy="3038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13549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_colum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EB70E64-4362-AA4D-BF7F-5F8D00AB9F6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50350" y="0"/>
            <a:ext cx="3041650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0798991-C02A-DB44-844E-8D4A26B467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6359" y="1280598"/>
            <a:ext cx="7770561" cy="47392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err="1"/>
              <a:t>Proin</a:t>
            </a:r>
            <a:r>
              <a:rPr lang="pl-PL"/>
              <a:t> vitae </a:t>
            </a:r>
            <a:r>
              <a:rPr lang="pl-PL" err="1"/>
              <a:t>odio</a:t>
            </a:r>
            <a:r>
              <a:rPr lang="pl-PL"/>
              <a:t>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auctor</a:t>
            </a:r>
            <a:r>
              <a:rPr lang="pl-PL"/>
              <a:t> </a:t>
            </a:r>
            <a:r>
              <a:rPr lang="pl-PL" err="1"/>
              <a:t>faucibus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FEAF2F6B-F8FB-4040-8850-B1DAFE9236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7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50777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7" name="Tytuł 1">
            <a:extLst>
              <a:ext uri="{FF2B5EF4-FFF2-40B4-BE49-F238E27FC236}">
                <a16:creationId xmlns:a16="http://schemas.microsoft.com/office/drawing/2014/main" id="{929E80EC-ABB5-FC47-BF91-33C7057C3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61" y="990375"/>
            <a:ext cx="8806338" cy="43780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pl-PL" sz="16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2220840-5540-F14A-BC1E-444C1BD005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253927"/>
            <a:ext cx="8806338" cy="679767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4F8473C-7FB1-0198-1905-003F167EBC53}"/>
              </a:ext>
            </a:extLst>
          </p:cNvPr>
          <p:cNvGrpSpPr/>
          <p:nvPr userDrawn="1"/>
        </p:nvGrpSpPr>
        <p:grpSpPr>
          <a:xfrm>
            <a:off x="9613647" y="311734"/>
            <a:ext cx="1948392" cy="674051"/>
            <a:chOff x="9613647" y="311734"/>
            <a:chExt cx="1948392" cy="674051"/>
          </a:xfrm>
        </p:grpSpPr>
        <p:pic>
          <p:nvPicPr>
            <p:cNvPr id="4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4CE2EC38-FBC0-F9A0-A97E-E1924E1588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647" y="311734"/>
              <a:ext cx="1230566" cy="674051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ED69742-05EF-1B51-CDDB-1BCFEDAD38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827" t="30157" r="4529" b="27153"/>
            <a:stretch/>
          </p:blipFill>
          <p:spPr>
            <a:xfrm>
              <a:off x="10760830" y="477407"/>
              <a:ext cx="801209" cy="3038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8362039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Cov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8259" y="2353397"/>
            <a:ext cx="10815484" cy="49244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ctr">
              <a:lnSpc>
                <a:spcPts val="4000"/>
              </a:lnSpc>
              <a:defRPr sz="3733" b="1" kern="100" cap="all" spc="0" baseline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over title her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99305" y="2937151"/>
            <a:ext cx="8593393" cy="350565"/>
          </a:xfrm>
          <a:prstGeom prst="rect">
            <a:avLst/>
          </a:prstGeom>
        </p:spPr>
        <p:txBody>
          <a:bodyPr lIns="0" tIns="46800">
            <a:noAutofit/>
          </a:bodyPr>
          <a:lstStyle>
            <a:lvl1pPr marL="0" indent="0" algn="ctr">
              <a:lnSpc>
                <a:spcPts val="1867"/>
              </a:lnSpc>
              <a:spcBef>
                <a:spcPts val="512"/>
              </a:spcBef>
              <a:buNone/>
              <a:defRPr sz="1867" kern="100" spc="0" baseline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/>
              <a:t>Cover </a:t>
            </a:r>
            <a:r>
              <a:rPr lang="de-CH" err="1"/>
              <a:t>subtitl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0727804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605954" y="6323528"/>
            <a:ext cx="2844799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40287" y="6319204"/>
            <a:ext cx="7058116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58302" y="6323528"/>
            <a:ext cx="1052511" cy="365125"/>
          </a:xfrm>
          <a:prstGeom prst="rect">
            <a:avLst/>
          </a:prstGeo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sp>
        <p:nvSpPr>
          <p:cNvPr id="9" name="Rectangle 8"/>
          <p:cNvSpPr>
            <a:spLocks noChangeAspect="1"/>
          </p:cNvSpPr>
          <p:nvPr userDrawn="1"/>
        </p:nvSpPr>
        <p:spPr>
          <a:xfrm>
            <a:off x="440285" y="614407"/>
            <a:ext cx="11309339" cy="57576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49521" y="658283"/>
            <a:ext cx="11029616" cy="4880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635234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lank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5230FE2-D742-4018-AED8-AF7A4202A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402" y="1036800"/>
            <a:ext cx="8638381" cy="326400"/>
          </a:xfrm>
          <a:prstGeom prst="rect">
            <a:avLst/>
          </a:prstGeom>
        </p:spPr>
        <p:txBody>
          <a:bodyPr lIns="0" anchor="ctr"/>
          <a:lstStyle>
            <a:lvl1pPr algn="l">
              <a:defRPr sz="2131" kern="100" cap="none" spc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70C2B82A-2422-44FE-95CB-295D86EC1B08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494402" y="427200"/>
            <a:ext cx="8638381" cy="60960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lnSpc>
                <a:spcPts val="2399"/>
              </a:lnSpc>
              <a:spcBef>
                <a:spcPts val="0"/>
              </a:spcBef>
              <a:buNone/>
              <a:defRPr sz="2399" b="1" kern="100" cap="all" spc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itle </a:t>
            </a:r>
            <a:r>
              <a:rPr lang="en-US" err="1"/>
              <a:t>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15031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605954" y="6323528"/>
            <a:ext cx="2844799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40287" y="6319204"/>
            <a:ext cx="7058116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558302" y="6323528"/>
            <a:ext cx="1052511" cy="365125"/>
          </a:xfrm>
          <a:prstGeom prst="rect">
            <a:avLst/>
          </a:prstGeo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sp>
        <p:nvSpPr>
          <p:cNvPr id="9" name="Rectangle 8"/>
          <p:cNvSpPr>
            <a:spLocks noChangeAspect="1"/>
          </p:cNvSpPr>
          <p:nvPr userDrawn="1"/>
        </p:nvSpPr>
        <p:spPr>
          <a:xfrm>
            <a:off x="440285" y="614407"/>
            <a:ext cx="11309339" cy="57576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15572290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2765AC4-6A20-4DDB-8E0A-7B4BE5096C4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2875" y="2249616"/>
            <a:ext cx="10900156" cy="492443"/>
          </a:xfrm>
          <a:prstGeom prst="rect">
            <a:avLst/>
          </a:prstGeom>
        </p:spPr>
        <p:txBody>
          <a:bodyPr lIns="0" bIns="0" anchor="b">
            <a:noAutofit/>
          </a:bodyPr>
          <a:lstStyle>
            <a:lvl1pPr algn="l">
              <a:lnSpc>
                <a:spcPts val="3200"/>
              </a:lnSpc>
              <a:defRPr sz="3733" b="1" kern="100" cap="all" spc="0" baseline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CH"/>
              <a:t>D</a:t>
            </a:r>
            <a:r>
              <a:rPr lang="en-US" err="1"/>
              <a:t>ivider</a:t>
            </a:r>
            <a:r>
              <a:rPr lang="en-US"/>
              <a:t> tit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93A102C-5A11-413C-98B3-E9C3090767F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1241" y="2831676"/>
            <a:ext cx="10900156" cy="348845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spcBef>
                <a:spcPts val="512"/>
              </a:spcBef>
              <a:buNone/>
              <a:defRPr sz="1867" kern="100" spc="0" baseline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err="1"/>
              <a:t>Divider</a:t>
            </a:r>
            <a:r>
              <a:rPr lang="de-CH"/>
              <a:t> </a:t>
            </a:r>
            <a:r>
              <a:rPr lang="de-CH" err="1"/>
              <a:t>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541759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UTRO_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5B0B313-F148-4048-BB57-2B44387F11E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8928" y="3115159"/>
            <a:ext cx="2174763" cy="945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35344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C0B482C-0237-2740-B4BE-16951D83A5D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4126" y="0"/>
            <a:ext cx="12196126" cy="6858000"/>
          </a:xfrm>
          <a:prstGeom prst="rect">
            <a:avLst/>
          </a:prstGeom>
          <a:blipFill dpi="0" rotWithShape="1">
            <a:blip r:embed="rId3">
              <a:alphaModFix amt="20000"/>
            </a:blip>
            <a:srcRect/>
            <a:stretch>
              <a:fillRect/>
            </a:stretch>
          </a:blipFill>
          <a:effectLst>
            <a:outerShdw sx="1000" sy="1000" algn="ctr" rotWithShape="0">
              <a:srgbClr val="000000"/>
            </a:outerShdw>
          </a:effectLst>
        </p:spPr>
        <p:txBody>
          <a:bodyPr>
            <a:noAutofit/>
          </a:bodyPr>
          <a:lstStyle/>
          <a:p>
            <a:endParaRPr lang="en-VN"/>
          </a:p>
        </p:txBody>
      </p:sp>
      <p:sp>
        <p:nvSpPr>
          <p:cNvPr id="12" name="Tytuł 1">
            <a:extLst>
              <a:ext uri="{FF2B5EF4-FFF2-40B4-BE49-F238E27FC236}">
                <a16:creationId xmlns:a16="http://schemas.microsoft.com/office/drawing/2014/main" id="{F4EAC152-F372-4816-A602-00DBD66C95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8048" y="1332689"/>
            <a:ext cx="10447652" cy="2177274"/>
          </a:xfrm>
        </p:spPr>
        <p:txBody>
          <a:bodyPr anchor="b">
            <a:normAutofit/>
          </a:bodyPr>
          <a:lstStyle>
            <a:lvl1pPr algn="l">
              <a:defRPr sz="5500" b="1" spc="-150">
                <a:solidFill>
                  <a:schemeClr val="bg1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the Presentation</a:t>
            </a:r>
          </a:p>
        </p:txBody>
      </p:sp>
      <p:sp>
        <p:nvSpPr>
          <p:cNvPr id="13" name="Podtytuł 2">
            <a:extLst>
              <a:ext uri="{FF2B5EF4-FFF2-40B4-BE49-F238E27FC236}">
                <a16:creationId xmlns:a16="http://schemas.microsoft.com/office/drawing/2014/main" id="{EDB4A035-E21E-4EC5-9789-42558FE880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8048" y="3602038"/>
            <a:ext cx="10107562" cy="1655762"/>
          </a:xfrm>
        </p:spPr>
        <p:txBody>
          <a:bodyPr/>
          <a:lstStyle>
            <a:lvl1pPr marL="0" indent="0" algn="l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err="1"/>
              <a:t>Subtitle</a:t>
            </a:r>
            <a:r>
              <a:rPr lang="pl-PL"/>
              <a:t> and a </a:t>
            </a:r>
            <a:r>
              <a:rPr lang="pl-PL" err="1"/>
              <a:t>short</a:t>
            </a:r>
            <a:r>
              <a:rPr lang="pl-PL"/>
              <a:t> </a:t>
            </a:r>
            <a:r>
              <a:rPr lang="pl-PL" err="1"/>
              <a:t>description</a:t>
            </a:r>
            <a:r>
              <a:rPr lang="pl-PL"/>
              <a:t> </a:t>
            </a:r>
            <a:r>
              <a:rPr lang="pl-PL" err="1"/>
              <a:t>if</a:t>
            </a:r>
            <a:r>
              <a:rPr lang="pl-PL"/>
              <a:t> </a:t>
            </a:r>
            <a:r>
              <a:rPr lang="pl-PL" err="1"/>
              <a:t>needed</a:t>
            </a:r>
            <a:endParaRPr lang="pl-PL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63D02DFB-AAE1-FA46-B2A4-ECE431BBD610}"/>
              </a:ext>
            </a:extLst>
          </p:cNvPr>
          <p:cNvSpPr txBox="1">
            <a:spLocks/>
          </p:cNvSpPr>
          <p:nvPr userDrawn="1"/>
        </p:nvSpPr>
        <p:spPr>
          <a:xfrm>
            <a:off x="4038600" y="560594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l-PL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20E0931-98D8-5D4C-9576-F225FB07B7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8047" y="5788505"/>
            <a:ext cx="5396457" cy="4875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eneva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</a:t>
            </a: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riday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6 </a:t>
            </a:r>
            <a:r>
              <a:rPr kumimoji="0" lang="pl-PL" sz="2400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une</a:t>
            </a:r>
            <a:r>
              <a:rPr kumimoji="0" lang="pl-PL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020</a:t>
            </a:r>
          </a:p>
        </p:txBody>
      </p:sp>
      <p:pic>
        <p:nvPicPr>
          <p:cNvPr id="4" name="Obraz 3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2953E1F1-44AD-4567-9B59-548AD9BBE1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347" y="335280"/>
            <a:ext cx="1820897" cy="997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170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51">
          <p15:clr>
            <a:srgbClr val="FBAE40"/>
          </p15:clr>
        </p15:guide>
        <p15:guide id="3" pos="7129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1DD86EA-EA42-44C7-8A4A-0066D92A8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578" y="1759729"/>
            <a:ext cx="6465218" cy="1032526"/>
          </a:xfrm>
        </p:spPr>
        <p:txBody>
          <a:bodyPr anchor="b">
            <a:noAutofit/>
          </a:bodyPr>
          <a:lstStyle>
            <a:lvl1pPr>
              <a:defRPr sz="5500" b="1">
                <a:solidFill>
                  <a:schemeClr val="tx1"/>
                </a:solidFill>
              </a:defRPr>
            </a:lvl1pPr>
          </a:lstStyle>
          <a:p>
            <a:r>
              <a:rPr lang="pl-PL"/>
              <a:t>Agenda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DAA3A8F5-9D41-4044-A68D-5DA4A767332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3578" y="3137245"/>
            <a:ext cx="6465219" cy="2877661"/>
          </a:xfrm>
        </p:spPr>
        <p:txBody>
          <a:bodyPr>
            <a:noAutofit/>
          </a:bodyPr>
          <a:lstStyle>
            <a:lvl1pPr marL="514350" marR="0" indent="-51435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rabicPeriod"/>
              <a:tabLst/>
              <a:defRPr sz="2400" b="0" i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</a:t>
            </a:r>
          </a:p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</a:t>
            </a:r>
          </a:p>
          <a:p>
            <a:pPr lvl="0"/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E216245F-23B8-415E-9B16-3CDC42FB6A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D5B67A01-B87F-437B-ADF6-66164C9CDA1D}" type="slidenum">
              <a:rPr lang="pl-PL" smtClean="0"/>
              <a:pPr/>
              <a:t>‹#›</a:t>
            </a:fld>
            <a:r>
              <a:rPr lang="pl-PL"/>
              <a:t> 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C1F7378-57A6-394E-AE98-91A760952C0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21649" y="0"/>
            <a:ext cx="4070351" cy="68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pic>
        <p:nvPicPr>
          <p:cNvPr id="7" name="Obraz 6" descr="Obraz zawierający znak, zegar&#10;&#10;Opis wygenerowany automatycznie">
            <a:extLst>
              <a:ext uri="{FF2B5EF4-FFF2-40B4-BE49-F238E27FC236}">
                <a16:creationId xmlns:a16="http://schemas.microsoft.com/office/drawing/2014/main" id="{A775012A-FA67-4EDF-87A8-9F8B04F42DB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22" y="289845"/>
            <a:ext cx="1885007" cy="1032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76258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ec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3FAEAC0-0E6D-444A-95B5-0A3C93C476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9434" y="2970926"/>
            <a:ext cx="6697683" cy="1724480"/>
          </a:xfrm>
        </p:spPr>
        <p:txBody>
          <a:bodyPr anchor="t">
            <a:normAutofit/>
          </a:bodyPr>
          <a:lstStyle>
            <a:lvl1pPr>
              <a:defRPr sz="5500" b="1">
                <a:solidFill>
                  <a:schemeClr val="bg1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3072B88E-60B1-4951-ACB4-62501281AA6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149434" y="5018314"/>
            <a:ext cx="9198015" cy="996592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err="1"/>
              <a:t>Subtitle</a:t>
            </a:r>
            <a:r>
              <a:rPr lang="pl-PL"/>
              <a:t> of the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7" name="Symbol zastępczy numeru slajdu 5">
            <a:extLst>
              <a:ext uri="{FF2B5EF4-FFF2-40B4-BE49-F238E27FC236}">
                <a16:creationId xmlns:a16="http://schemas.microsoft.com/office/drawing/2014/main" id="{2BFFDC2F-69F9-4006-A2A6-11998BCE2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C37AD4BE-6D4A-446E-9235-69971E43B1B1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74713" y="2970926"/>
            <a:ext cx="1274721" cy="852930"/>
          </a:xfrm>
        </p:spPr>
        <p:txBody>
          <a:bodyPr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55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1.</a:t>
            </a:r>
          </a:p>
        </p:txBody>
      </p:sp>
      <p:pic>
        <p:nvPicPr>
          <p:cNvPr id="4" name="Obraz 3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184D79CA-607E-444B-93DC-91C7C53957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284" y="344389"/>
            <a:ext cx="1820897" cy="997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516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BAE40"/>
          </p15:clr>
        </p15:guide>
        <p15:guide id="2" pos="712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column_text_and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C781BEA-A0D4-CF4E-8171-90B52C8EBE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63349" y="2537783"/>
            <a:ext cx="3162299" cy="3477123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304D130-51A3-F548-B74D-31E02331B55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65648" y="2537783"/>
            <a:ext cx="3162299" cy="3477123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8" name="Tytuł 1">
            <a:extLst>
              <a:ext uri="{FF2B5EF4-FFF2-40B4-BE49-F238E27FC236}">
                <a16:creationId xmlns:a16="http://schemas.microsoft.com/office/drawing/2014/main" id="{BABF2F3A-98AC-E54A-B8FB-FBABA6A48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A7B1259-50F3-AC40-8743-F5628495C4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74625BDF-1CB1-4C9C-9286-C46C20F1BC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92597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Intr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3072B88E-60B1-4951-ACB4-62501281AA6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73577" y="1553671"/>
            <a:ext cx="5260523" cy="1417255"/>
          </a:xfrm>
        </p:spPr>
        <p:txBody>
          <a:bodyPr anchor="b">
            <a:normAutofit/>
          </a:bodyPr>
          <a:lstStyle>
            <a:lvl1pPr marL="0" indent="0">
              <a:buNone/>
              <a:defRPr sz="45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Intro to </a:t>
            </a:r>
            <a:r>
              <a:rPr lang="pl-PL" err="1"/>
              <a:t>section</a:t>
            </a:r>
            <a:endParaRPr lang="pl-PL"/>
          </a:p>
        </p:txBody>
      </p:sp>
      <p:sp>
        <p:nvSpPr>
          <p:cNvPr id="7" name="Symbol zastępczy numeru slajdu 5">
            <a:extLst>
              <a:ext uri="{FF2B5EF4-FFF2-40B4-BE49-F238E27FC236}">
                <a16:creationId xmlns:a16="http://schemas.microsoft.com/office/drawing/2014/main" id="{2BFFDC2F-69F9-4006-A2A6-11998BCE2E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bg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1" name="Symbol zastępczy tekstu 2">
            <a:extLst>
              <a:ext uri="{FF2B5EF4-FFF2-40B4-BE49-F238E27FC236}">
                <a16:creationId xmlns:a16="http://schemas.microsoft.com/office/drawing/2014/main" id="{5F2C6574-FF98-442E-A4D4-981D37C5B14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68047" y="3150926"/>
            <a:ext cx="5266053" cy="2674972"/>
          </a:xfrm>
        </p:spPr>
        <p:txBody>
          <a:bodyPr>
            <a:noAutofit/>
          </a:bodyPr>
          <a:lstStyle>
            <a:lvl1pPr marL="0" indent="0">
              <a:lnSpc>
                <a:spcPct val="114000"/>
              </a:lnSpc>
              <a:spcBef>
                <a:spcPts val="0"/>
              </a:spcBef>
              <a:buNone/>
              <a:defRPr sz="2400" b="0" i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err="1"/>
              <a:t>Proin</a:t>
            </a:r>
            <a:r>
              <a:rPr lang="pl-PL"/>
              <a:t> vitae </a:t>
            </a:r>
            <a:r>
              <a:rPr lang="pl-PL" err="1"/>
              <a:t>odio</a:t>
            </a:r>
            <a:r>
              <a:rPr lang="pl-PL"/>
              <a:t>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auctor</a:t>
            </a:r>
            <a:r>
              <a:rPr lang="pl-PL"/>
              <a:t> </a:t>
            </a:r>
            <a:r>
              <a:rPr lang="pl-PL" err="1"/>
              <a:t>faucibus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</a:p>
        </p:txBody>
      </p:sp>
      <p:pic>
        <p:nvPicPr>
          <p:cNvPr id="2" name="Obraz 1" descr="Obraz zawierający zegar, rysunek, znak&#10;&#10;Opis wygenerowany automatycznie">
            <a:extLst>
              <a:ext uri="{FF2B5EF4-FFF2-40B4-BE49-F238E27FC236}">
                <a16:creationId xmlns:a16="http://schemas.microsoft.com/office/drawing/2014/main" id="{7CA51BF7-F49F-499A-9FBB-1CBBB2B4EA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587" y="466261"/>
            <a:ext cx="1820897" cy="997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05635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ub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1DD86EA-EA42-44C7-8A4A-0066D92A8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9434" y="3073673"/>
            <a:ext cx="7445706" cy="1427075"/>
          </a:xfrm>
        </p:spPr>
        <p:txBody>
          <a:bodyPr anchor="t">
            <a:noAutofit/>
          </a:bodyPr>
          <a:lstStyle>
            <a:lvl1pPr marL="0" indent="0">
              <a:defRPr sz="4500" b="1" spc="-15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Title</a:t>
            </a:r>
            <a:r>
              <a:rPr lang="pl-PL"/>
              <a:t> of the </a:t>
            </a:r>
            <a:r>
              <a:rPr lang="pl-PL" err="1"/>
              <a:t>subsection</a:t>
            </a:r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E216245F-23B8-415E-9B16-3CDC42FB6A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91A28437-09C3-4BD5-A0ED-FE65C08B3832}"/>
              </a:ext>
            </a:extLst>
          </p:cNvPr>
          <p:cNvSpPr/>
          <p:nvPr userDrawn="1"/>
        </p:nvSpPr>
        <p:spPr>
          <a:xfrm>
            <a:off x="11206843" y="0"/>
            <a:ext cx="98515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1" name="Symbol zastępczy tekstu 2">
            <a:extLst>
              <a:ext uri="{FF2B5EF4-FFF2-40B4-BE49-F238E27FC236}">
                <a16:creationId xmlns:a16="http://schemas.microsoft.com/office/drawing/2014/main" id="{47C8ADBB-ACFA-574D-A9FF-6F34AD09FA91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874712" y="3073673"/>
            <a:ext cx="1274722" cy="744868"/>
          </a:xfrm>
        </p:spPr>
        <p:txBody>
          <a:bodyPr>
            <a:norm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4500" b="1" kern="1200" spc="-15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1.1.</a:t>
            </a:r>
          </a:p>
        </p:txBody>
      </p:sp>
      <p:pic>
        <p:nvPicPr>
          <p:cNvPr id="5" name="Obraz 4" descr="Obraz zawierający znak, zegar&#10;&#10;Opis wygenerowany automatycznie">
            <a:extLst>
              <a:ext uri="{FF2B5EF4-FFF2-40B4-BE49-F238E27FC236}">
                <a16:creationId xmlns:a16="http://schemas.microsoft.com/office/drawing/2014/main" id="{448DD1C7-DA96-44B0-88A4-CB7360BEA4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22" y="289845"/>
            <a:ext cx="1885007" cy="1032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5883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7" name="Tytuł 1">
            <a:extLst>
              <a:ext uri="{FF2B5EF4-FFF2-40B4-BE49-F238E27FC236}">
                <a16:creationId xmlns:a16="http://schemas.microsoft.com/office/drawing/2014/main" id="{929E80EC-ABB5-FC47-BF91-33C7057C3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2220840-5540-F14A-BC1E-444C1BD005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EA3DE48-E235-B948-82FC-0FD10B1AA6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6359" y="2537783"/>
            <a:ext cx="10499281" cy="3482014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err="1"/>
              <a:t>Proin</a:t>
            </a:r>
            <a:r>
              <a:rPr lang="pl-PL"/>
              <a:t> vitae </a:t>
            </a:r>
            <a:r>
              <a:rPr lang="pl-PL" err="1"/>
              <a:t>odio</a:t>
            </a:r>
            <a:r>
              <a:rPr lang="pl-PL"/>
              <a:t>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auctor</a:t>
            </a:r>
            <a:r>
              <a:rPr lang="pl-PL"/>
              <a:t> </a:t>
            </a:r>
            <a:r>
              <a:rPr lang="pl-PL" err="1"/>
              <a:t>faucibus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pic>
        <p:nvPicPr>
          <p:cNvPr id="4" name="Obraz 3" descr="Obraz zawierający znak, zegar&#10;&#10;Opis wygenerowany automatycznie">
            <a:extLst>
              <a:ext uri="{FF2B5EF4-FFF2-40B4-BE49-F238E27FC236}">
                <a16:creationId xmlns:a16="http://schemas.microsoft.com/office/drawing/2014/main" id="{4B9CABC8-B237-46DF-B1EC-029DE6B3F5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12844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ne_column_text_and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E5A33A5-C501-854D-8332-AB6B555464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50350" y="0"/>
            <a:ext cx="3041650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E921302-7DE3-BD41-8B22-8AC8ECE8B1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6359" y="2840349"/>
            <a:ext cx="7770561" cy="3179448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sp>
        <p:nvSpPr>
          <p:cNvPr id="28" name="Tytuł 1">
            <a:extLst>
              <a:ext uri="{FF2B5EF4-FFF2-40B4-BE49-F238E27FC236}">
                <a16:creationId xmlns:a16="http://schemas.microsoft.com/office/drawing/2014/main" id="{1DF88112-C106-6D44-87FF-A650FE327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862546"/>
            <a:ext cx="7770559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7A04151-C436-4A41-A014-CB3407F0CC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920598"/>
            <a:ext cx="7770559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AA1D4B21-02EC-484F-93D1-352AD0ADF2C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995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656020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ne_colum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EB70E64-4362-AA4D-BF7F-5F8D00AB9F6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50350" y="0"/>
            <a:ext cx="3041650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0798991-C02A-DB44-844E-8D4A26B467F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6359" y="1280598"/>
            <a:ext cx="7770561" cy="47392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err="1"/>
              <a:t>Proin</a:t>
            </a:r>
            <a:r>
              <a:rPr lang="pl-PL"/>
              <a:t> vitae </a:t>
            </a:r>
            <a:r>
              <a:rPr lang="pl-PL" err="1"/>
              <a:t>odio</a:t>
            </a:r>
            <a:r>
              <a:rPr lang="pl-PL"/>
              <a:t>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auctor</a:t>
            </a:r>
            <a:r>
              <a:rPr lang="pl-PL"/>
              <a:t> </a:t>
            </a:r>
            <a:r>
              <a:rPr lang="pl-PL" err="1"/>
              <a:t>faucibus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FEAF2F6B-F8FB-4040-8850-B1DAFE92369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7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67131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_column_text_and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C781BEA-A0D4-CF4E-8171-90B52C8EBE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63349" y="2537783"/>
            <a:ext cx="3162299" cy="3477123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304D130-51A3-F548-B74D-31E02331B55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65648" y="2537783"/>
            <a:ext cx="3162299" cy="3477123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8" name="Tytuł 1">
            <a:extLst>
              <a:ext uri="{FF2B5EF4-FFF2-40B4-BE49-F238E27FC236}">
                <a16:creationId xmlns:a16="http://schemas.microsoft.com/office/drawing/2014/main" id="{BABF2F3A-98AC-E54A-B8FB-FBABA6A48C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9" y="1474091"/>
            <a:ext cx="8806338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A7B1259-50F3-AC40-8743-F5628495C4A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46361" y="532143"/>
            <a:ext cx="8806338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74625BDF-1CB1-4C9C-9286-C46C20F1BC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91528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_column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1D9E27F-F165-3E44-B3F0-AF418E227E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249" y="1280598"/>
            <a:ext cx="4952420" cy="47392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07F197B-A2B7-804E-A6FD-92D4CE51C21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66331" y="1280598"/>
            <a:ext cx="4952420" cy="473920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pl-PL" err="1"/>
              <a:t>Suspendisse</a:t>
            </a:r>
            <a:r>
              <a:rPr lang="pl-PL"/>
              <a:t> </a:t>
            </a:r>
            <a:r>
              <a:rPr lang="pl-PL" err="1"/>
              <a:t>ne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 et </a:t>
            </a:r>
            <a:r>
              <a:rPr lang="pl-PL" err="1"/>
              <a:t>risus</a:t>
            </a:r>
            <a:r>
              <a:rPr lang="pl-PL"/>
              <a:t> </a:t>
            </a:r>
            <a:r>
              <a:rPr lang="pl-PL" err="1"/>
              <a:t>gravida</a:t>
            </a:r>
            <a:r>
              <a:rPr lang="pl-PL"/>
              <a:t> </a:t>
            </a:r>
            <a:r>
              <a:rPr lang="pl-PL" err="1"/>
              <a:t>condimentum</a:t>
            </a:r>
            <a:r>
              <a:rPr lang="pl-PL"/>
              <a:t> non </a:t>
            </a:r>
            <a:r>
              <a:rPr lang="pl-PL" err="1"/>
              <a:t>at</a:t>
            </a:r>
            <a:r>
              <a:rPr lang="pl-PL"/>
              <a:t> nunc. Nulla in </a:t>
            </a:r>
            <a:r>
              <a:rPr lang="pl-PL" err="1"/>
              <a:t>libero</a:t>
            </a:r>
            <a:r>
              <a:rPr lang="pl-PL"/>
              <a:t> </a:t>
            </a:r>
            <a:r>
              <a:rPr lang="pl-PL" err="1"/>
              <a:t>odio</a:t>
            </a:r>
            <a:r>
              <a:rPr lang="pl-PL"/>
              <a:t>. </a:t>
            </a:r>
            <a:r>
              <a:rPr lang="pl-PL" b="1" err="1">
                <a:solidFill>
                  <a:schemeClr val="tx1"/>
                </a:solidFill>
              </a:rPr>
              <a:t>Proin</a:t>
            </a:r>
            <a:r>
              <a:rPr lang="pl-PL" b="1">
                <a:solidFill>
                  <a:schemeClr val="tx1"/>
                </a:solidFill>
              </a:rPr>
              <a:t> vitae </a:t>
            </a:r>
            <a:r>
              <a:rPr lang="pl-PL" b="1" err="1">
                <a:solidFill>
                  <a:schemeClr val="tx1"/>
                </a:solidFill>
              </a:rPr>
              <a:t>odio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ut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rcu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auctor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b="1" err="1">
                <a:solidFill>
                  <a:schemeClr val="tx1"/>
                </a:solidFill>
              </a:rPr>
              <a:t>faucibus</a:t>
            </a:r>
            <a:r>
              <a:rPr lang="pl-PL" b="1">
                <a:solidFill>
                  <a:schemeClr val="tx1"/>
                </a:solidFill>
              </a:rPr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at</a:t>
            </a:r>
            <a:r>
              <a:rPr lang="pl-PL"/>
              <a:t> </a:t>
            </a:r>
            <a:r>
              <a:rPr lang="pl-PL" err="1"/>
              <a:t>purus</a:t>
            </a:r>
            <a:r>
              <a:rPr lang="pl-PL"/>
              <a:t>. </a:t>
            </a:r>
            <a:r>
              <a:rPr lang="pl-PL" err="1"/>
              <a:t>Cras</a:t>
            </a:r>
            <a:r>
              <a:rPr lang="pl-PL"/>
              <a:t> vel </a:t>
            </a:r>
            <a:r>
              <a:rPr lang="pl-PL" err="1"/>
              <a:t>arcu</a:t>
            </a:r>
            <a:r>
              <a:rPr lang="pl-PL"/>
              <a:t> </a:t>
            </a:r>
            <a:r>
              <a:rPr lang="pl-PL" err="1"/>
              <a:t>quis</a:t>
            </a:r>
            <a:r>
              <a:rPr lang="pl-PL"/>
              <a:t> </a:t>
            </a:r>
            <a:r>
              <a:rPr lang="pl-PL" err="1"/>
              <a:t>nibh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eleifend</a:t>
            </a:r>
            <a:r>
              <a:rPr lang="pl-PL"/>
              <a:t>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ac</a:t>
            </a:r>
            <a:r>
              <a:rPr lang="pl-PL"/>
              <a:t> </a:t>
            </a:r>
            <a:r>
              <a:rPr lang="pl-PL" err="1"/>
              <a:t>risus</a:t>
            </a:r>
            <a:r>
              <a:rPr lang="pl-PL"/>
              <a:t>. </a:t>
            </a:r>
            <a:r>
              <a:rPr lang="pl-PL" err="1"/>
              <a:t>Duis</a:t>
            </a:r>
            <a:r>
              <a:rPr lang="pl-PL"/>
              <a:t> </a:t>
            </a:r>
            <a:r>
              <a:rPr lang="pl-PL" err="1"/>
              <a:t>tincidunt</a:t>
            </a:r>
            <a:r>
              <a:rPr lang="pl-PL"/>
              <a:t> </a:t>
            </a:r>
            <a:r>
              <a:rPr lang="pl-PL" err="1"/>
              <a:t>lacinia</a:t>
            </a:r>
            <a:r>
              <a:rPr lang="pl-PL"/>
              <a:t> </a:t>
            </a:r>
            <a:r>
              <a:rPr lang="pl-PL" err="1"/>
              <a:t>est</a:t>
            </a:r>
            <a:r>
              <a:rPr lang="pl-PL"/>
              <a:t>,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tempus</a:t>
            </a:r>
            <a:r>
              <a:rPr lang="pl-PL"/>
              <a:t> </a:t>
            </a:r>
            <a:r>
              <a:rPr lang="pl-PL" err="1"/>
              <a:t>erat</a:t>
            </a:r>
            <a:r>
              <a:rPr lang="pl-PL"/>
              <a:t> </a:t>
            </a:r>
            <a:r>
              <a:rPr lang="pl-PL" err="1"/>
              <a:t>sempe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. </a:t>
            </a:r>
            <a:r>
              <a:rPr lang="pl-PL" err="1"/>
              <a:t>Fusce</a:t>
            </a:r>
            <a:r>
              <a:rPr lang="pl-PL"/>
              <a:t> </a:t>
            </a:r>
            <a:r>
              <a:rPr lang="pl-PL" err="1"/>
              <a:t>sagittis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placerat</a:t>
            </a:r>
            <a:r>
              <a:rPr lang="pl-PL"/>
              <a:t>.</a:t>
            </a:r>
            <a:endParaRPr lang="pl-PL" b="1">
              <a:solidFill>
                <a:schemeClr val="tx1"/>
              </a:solidFill>
            </a:endParaRP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08EF6039-6B91-4C3A-B107-D5E3139663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89172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lim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ytuł 1">
            <a:extLst>
              <a:ext uri="{FF2B5EF4-FFF2-40B4-BE49-F238E27FC236}">
                <a16:creationId xmlns:a16="http://schemas.microsoft.com/office/drawing/2014/main" id="{C7C5C807-78F5-3041-998A-E4F74E4A8D44}"/>
              </a:ext>
            </a:extLst>
          </p:cNvPr>
          <p:cNvSpPr txBox="1">
            <a:spLocks/>
          </p:cNvSpPr>
          <p:nvPr userDrawn="1"/>
        </p:nvSpPr>
        <p:spPr>
          <a:xfrm>
            <a:off x="846359" y="1474091"/>
            <a:ext cx="8806338" cy="43780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24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r>
              <a:rPr lang="en-US"/>
              <a:t>Subheading</a:t>
            </a:r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F51A461-E266-DE44-9255-5BB69680163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73060" y="0"/>
            <a:ext cx="2171700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0" name="Tytuł 1">
            <a:extLst>
              <a:ext uri="{FF2B5EF4-FFF2-40B4-BE49-F238E27FC236}">
                <a16:creationId xmlns:a16="http://schemas.microsoft.com/office/drawing/2014/main" id="{2643A83C-AAA4-4441-87C4-1A950A2C9E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6357" y="1474091"/>
            <a:ext cx="2886699" cy="43780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D1E7FBC-F14A-2948-AEA4-48D7FA9FD82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46361" y="528300"/>
            <a:ext cx="2886699" cy="10143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err="1"/>
              <a:t>Slim</a:t>
            </a:r>
            <a:endParaRPr lang="pl-PL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1517ED6-FE85-7A49-89E7-07C46460F18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84760" y="1280598"/>
            <a:ext cx="4333662" cy="4739200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Sed</a:t>
            </a:r>
            <a:r>
              <a:rPr lang="pl-PL"/>
              <a:t> </a:t>
            </a:r>
            <a:r>
              <a:rPr lang="pl-PL" err="1"/>
              <a:t>eu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nunc. </a:t>
            </a: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 </a:t>
            </a:r>
            <a:r>
              <a:rPr lang="pl-PL" err="1"/>
              <a:t>Ut</a:t>
            </a:r>
            <a:r>
              <a:rPr lang="pl-PL"/>
              <a:t> </a:t>
            </a:r>
            <a:r>
              <a:rPr lang="pl-PL" err="1"/>
              <a:t>volutpat</a:t>
            </a:r>
            <a:r>
              <a:rPr lang="pl-PL"/>
              <a:t> </a:t>
            </a:r>
            <a:r>
              <a:rPr lang="pl-PL" err="1"/>
              <a:t>imperdiet</a:t>
            </a:r>
            <a:r>
              <a:rPr lang="pl-PL"/>
              <a:t> </a:t>
            </a:r>
            <a:r>
              <a:rPr lang="pl-PL" err="1"/>
              <a:t>aliquet</a:t>
            </a:r>
            <a:r>
              <a:rPr lang="pl-PL"/>
              <a:t>. In </a:t>
            </a:r>
            <a:r>
              <a:rPr lang="pl-PL" err="1"/>
              <a:t>sodales</a:t>
            </a:r>
            <a:r>
              <a:rPr lang="pl-PL"/>
              <a:t>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ultricies</a:t>
            </a:r>
            <a:r>
              <a:rPr lang="pl-PL"/>
              <a:t>.</a:t>
            </a:r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C0BBD46A-EAEB-4280-9F6D-049BBD8A95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89626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ullet_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9" name="Tytuł 1">
            <a:extLst>
              <a:ext uri="{FF2B5EF4-FFF2-40B4-BE49-F238E27FC236}">
                <a16:creationId xmlns:a16="http://schemas.microsoft.com/office/drawing/2014/main" id="{E183F67A-02E0-4469-AE89-66E65C6B1F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8754" y="528300"/>
            <a:ext cx="4098471" cy="617802"/>
          </a:xfrm>
        </p:spPr>
        <p:txBody>
          <a:bodyPr anchor="b">
            <a:noAutofit/>
          </a:bodyPr>
          <a:lstStyle>
            <a:lvl1pPr>
              <a:defRPr sz="3000" b="1" spc="0">
                <a:solidFill>
                  <a:schemeClr val="tx2"/>
                </a:solidFill>
              </a:defRPr>
            </a:lvl1pPr>
          </a:lstStyle>
          <a:p>
            <a:r>
              <a:rPr lang="pl-PL" err="1"/>
              <a:t>Subtitle</a:t>
            </a:r>
            <a:endParaRPr lang="pl-PL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B9C214D-75C5-A14C-8EC9-F837F8D035C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448300" y="1326100"/>
            <a:ext cx="4098471" cy="1922902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49EF738-0323-0848-9CF5-BA746FE0982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3125" y="561975"/>
            <a:ext cx="4035425" cy="1668463"/>
          </a:xfrm>
        </p:spPr>
        <p:txBody>
          <a:bodyPr>
            <a:normAutofit/>
          </a:bodyPr>
          <a:lstStyle>
            <a:lvl1pPr marL="0" indent="0">
              <a:lnSpc>
                <a:spcPts val="4300"/>
              </a:lnSpc>
              <a:buNone/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Bullet</a:t>
            </a:r>
            <a:br>
              <a:rPr lang="en-US"/>
            </a:br>
            <a:r>
              <a:rPr lang="en-US"/>
              <a:t>points</a:t>
            </a:r>
            <a:endParaRPr lang="en-VN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EA85DD0-D7B6-E54F-9F47-578AB4C9DD9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448300" y="3429000"/>
            <a:ext cx="4098925" cy="2590800"/>
          </a:xfrm>
        </p:spPr>
        <p:txBody>
          <a:bodyPr/>
          <a:lstStyle/>
          <a:p>
            <a:pPr lvl="0"/>
            <a:r>
              <a:rPr lang="en-US"/>
              <a:t>First level of bullet poi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VN"/>
          </a:p>
        </p:txBody>
      </p:sp>
      <p:pic>
        <p:nvPicPr>
          <p:cNvPr id="3" name="Obraz 2" descr="Obraz zawierający znak, zegar&#10;&#10;Opis wygenerowany automatycznie">
            <a:extLst>
              <a:ext uri="{FF2B5EF4-FFF2-40B4-BE49-F238E27FC236}">
                <a16:creationId xmlns:a16="http://schemas.microsoft.com/office/drawing/2014/main" id="{9DB470B4-EDB0-43D8-A5F8-E671FAB773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08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45705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_half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64661CB-423A-5E45-B58A-9C739FBCE5E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VN"/>
          </a:p>
        </p:txBody>
      </p:sp>
      <p:sp>
        <p:nvSpPr>
          <p:cNvPr id="14" name="Symbol zastępczy numeru slajdu 5">
            <a:extLst>
              <a:ext uri="{FF2B5EF4-FFF2-40B4-BE49-F238E27FC236}">
                <a16:creationId xmlns:a16="http://schemas.microsoft.com/office/drawing/2014/main" id="{B5398E39-33EB-4114-8DFF-E6EDF594D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>
            <a:lvl1pPr algn="l">
              <a:defRPr b="1" i="1">
                <a:solidFill>
                  <a:schemeClr val="tx1"/>
                </a:solidFill>
              </a:defRPr>
            </a:lvl1pPr>
          </a:lstStyle>
          <a:p>
            <a:fld id="{65099D49-E9B0-4648-A2A0-22D531008F3A}" type="slidenum">
              <a:rPr lang="pl-PL" smtClean="0"/>
              <a:pPr/>
              <a:t>‹#›</a:t>
            </a:fld>
            <a:endParaRPr lang="pl-PL"/>
          </a:p>
        </p:txBody>
      </p:sp>
      <p:sp>
        <p:nvSpPr>
          <p:cNvPr id="12" name="Tytuł 1">
            <a:extLst>
              <a:ext uri="{FF2B5EF4-FFF2-40B4-BE49-F238E27FC236}">
                <a16:creationId xmlns:a16="http://schemas.microsoft.com/office/drawing/2014/main" id="{B7F482A2-531E-BB4D-BD3D-FFAF891C6D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3249" y="2415141"/>
            <a:ext cx="4682421" cy="43177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pl-PL" sz="2400" i="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lvl="0"/>
            <a:r>
              <a:rPr lang="pl-PL" err="1"/>
              <a:t>Subheading</a:t>
            </a:r>
            <a:endParaRPr lang="pl-PL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985AE5C-CEED-704C-9F59-D34509271E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73249" y="1467165"/>
            <a:ext cx="4682421" cy="1014343"/>
          </a:xfrm>
        </p:spPr>
        <p:txBody>
          <a:bodyPr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40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pl-PL" err="1"/>
              <a:t>Header</a:t>
            </a:r>
            <a:endParaRPr lang="pl-PL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A224EE3-8E13-1445-8C1E-7D484F612A8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3249" y="4557650"/>
            <a:ext cx="4682421" cy="121515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6696BEB-0B93-7541-893D-B1E11196EDF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3249" y="3386917"/>
            <a:ext cx="4682421" cy="1015246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VN" sz="2400" b="0" i="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fontAlgn="auto"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l-PL" err="1"/>
              <a:t>Lorem</a:t>
            </a:r>
            <a:r>
              <a:rPr lang="pl-PL"/>
              <a:t> </a:t>
            </a:r>
            <a:r>
              <a:rPr lang="pl-PL" err="1"/>
              <a:t>ipsum</a:t>
            </a:r>
            <a:r>
              <a:rPr lang="pl-PL"/>
              <a:t> </a:t>
            </a:r>
            <a:r>
              <a:rPr lang="pl-PL" err="1"/>
              <a:t>dolor</a:t>
            </a:r>
            <a:r>
              <a:rPr lang="pl-PL"/>
              <a:t> sit </a:t>
            </a:r>
            <a:r>
              <a:rPr lang="pl-PL" err="1"/>
              <a:t>amet</a:t>
            </a:r>
            <a:r>
              <a:rPr lang="pl-PL"/>
              <a:t>, </a:t>
            </a:r>
            <a:r>
              <a:rPr lang="pl-PL" err="1"/>
              <a:t>consectetur</a:t>
            </a:r>
            <a:r>
              <a:rPr lang="pl-PL"/>
              <a:t> </a:t>
            </a:r>
            <a:r>
              <a:rPr lang="pl-PL" err="1"/>
              <a:t>adipiscing</a:t>
            </a:r>
            <a:r>
              <a:rPr lang="pl-PL"/>
              <a:t> elit.</a:t>
            </a:r>
          </a:p>
        </p:txBody>
      </p:sp>
      <p:pic>
        <p:nvPicPr>
          <p:cNvPr id="2" name="Obraz 1" descr="Obraz zawierający znak, zegar&#10;&#10;Opis wygenerowany automatycznie">
            <a:extLst>
              <a:ext uri="{FF2B5EF4-FFF2-40B4-BE49-F238E27FC236}">
                <a16:creationId xmlns:a16="http://schemas.microsoft.com/office/drawing/2014/main" id="{172632EE-5F54-4FEC-A8D0-15A69CBD03E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995" y="253927"/>
            <a:ext cx="1473637" cy="80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0212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theme" Target="../theme/theme1.xml"/><Relationship Id="rId16" Type="http://schemas.openxmlformats.org/officeDocument/2006/relationships/slideLayout" Target="../slideLayouts/slideLayout16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28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18" Type="http://schemas.openxmlformats.org/officeDocument/2006/relationships/slideLayout" Target="../slideLayouts/slideLayout118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124" Type="http://schemas.openxmlformats.org/officeDocument/2006/relationships/slideLayout" Target="../slideLayouts/slideLayout124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35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slideLayout" Target="../slideLayouts/slideLayout120.xml"/><Relationship Id="rId125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131" Type="http://schemas.openxmlformats.org/officeDocument/2006/relationships/slideLayout" Target="../slideLayouts/slideLayout131.xml"/><Relationship Id="rId136" Type="http://schemas.openxmlformats.org/officeDocument/2006/relationships/slideLayout" Target="../slideLayouts/slideLayout136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0.xml"/><Relationship Id="rId18" Type="http://schemas.openxmlformats.org/officeDocument/2006/relationships/slideLayout" Target="../slideLayouts/slideLayout155.xml"/><Relationship Id="rId26" Type="http://schemas.openxmlformats.org/officeDocument/2006/relationships/slideLayout" Target="../slideLayouts/slideLayout163.xml"/><Relationship Id="rId3" Type="http://schemas.openxmlformats.org/officeDocument/2006/relationships/slideLayout" Target="../slideLayouts/slideLayout140.xml"/><Relationship Id="rId21" Type="http://schemas.openxmlformats.org/officeDocument/2006/relationships/slideLayout" Target="../slideLayouts/slideLayout158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17" Type="http://schemas.openxmlformats.org/officeDocument/2006/relationships/slideLayout" Target="../slideLayouts/slideLayout154.xml"/><Relationship Id="rId25" Type="http://schemas.openxmlformats.org/officeDocument/2006/relationships/slideLayout" Target="../slideLayouts/slideLayout162.xml"/><Relationship Id="rId33" Type="http://schemas.openxmlformats.org/officeDocument/2006/relationships/slideLayout" Target="../slideLayouts/slideLayout170.xml"/><Relationship Id="rId2" Type="http://schemas.openxmlformats.org/officeDocument/2006/relationships/slideLayout" Target="../slideLayouts/slideLayout139.xml"/><Relationship Id="rId16" Type="http://schemas.openxmlformats.org/officeDocument/2006/relationships/slideLayout" Target="../slideLayouts/slideLayout153.xml"/><Relationship Id="rId20" Type="http://schemas.openxmlformats.org/officeDocument/2006/relationships/slideLayout" Target="../slideLayouts/slideLayout157.xml"/><Relationship Id="rId29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24" Type="http://schemas.openxmlformats.org/officeDocument/2006/relationships/slideLayout" Target="../slideLayouts/slideLayout161.xml"/><Relationship Id="rId32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42.xml"/><Relationship Id="rId15" Type="http://schemas.openxmlformats.org/officeDocument/2006/relationships/slideLayout" Target="../slideLayouts/slideLayout152.xml"/><Relationship Id="rId23" Type="http://schemas.openxmlformats.org/officeDocument/2006/relationships/slideLayout" Target="../slideLayouts/slideLayout160.xml"/><Relationship Id="rId28" Type="http://schemas.openxmlformats.org/officeDocument/2006/relationships/slideLayout" Target="../slideLayouts/slideLayout165.xml"/><Relationship Id="rId10" Type="http://schemas.openxmlformats.org/officeDocument/2006/relationships/slideLayout" Target="../slideLayouts/slideLayout147.xml"/><Relationship Id="rId19" Type="http://schemas.openxmlformats.org/officeDocument/2006/relationships/slideLayout" Target="../slideLayouts/slideLayout156.xml"/><Relationship Id="rId31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Relationship Id="rId22" Type="http://schemas.openxmlformats.org/officeDocument/2006/relationships/slideLayout" Target="../slideLayouts/slideLayout159.xml"/><Relationship Id="rId27" Type="http://schemas.openxmlformats.org/officeDocument/2006/relationships/slideLayout" Target="../slideLayouts/slideLayout164.xml"/><Relationship Id="rId30" Type="http://schemas.openxmlformats.org/officeDocument/2006/relationships/slideLayout" Target="../slideLayouts/slideLayout167.xml"/><Relationship Id="rId35" Type="http://schemas.openxmlformats.org/officeDocument/2006/relationships/image" Target="../media/image70.jpeg"/><Relationship Id="rId8" Type="http://schemas.openxmlformats.org/officeDocument/2006/relationships/slideLayout" Target="../slideLayouts/slideLayout14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8.xml"/><Relationship Id="rId13" Type="http://schemas.openxmlformats.org/officeDocument/2006/relationships/slideLayout" Target="../slideLayouts/slideLayout183.xml"/><Relationship Id="rId18" Type="http://schemas.openxmlformats.org/officeDocument/2006/relationships/slideLayout" Target="../slideLayouts/slideLayout188.xml"/><Relationship Id="rId26" Type="http://schemas.openxmlformats.org/officeDocument/2006/relationships/slideLayout" Target="../slideLayouts/slideLayout196.xml"/><Relationship Id="rId3" Type="http://schemas.openxmlformats.org/officeDocument/2006/relationships/slideLayout" Target="../slideLayouts/slideLayout173.xml"/><Relationship Id="rId21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77.xml"/><Relationship Id="rId12" Type="http://schemas.openxmlformats.org/officeDocument/2006/relationships/slideLayout" Target="../slideLayouts/slideLayout182.xml"/><Relationship Id="rId17" Type="http://schemas.openxmlformats.org/officeDocument/2006/relationships/slideLayout" Target="../slideLayouts/slideLayout187.xml"/><Relationship Id="rId25" Type="http://schemas.openxmlformats.org/officeDocument/2006/relationships/slideLayout" Target="../slideLayouts/slideLayout195.xml"/><Relationship Id="rId2" Type="http://schemas.openxmlformats.org/officeDocument/2006/relationships/slideLayout" Target="../slideLayouts/slideLayout172.xml"/><Relationship Id="rId16" Type="http://schemas.openxmlformats.org/officeDocument/2006/relationships/slideLayout" Target="../slideLayouts/slideLayout186.xml"/><Relationship Id="rId20" Type="http://schemas.openxmlformats.org/officeDocument/2006/relationships/slideLayout" Target="../slideLayouts/slideLayout190.xml"/><Relationship Id="rId29" Type="http://schemas.openxmlformats.org/officeDocument/2006/relationships/slideLayout" Target="../slideLayouts/slideLayout199.xml"/><Relationship Id="rId1" Type="http://schemas.openxmlformats.org/officeDocument/2006/relationships/slideLayout" Target="../slideLayouts/slideLayout171.xml"/><Relationship Id="rId6" Type="http://schemas.openxmlformats.org/officeDocument/2006/relationships/slideLayout" Target="../slideLayouts/slideLayout176.xml"/><Relationship Id="rId11" Type="http://schemas.openxmlformats.org/officeDocument/2006/relationships/slideLayout" Target="../slideLayouts/slideLayout181.xml"/><Relationship Id="rId24" Type="http://schemas.openxmlformats.org/officeDocument/2006/relationships/slideLayout" Target="../slideLayouts/slideLayout194.xml"/><Relationship Id="rId5" Type="http://schemas.openxmlformats.org/officeDocument/2006/relationships/slideLayout" Target="../slideLayouts/slideLayout175.xml"/><Relationship Id="rId15" Type="http://schemas.openxmlformats.org/officeDocument/2006/relationships/slideLayout" Target="../slideLayouts/slideLayout185.xml"/><Relationship Id="rId23" Type="http://schemas.openxmlformats.org/officeDocument/2006/relationships/slideLayout" Target="../slideLayouts/slideLayout193.xml"/><Relationship Id="rId28" Type="http://schemas.openxmlformats.org/officeDocument/2006/relationships/slideLayout" Target="../slideLayouts/slideLayout198.xml"/><Relationship Id="rId10" Type="http://schemas.openxmlformats.org/officeDocument/2006/relationships/slideLayout" Target="../slideLayouts/slideLayout180.xml"/><Relationship Id="rId19" Type="http://schemas.openxmlformats.org/officeDocument/2006/relationships/slideLayout" Target="../slideLayouts/slideLayout189.xml"/><Relationship Id="rId31" Type="http://schemas.openxmlformats.org/officeDocument/2006/relationships/image" Target="../media/image70.jpeg"/><Relationship Id="rId4" Type="http://schemas.openxmlformats.org/officeDocument/2006/relationships/slideLayout" Target="../slideLayouts/slideLayout174.xml"/><Relationship Id="rId9" Type="http://schemas.openxmlformats.org/officeDocument/2006/relationships/slideLayout" Target="../slideLayouts/slideLayout179.xml"/><Relationship Id="rId14" Type="http://schemas.openxmlformats.org/officeDocument/2006/relationships/slideLayout" Target="../slideLayouts/slideLayout184.xml"/><Relationship Id="rId22" Type="http://schemas.openxmlformats.org/officeDocument/2006/relationships/slideLayout" Target="../slideLayouts/slideLayout192.xml"/><Relationship Id="rId27" Type="http://schemas.openxmlformats.org/officeDocument/2006/relationships/slideLayout" Target="../slideLayouts/slideLayout197.xml"/><Relationship Id="rId30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25.xml"/><Relationship Id="rId21" Type="http://schemas.openxmlformats.org/officeDocument/2006/relationships/slideLayout" Target="../slideLayouts/slideLayout220.xml"/><Relationship Id="rId42" Type="http://schemas.openxmlformats.org/officeDocument/2006/relationships/slideLayout" Target="../slideLayouts/slideLayout241.xml"/><Relationship Id="rId47" Type="http://schemas.openxmlformats.org/officeDocument/2006/relationships/slideLayout" Target="../slideLayouts/slideLayout246.xml"/><Relationship Id="rId63" Type="http://schemas.openxmlformats.org/officeDocument/2006/relationships/slideLayout" Target="../slideLayouts/slideLayout262.xml"/><Relationship Id="rId68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06.xml"/><Relationship Id="rId71" Type="http://schemas.openxmlformats.org/officeDocument/2006/relationships/slideLayout" Target="../slideLayouts/slideLayout270.xml"/><Relationship Id="rId2" Type="http://schemas.openxmlformats.org/officeDocument/2006/relationships/slideLayout" Target="../slideLayouts/slideLayout201.xml"/><Relationship Id="rId16" Type="http://schemas.openxmlformats.org/officeDocument/2006/relationships/slideLayout" Target="../slideLayouts/slideLayout215.xml"/><Relationship Id="rId29" Type="http://schemas.openxmlformats.org/officeDocument/2006/relationships/slideLayout" Target="../slideLayouts/slideLayout228.xml"/><Relationship Id="rId11" Type="http://schemas.openxmlformats.org/officeDocument/2006/relationships/slideLayout" Target="../slideLayouts/slideLayout210.xml"/><Relationship Id="rId24" Type="http://schemas.openxmlformats.org/officeDocument/2006/relationships/slideLayout" Target="../slideLayouts/slideLayout223.xml"/><Relationship Id="rId32" Type="http://schemas.openxmlformats.org/officeDocument/2006/relationships/slideLayout" Target="../slideLayouts/slideLayout231.xml"/><Relationship Id="rId37" Type="http://schemas.openxmlformats.org/officeDocument/2006/relationships/slideLayout" Target="../slideLayouts/slideLayout236.xml"/><Relationship Id="rId40" Type="http://schemas.openxmlformats.org/officeDocument/2006/relationships/slideLayout" Target="../slideLayouts/slideLayout239.xml"/><Relationship Id="rId45" Type="http://schemas.openxmlformats.org/officeDocument/2006/relationships/slideLayout" Target="../slideLayouts/slideLayout244.xml"/><Relationship Id="rId53" Type="http://schemas.openxmlformats.org/officeDocument/2006/relationships/slideLayout" Target="../slideLayouts/slideLayout252.xml"/><Relationship Id="rId58" Type="http://schemas.openxmlformats.org/officeDocument/2006/relationships/slideLayout" Target="../slideLayouts/slideLayout257.xml"/><Relationship Id="rId66" Type="http://schemas.openxmlformats.org/officeDocument/2006/relationships/slideLayout" Target="../slideLayouts/slideLayout265.xml"/><Relationship Id="rId5" Type="http://schemas.openxmlformats.org/officeDocument/2006/relationships/slideLayout" Target="../slideLayouts/slideLayout204.xml"/><Relationship Id="rId61" Type="http://schemas.openxmlformats.org/officeDocument/2006/relationships/slideLayout" Target="../slideLayouts/slideLayout260.xml"/><Relationship Id="rId19" Type="http://schemas.openxmlformats.org/officeDocument/2006/relationships/slideLayout" Target="../slideLayouts/slideLayout218.xml"/><Relationship Id="rId14" Type="http://schemas.openxmlformats.org/officeDocument/2006/relationships/slideLayout" Target="../slideLayouts/slideLayout213.xml"/><Relationship Id="rId22" Type="http://schemas.openxmlformats.org/officeDocument/2006/relationships/slideLayout" Target="../slideLayouts/slideLayout221.xml"/><Relationship Id="rId27" Type="http://schemas.openxmlformats.org/officeDocument/2006/relationships/slideLayout" Target="../slideLayouts/slideLayout226.xml"/><Relationship Id="rId30" Type="http://schemas.openxmlformats.org/officeDocument/2006/relationships/slideLayout" Target="../slideLayouts/slideLayout229.xml"/><Relationship Id="rId35" Type="http://schemas.openxmlformats.org/officeDocument/2006/relationships/slideLayout" Target="../slideLayouts/slideLayout234.xml"/><Relationship Id="rId43" Type="http://schemas.openxmlformats.org/officeDocument/2006/relationships/slideLayout" Target="../slideLayouts/slideLayout242.xml"/><Relationship Id="rId48" Type="http://schemas.openxmlformats.org/officeDocument/2006/relationships/slideLayout" Target="../slideLayouts/slideLayout247.xml"/><Relationship Id="rId56" Type="http://schemas.openxmlformats.org/officeDocument/2006/relationships/slideLayout" Target="../slideLayouts/slideLayout255.xml"/><Relationship Id="rId64" Type="http://schemas.openxmlformats.org/officeDocument/2006/relationships/slideLayout" Target="../slideLayouts/slideLayout263.xml"/><Relationship Id="rId69" Type="http://schemas.openxmlformats.org/officeDocument/2006/relationships/slideLayout" Target="../slideLayouts/slideLayout268.xml"/><Relationship Id="rId8" Type="http://schemas.openxmlformats.org/officeDocument/2006/relationships/slideLayout" Target="../slideLayouts/slideLayout207.xml"/><Relationship Id="rId51" Type="http://schemas.openxmlformats.org/officeDocument/2006/relationships/slideLayout" Target="../slideLayouts/slideLayout250.xml"/><Relationship Id="rId72" Type="http://schemas.openxmlformats.org/officeDocument/2006/relationships/theme" Target="../theme/theme4.xml"/><Relationship Id="rId3" Type="http://schemas.openxmlformats.org/officeDocument/2006/relationships/slideLayout" Target="../slideLayouts/slideLayout202.xml"/><Relationship Id="rId12" Type="http://schemas.openxmlformats.org/officeDocument/2006/relationships/slideLayout" Target="../slideLayouts/slideLayout211.xml"/><Relationship Id="rId17" Type="http://schemas.openxmlformats.org/officeDocument/2006/relationships/slideLayout" Target="../slideLayouts/slideLayout216.xml"/><Relationship Id="rId25" Type="http://schemas.openxmlformats.org/officeDocument/2006/relationships/slideLayout" Target="../slideLayouts/slideLayout224.xml"/><Relationship Id="rId33" Type="http://schemas.openxmlformats.org/officeDocument/2006/relationships/slideLayout" Target="../slideLayouts/slideLayout232.xml"/><Relationship Id="rId38" Type="http://schemas.openxmlformats.org/officeDocument/2006/relationships/slideLayout" Target="../slideLayouts/slideLayout237.xml"/><Relationship Id="rId46" Type="http://schemas.openxmlformats.org/officeDocument/2006/relationships/slideLayout" Target="../slideLayouts/slideLayout245.xml"/><Relationship Id="rId59" Type="http://schemas.openxmlformats.org/officeDocument/2006/relationships/slideLayout" Target="../slideLayouts/slideLayout258.xml"/><Relationship Id="rId67" Type="http://schemas.openxmlformats.org/officeDocument/2006/relationships/slideLayout" Target="../slideLayouts/slideLayout266.xml"/><Relationship Id="rId20" Type="http://schemas.openxmlformats.org/officeDocument/2006/relationships/slideLayout" Target="../slideLayouts/slideLayout219.xml"/><Relationship Id="rId41" Type="http://schemas.openxmlformats.org/officeDocument/2006/relationships/slideLayout" Target="../slideLayouts/slideLayout240.xml"/><Relationship Id="rId54" Type="http://schemas.openxmlformats.org/officeDocument/2006/relationships/slideLayout" Target="../slideLayouts/slideLayout253.xml"/><Relationship Id="rId62" Type="http://schemas.openxmlformats.org/officeDocument/2006/relationships/slideLayout" Target="../slideLayouts/slideLayout261.xml"/><Relationship Id="rId70" Type="http://schemas.openxmlformats.org/officeDocument/2006/relationships/slideLayout" Target="../slideLayouts/slideLayout269.xml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Relationship Id="rId15" Type="http://schemas.openxmlformats.org/officeDocument/2006/relationships/slideLayout" Target="../slideLayouts/slideLayout214.xml"/><Relationship Id="rId23" Type="http://schemas.openxmlformats.org/officeDocument/2006/relationships/slideLayout" Target="../slideLayouts/slideLayout222.xml"/><Relationship Id="rId28" Type="http://schemas.openxmlformats.org/officeDocument/2006/relationships/slideLayout" Target="../slideLayouts/slideLayout227.xml"/><Relationship Id="rId36" Type="http://schemas.openxmlformats.org/officeDocument/2006/relationships/slideLayout" Target="../slideLayouts/slideLayout235.xml"/><Relationship Id="rId49" Type="http://schemas.openxmlformats.org/officeDocument/2006/relationships/slideLayout" Target="../slideLayouts/slideLayout248.xml"/><Relationship Id="rId57" Type="http://schemas.openxmlformats.org/officeDocument/2006/relationships/slideLayout" Target="../slideLayouts/slideLayout256.xml"/><Relationship Id="rId10" Type="http://schemas.openxmlformats.org/officeDocument/2006/relationships/slideLayout" Target="../slideLayouts/slideLayout209.xml"/><Relationship Id="rId31" Type="http://schemas.openxmlformats.org/officeDocument/2006/relationships/slideLayout" Target="../slideLayouts/slideLayout230.xml"/><Relationship Id="rId44" Type="http://schemas.openxmlformats.org/officeDocument/2006/relationships/slideLayout" Target="../slideLayouts/slideLayout243.xml"/><Relationship Id="rId52" Type="http://schemas.openxmlformats.org/officeDocument/2006/relationships/slideLayout" Target="../slideLayouts/slideLayout251.xml"/><Relationship Id="rId60" Type="http://schemas.openxmlformats.org/officeDocument/2006/relationships/slideLayout" Target="../slideLayouts/slideLayout259.xml"/><Relationship Id="rId65" Type="http://schemas.openxmlformats.org/officeDocument/2006/relationships/slideLayout" Target="../slideLayouts/slideLayout264.xml"/><Relationship Id="rId4" Type="http://schemas.openxmlformats.org/officeDocument/2006/relationships/slideLayout" Target="../slideLayouts/slideLayout203.xml"/><Relationship Id="rId9" Type="http://schemas.openxmlformats.org/officeDocument/2006/relationships/slideLayout" Target="../slideLayouts/slideLayout208.xml"/><Relationship Id="rId13" Type="http://schemas.openxmlformats.org/officeDocument/2006/relationships/slideLayout" Target="../slideLayouts/slideLayout212.xml"/><Relationship Id="rId18" Type="http://schemas.openxmlformats.org/officeDocument/2006/relationships/slideLayout" Target="../slideLayouts/slideLayout217.xml"/><Relationship Id="rId39" Type="http://schemas.openxmlformats.org/officeDocument/2006/relationships/slideLayout" Target="../slideLayouts/slideLayout238.xml"/><Relationship Id="rId34" Type="http://schemas.openxmlformats.org/officeDocument/2006/relationships/slideLayout" Target="../slideLayouts/slideLayout233.xml"/><Relationship Id="rId50" Type="http://schemas.openxmlformats.org/officeDocument/2006/relationships/slideLayout" Target="../slideLayouts/slideLayout249.xml"/><Relationship Id="rId55" Type="http://schemas.openxmlformats.org/officeDocument/2006/relationships/slideLayout" Target="../slideLayouts/slideLayout25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3.xml"/><Relationship Id="rId18" Type="http://schemas.openxmlformats.org/officeDocument/2006/relationships/slideLayout" Target="../slideLayouts/slideLayout288.xml"/><Relationship Id="rId26" Type="http://schemas.openxmlformats.org/officeDocument/2006/relationships/slideLayout" Target="../slideLayouts/slideLayout296.xml"/><Relationship Id="rId39" Type="http://schemas.openxmlformats.org/officeDocument/2006/relationships/slideLayout" Target="../slideLayouts/slideLayout309.xml"/><Relationship Id="rId21" Type="http://schemas.openxmlformats.org/officeDocument/2006/relationships/slideLayout" Target="../slideLayouts/slideLayout291.xml"/><Relationship Id="rId34" Type="http://schemas.openxmlformats.org/officeDocument/2006/relationships/slideLayout" Target="../slideLayouts/slideLayout304.xml"/><Relationship Id="rId7" Type="http://schemas.openxmlformats.org/officeDocument/2006/relationships/slideLayout" Target="../slideLayouts/slideLayout277.xml"/><Relationship Id="rId12" Type="http://schemas.openxmlformats.org/officeDocument/2006/relationships/slideLayout" Target="../slideLayouts/slideLayout282.xml"/><Relationship Id="rId17" Type="http://schemas.openxmlformats.org/officeDocument/2006/relationships/slideLayout" Target="../slideLayouts/slideLayout287.xml"/><Relationship Id="rId25" Type="http://schemas.openxmlformats.org/officeDocument/2006/relationships/slideLayout" Target="../slideLayouts/slideLayout295.xml"/><Relationship Id="rId33" Type="http://schemas.openxmlformats.org/officeDocument/2006/relationships/slideLayout" Target="../slideLayouts/slideLayout303.xml"/><Relationship Id="rId38" Type="http://schemas.openxmlformats.org/officeDocument/2006/relationships/slideLayout" Target="../slideLayouts/slideLayout308.xml"/><Relationship Id="rId2" Type="http://schemas.openxmlformats.org/officeDocument/2006/relationships/slideLayout" Target="../slideLayouts/slideLayout272.xml"/><Relationship Id="rId16" Type="http://schemas.openxmlformats.org/officeDocument/2006/relationships/slideLayout" Target="../slideLayouts/slideLayout286.xml"/><Relationship Id="rId20" Type="http://schemas.openxmlformats.org/officeDocument/2006/relationships/slideLayout" Target="../slideLayouts/slideLayout290.xml"/><Relationship Id="rId29" Type="http://schemas.openxmlformats.org/officeDocument/2006/relationships/slideLayout" Target="../slideLayouts/slideLayout299.xml"/><Relationship Id="rId1" Type="http://schemas.openxmlformats.org/officeDocument/2006/relationships/slideLayout" Target="../slideLayouts/slideLayout271.xml"/><Relationship Id="rId6" Type="http://schemas.openxmlformats.org/officeDocument/2006/relationships/slideLayout" Target="../slideLayouts/slideLayout276.xml"/><Relationship Id="rId11" Type="http://schemas.openxmlformats.org/officeDocument/2006/relationships/slideLayout" Target="../slideLayouts/slideLayout281.xml"/><Relationship Id="rId24" Type="http://schemas.openxmlformats.org/officeDocument/2006/relationships/slideLayout" Target="../slideLayouts/slideLayout294.xml"/><Relationship Id="rId32" Type="http://schemas.openxmlformats.org/officeDocument/2006/relationships/slideLayout" Target="../slideLayouts/slideLayout302.xml"/><Relationship Id="rId37" Type="http://schemas.openxmlformats.org/officeDocument/2006/relationships/slideLayout" Target="../slideLayouts/slideLayout307.xml"/><Relationship Id="rId40" Type="http://schemas.openxmlformats.org/officeDocument/2006/relationships/theme" Target="../theme/theme5.xml"/><Relationship Id="rId5" Type="http://schemas.openxmlformats.org/officeDocument/2006/relationships/slideLayout" Target="../slideLayouts/slideLayout275.xml"/><Relationship Id="rId15" Type="http://schemas.openxmlformats.org/officeDocument/2006/relationships/slideLayout" Target="../slideLayouts/slideLayout285.xml"/><Relationship Id="rId23" Type="http://schemas.openxmlformats.org/officeDocument/2006/relationships/slideLayout" Target="../slideLayouts/slideLayout293.xml"/><Relationship Id="rId28" Type="http://schemas.openxmlformats.org/officeDocument/2006/relationships/slideLayout" Target="../slideLayouts/slideLayout298.xml"/><Relationship Id="rId36" Type="http://schemas.openxmlformats.org/officeDocument/2006/relationships/slideLayout" Target="../slideLayouts/slideLayout306.xml"/><Relationship Id="rId10" Type="http://schemas.openxmlformats.org/officeDocument/2006/relationships/slideLayout" Target="../slideLayouts/slideLayout280.xml"/><Relationship Id="rId19" Type="http://schemas.openxmlformats.org/officeDocument/2006/relationships/slideLayout" Target="../slideLayouts/slideLayout289.xml"/><Relationship Id="rId31" Type="http://schemas.openxmlformats.org/officeDocument/2006/relationships/slideLayout" Target="../slideLayouts/slideLayout301.xml"/><Relationship Id="rId4" Type="http://schemas.openxmlformats.org/officeDocument/2006/relationships/slideLayout" Target="../slideLayouts/slideLayout274.xml"/><Relationship Id="rId9" Type="http://schemas.openxmlformats.org/officeDocument/2006/relationships/slideLayout" Target="../slideLayouts/slideLayout279.xml"/><Relationship Id="rId14" Type="http://schemas.openxmlformats.org/officeDocument/2006/relationships/slideLayout" Target="../slideLayouts/slideLayout284.xml"/><Relationship Id="rId22" Type="http://schemas.openxmlformats.org/officeDocument/2006/relationships/slideLayout" Target="../slideLayouts/slideLayout292.xml"/><Relationship Id="rId27" Type="http://schemas.openxmlformats.org/officeDocument/2006/relationships/slideLayout" Target="../slideLayouts/slideLayout297.xml"/><Relationship Id="rId30" Type="http://schemas.openxmlformats.org/officeDocument/2006/relationships/slideLayout" Target="../slideLayouts/slideLayout300.xml"/><Relationship Id="rId35" Type="http://schemas.openxmlformats.org/officeDocument/2006/relationships/slideLayout" Target="../slideLayouts/slideLayout305.xml"/><Relationship Id="rId8" Type="http://schemas.openxmlformats.org/officeDocument/2006/relationships/slideLayout" Target="../slideLayouts/slideLayout278.xml"/><Relationship Id="rId3" Type="http://schemas.openxmlformats.org/officeDocument/2006/relationships/slideLayout" Target="../slideLayouts/slideLayout273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35.xml"/><Relationship Id="rId21" Type="http://schemas.openxmlformats.org/officeDocument/2006/relationships/slideLayout" Target="../slideLayouts/slideLayout330.xml"/><Relationship Id="rId34" Type="http://schemas.openxmlformats.org/officeDocument/2006/relationships/slideLayout" Target="../slideLayouts/slideLayout343.xml"/><Relationship Id="rId42" Type="http://schemas.openxmlformats.org/officeDocument/2006/relationships/slideLayout" Target="../slideLayouts/slideLayout351.xml"/><Relationship Id="rId47" Type="http://schemas.openxmlformats.org/officeDocument/2006/relationships/slideLayout" Target="../slideLayouts/slideLayout356.xml"/><Relationship Id="rId50" Type="http://schemas.openxmlformats.org/officeDocument/2006/relationships/slideLayout" Target="../slideLayouts/slideLayout359.xml"/><Relationship Id="rId55" Type="http://schemas.openxmlformats.org/officeDocument/2006/relationships/slideLayout" Target="../slideLayouts/slideLayout364.xml"/><Relationship Id="rId63" Type="http://schemas.openxmlformats.org/officeDocument/2006/relationships/slideLayout" Target="../slideLayouts/slideLayout372.xml"/><Relationship Id="rId7" Type="http://schemas.openxmlformats.org/officeDocument/2006/relationships/slideLayout" Target="../slideLayouts/slideLayout316.xml"/><Relationship Id="rId2" Type="http://schemas.openxmlformats.org/officeDocument/2006/relationships/slideLayout" Target="../slideLayouts/slideLayout311.xml"/><Relationship Id="rId16" Type="http://schemas.openxmlformats.org/officeDocument/2006/relationships/slideLayout" Target="../slideLayouts/slideLayout325.xml"/><Relationship Id="rId29" Type="http://schemas.openxmlformats.org/officeDocument/2006/relationships/slideLayout" Target="../slideLayouts/slideLayout338.xml"/><Relationship Id="rId11" Type="http://schemas.openxmlformats.org/officeDocument/2006/relationships/slideLayout" Target="../slideLayouts/slideLayout320.xml"/><Relationship Id="rId24" Type="http://schemas.openxmlformats.org/officeDocument/2006/relationships/slideLayout" Target="../slideLayouts/slideLayout333.xml"/><Relationship Id="rId32" Type="http://schemas.openxmlformats.org/officeDocument/2006/relationships/slideLayout" Target="../slideLayouts/slideLayout341.xml"/><Relationship Id="rId37" Type="http://schemas.openxmlformats.org/officeDocument/2006/relationships/slideLayout" Target="../slideLayouts/slideLayout346.xml"/><Relationship Id="rId40" Type="http://schemas.openxmlformats.org/officeDocument/2006/relationships/slideLayout" Target="../slideLayouts/slideLayout349.xml"/><Relationship Id="rId45" Type="http://schemas.openxmlformats.org/officeDocument/2006/relationships/slideLayout" Target="../slideLayouts/slideLayout354.xml"/><Relationship Id="rId53" Type="http://schemas.openxmlformats.org/officeDocument/2006/relationships/slideLayout" Target="../slideLayouts/slideLayout362.xml"/><Relationship Id="rId58" Type="http://schemas.openxmlformats.org/officeDocument/2006/relationships/slideLayout" Target="../slideLayouts/slideLayout367.xml"/><Relationship Id="rId5" Type="http://schemas.openxmlformats.org/officeDocument/2006/relationships/slideLayout" Target="../slideLayouts/slideLayout314.xml"/><Relationship Id="rId61" Type="http://schemas.openxmlformats.org/officeDocument/2006/relationships/slideLayout" Target="../slideLayouts/slideLayout370.xml"/><Relationship Id="rId19" Type="http://schemas.openxmlformats.org/officeDocument/2006/relationships/slideLayout" Target="../slideLayouts/slideLayout328.xml"/><Relationship Id="rId14" Type="http://schemas.openxmlformats.org/officeDocument/2006/relationships/slideLayout" Target="../slideLayouts/slideLayout323.xml"/><Relationship Id="rId22" Type="http://schemas.openxmlformats.org/officeDocument/2006/relationships/slideLayout" Target="../slideLayouts/slideLayout331.xml"/><Relationship Id="rId27" Type="http://schemas.openxmlformats.org/officeDocument/2006/relationships/slideLayout" Target="../slideLayouts/slideLayout336.xml"/><Relationship Id="rId30" Type="http://schemas.openxmlformats.org/officeDocument/2006/relationships/slideLayout" Target="../slideLayouts/slideLayout339.xml"/><Relationship Id="rId35" Type="http://schemas.openxmlformats.org/officeDocument/2006/relationships/slideLayout" Target="../slideLayouts/slideLayout344.xml"/><Relationship Id="rId43" Type="http://schemas.openxmlformats.org/officeDocument/2006/relationships/slideLayout" Target="../slideLayouts/slideLayout352.xml"/><Relationship Id="rId48" Type="http://schemas.openxmlformats.org/officeDocument/2006/relationships/slideLayout" Target="../slideLayouts/slideLayout357.xml"/><Relationship Id="rId56" Type="http://schemas.openxmlformats.org/officeDocument/2006/relationships/slideLayout" Target="../slideLayouts/slideLayout365.xml"/><Relationship Id="rId64" Type="http://schemas.openxmlformats.org/officeDocument/2006/relationships/slideLayout" Target="../slideLayouts/slideLayout373.xml"/><Relationship Id="rId8" Type="http://schemas.openxmlformats.org/officeDocument/2006/relationships/slideLayout" Target="../slideLayouts/slideLayout317.xml"/><Relationship Id="rId51" Type="http://schemas.openxmlformats.org/officeDocument/2006/relationships/slideLayout" Target="../slideLayouts/slideLayout360.xml"/><Relationship Id="rId3" Type="http://schemas.openxmlformats.org/officeDocument/2006/relationships/slideLayout" Target="../slideLayouts/slideLayout312.xml"/><Relationship Id="rId12" Type="http://schemas.openxmlformats.org/officeDocument/2006/relationships/slideLayout" Target="../slideLayouts/slideLayout321.xml"/><Relationship Id="rId17" Type="http://schemas.openxmlformats.org/officeDocument/2006/relationships/slideLayout" Target="../slideLayouts/slideLayout326.xml"/><Relationship Id="rId25" Type="http://schemas.openxmlformats.org/officeDocument/2006/relationships/slideLayout" Target="../slideLayouts/slideLayout334.xml"/><Relationship Id="rId33" Type="http://schemas.openxmlformats.org/officeDocument/2006/relationships/slideLayout" Target="../slideLayouts/slideLayout342.xml"/><Relationship Id="rId38" Type="http://schemas.openxmlformats.org/officeDocument/2006/relationships/slideLayout" Target="../slideLayouts/slideLayout347.xml"/><Relationship Id="rId46" Type="http://schemas.openxmlformats.org/officeDocument/2006/relationships/slideLayout" Target="../slideLayouts/slideLayout355.xml"/><Relationship Id="rId59" Type="http://schemas.openxmlformats.org/officeDocument/2006/relationships/slideLayout" Target="../slideLayouts/slideLayout368.xml"/><Relationship Id="rId20" Type="http://schemas.openxmlformats.org/officeDocument/2006/relationships/slideLayout" Target="../slideLayouts/slideLayout329.xml"/><Relationship Id="rId41" Type="http://schemas.openxmlformats.org/officeDocument/2006/relationships/slideLayout" Target="../slideLayouts/slideLayout350.xml"/><Relationship Id="rId54" Type="http://schemas.openxmlformats.org/officeDocument/2006/relationships/slideLayout" Target="../slideLayouts/slideLayout363.xml"/><Relationship Id="rId62" Type="http://schemas.openxmlformats.org/officeDocument/2006/relationships/slideLayout" Target="../slideLayouts/slideLayout371.xml"/><Relationship Id="rId1" Type="http://schemas.openxmlformats.org/officeDocument/2006/relationships/slideLayout" Target="../slideLayouts/slideLayout310.xml"/><Relationship Id="rId6" Type="http://schemas.openxmlformats.org/officeDocument/2006/relationships/slideLayout" Target="../slideLayouts/slideLayout315.xml"/><Relationship Id="rId15" Type="http://schemas.openxmlformats.org/officeDocument/2006/relationships/slideLayout" Target="../slideLayouts/slideLayout324.xml"/><Relationship Id="rId23" Type="http://schemas.openxmlformats.org/officeDocument/2006/relationships/slideLayout" Target="../slideLayouts/slideLayout332.xml"/><Relationship Id="rId28" Type="http://schemas.openxmlformats.org/officeDocument/2006/relationships/slideLayout" Target="../slideLayouts/slideLayout337.xml"/><Relationship Id="rId36" Type="http://schemas.openxmlformats.org/officeDocument/2006/relationships/slideLayout" Target="../slideLayouts/slideLayout345.xml"/><Relationship Id="rId49" Type="http://schemas.openxmlformats.org/officeDocument/2006/relationships/slideLayout" Target="../slideLayouts/slideLayout358.xml"/><Relationship Id="rId57" Type="http://schemas.openxmlformats.org/officeDocument/2006/relationships/slideLayout" Target="../slideLayouts/slideLayout366.xml"/><Relationship Id="rId10" Type="http://schemas.openxmlformats.org/officeDocument/2006/relationships/slideLayout" Target="../slideLayouts/slideLayout319.xml"/><Relationship Id="rId31" Type="http://schemas.openxmlformats.org/officeDocument/2006/relationships/slideLayout" Target="../slideLayouts/slideLayout340.xml"/><Relationship Id="rId44" Type="http://schemas.openxmlformats.org/officeDocument/2006/relationships/slideLayout" Target="../slideLayouts/slideLayout353.xml"/><Relationship Id="rId52" Type="http://schemas.openxmlformats.org/officeDocument/2006/relationships/slideLayout" Target="../slideLayouts/slideLayout361.xml"/><Relationship Id="rId60" Type="http://schemas.openxmlformats.org/officeDocument/2006/relationships/slideLayout" Target="../slideLayouts/slideLayout369.xml"/><Relationship Id="rId65" Type="http://schemas.openxmlformats.org/officeDocument/2006/relationships/theme" Target="../theme/theme6.xml"/><Relationship Id="rId4" Type="http://schemas.openxmlformats.org/officeDocument/2006/relationships/slideLayout" Target="../slideLayouts/slideLayout313.xml"/><Relationship Id="rId9" Type="http://schemas.openxmlformats.org/officeDocument/2006/relationships/slideLayout" Target="../slideLayouts/slideLayout318.xml"/><Relationship Id="rId13" Type="http://schemas.openxmlformats.org/officeDocument/2006/relationships/slideLayout" Target="../slideLayouts/slideLayout322.xml"/><Relationship Id="rId18" Type="http://schemas.openxmlformats.org/officeDocument/2006/relationships/slideLayout" Target="../slideLayouts/slideLayout327.xml"/><Relationship Id="rId39" Type="http://schemas.openxmlformats.org/officeDocument/2006/relationships/slideLayout" Target="../slideLayouts/slideLayout348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86.xml"/><Relationship Id="rId18" Type="http://schemas.openxmlformats.org/officeDocument/2006/relationships/slideLayout" Target="../slideLayouts/slideLayout391.xml"/><Relationship Id="rId26" Type="http://schemas.openxmlformats.org/officeDocument/2006/relationships/slideLayout" Target="../slideLayouts/slideLayout399.xml"/><Relationship Id="rId3" Type="http://schemas.openxmlformats.org/officeDocument/2006/relationships/slideLayout" Target="../slideLayouts/slideLayout376.xml"/><Relationship Id="rId21" Type="http://schemas.openxmlformats.org/officeDocument/2006/relationships/slideLayout" Target="../slideLayouts/slideLayout394.xml"/><Relationship Id="rId34" Type="http://schemas.openxmlformats.org/officeDocument/2006/relationships/theme" Target="../theme/theme7.xml"/><Relationship Id="rId7" Type="http://schemas.openxmlformats.org/officeDocument/2006/relationships/slideLayout" Target="../slideLayouts/slideLayout380.xml"/><Relationship Id="rId12" Type="http://schemas.openxmlformats.org/officeDocument/2006/relationships/slideLayout" Target="../slideLayouts/slideLayout385.xml"/><Relationship Id="rId17" Type="http://schemas.openxmlformats.org/officeDocument/2006/relationships/slideLayout" Target="../slideLayouts/slideLayout390.xml"/><Relationship Id="rId25" Type="http://schemas.openxmlformats.org/officeDocument/2006/relationships/slideLayout" Target="../slideLayouts/slideLayout398.xml"/><Relationship Id="rId33" Type="http://schemas.openxmlformats.org/officeDocument/2006/relationships/slideLayout" Target="../slideLayouts/slideLayout406.xml"/><Relationship Id="rId2" Type="http://schemas.openxmlformats.org/officeDocument/2006/relationships/slideLayout" Target="../slideLayouts/slideLayout375.xml"/><Relationship Id="rId16" Type="http://schemas.openxmlformats.org/officeDocument/2006/relationships/slideLayout" Target="../slideLayouts/slideLayout389.xml"/><Relationship Id="rId20" Type="http://schemas.openxmlformats.org/officeDocument/2006/relationships/slideLayout" Target="../slideLayouts/slideLayout393.xml"/><Relationship Id="rId29" Type="http://schemas.openxmlformats.org/officeDocument/2006/relationships/slideLayout" Target="../slideLayouts/slideLayout402.xml"/><Relationship Id="rId1" Type="http://schemas.openxmlformats.org/officeDocument/2006/relationships/slideLayout" Target="../slideLayouts/slideLayout374.xml"/><Relationship Id="rId6" Type="http://schemas.openxmlformats.org/officeDocument/2006/relationships/slideLayout" Target="../slideLayouts/slideLayout379.xml"/><Relationship Id="rId11" Type="http://schemas.openxmlformats.org/officeDocument/2006/relationships/slideLayout" Target="../slideLayouts/slideLayout384.xml"/><Relationship Id="rId24" Type="http://schemas.openxmlformats.org/officeDocument/2006/relationships/slideLayout" Target="../slideLayouts/slideLayout397.xml"/><Relationship Id="rId32" Type="http://schemas.openxmlformats.org/officeDocument/2006/relationships/slideLayout" Target="../slideLayouts/slideLayout405.xml"/><Relationship Id="rId5" Type="http://schemas.openxmlformats.org/officeDocument/2006/relationships/slideLayout" Target="../slideLayouts/slideLayout378.xml"/><Relationship Id="rId15" Type="http://schemas.openxmlformats.org/officeDocument/2006/relationships/slideLayout" Target="../slideLayouts/slideLayout388.xml"/><Relationship Id="rId23" Type="http://schemas.openxmlformats.org/officeDocument/2006/relationships/slideLayout" Target="../slideLayouts/slideLayout396.xml"/><Relationship Id="rId28" Type="http://schemas.openxmlformats.org/officeDocument/2006/relationships/slideLayout" Target="../slideLayouts/slideLayout401.xml"/><Relationship Id="rId10" Type="http://schemas.openxmlformats.org/officeDocument/2006/relationships/slideLayout" Target="../slideLayouts/slideLayout383.xml"/><Relationship Id="rId19" Type="http://schemas.openxmlformats.org/officeDocument/2006/relationships/slideLayout" Target="../slideLayouts/slideLayout392.xml"/><Relationship Id="rId31" Type="http://schemas.openxmlformats.org/officeDocument/2006/relationships/slideLayout" Target="../slideLayouts/slideLayout404.xml"/><Relationship Id="rId4" Type="http://schemas.openxmlformats.org/officeDocument/2006/relationships/slideLayout" Target="../slideLayouts/slideLayout377.xml"/><Relationship Id="rId9" Type="http://schemas.openxmlformats.org/officeDocument/2006/relationships/slideLayout" Target="../slideLayouts/slideLayout382.xml"/><Relationship Id="rId14" Type="http://schemas.openxmlformats.org/officeDocument/2006/relationships/slideLayout" Target="../slideLayouts/slideLayout387.xml"/><Relationship Id="rId22" Type="http://schemas.openxmlformats.org/officeDocument/2006/relationships/slideLayout" Target="../slideLayouts/slideLayout395.xml"/><Relationship Id="rId27" Type="http://schemas.openxmlformats.org/officeDocument/2006/relationships/slideLayout" Target="../slideLayouts/slideLayout400.xml"/><Relationship Id="rId30" Type="http://schemas.openxmlformats.org/officeDocument/2006/relationships/slideLayout" Target="../slideLayouts/slideLayout403.xml"/><Relationship Id="rId8" Type="http://schemas.openxmlformats.org/officeDocument/2006/relationships/slideLayout" Target="../slideLayouts/slideLayout381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19.xml"/><Relationship Id="rId18" Type="http://schemas.openxmlformats.org/officeDocument/2006/relationships/slideLayout" Target="../slideLayouts/slideLayout424.xml"/><Relationship Id="rId26" Type="http://schemas.openxmlformats.org/officeDocument/2006/relationships/slideLayout" Target="../slideLayouts/slideLayout432.xml"/><Relationship Id="rId39" Type="http://schemas.openxmlformats.org/officeDocument/2006/relationships/slideLayout" Target="../slideLayouts/slideLayout445.xml"/><Relationship Id="rId21" Type="http://schemas.openxmlformats.org/officeDocument/2006/relationships/slideLayout" Target="../slideLayouts/slideLayout427.xml"/><Relationship Id="rId34" Type="http://schemas.openxmlformats.org/officeDocument/2006/relationships/slideLayout" Target="../slideLayouts/slideLayout440.xml"/><Relationship Id="rId42" Type="http://schemas.openxmlformats.org/officeDocument/2006/relationships/slideLayout" Target="../slideLayouts/slideLayout448.xml"/><Relationship Id="rId47" Type="http://schemas.openxmlformats.org/officeDocument/2006/relationships/slideLayout" Target="../slideLayouts/slideLayout453.xml"/><Relationship Id="rId50" Type="http://schemas.openxmlformats.org/officeDocument/2006/relationships/slideLayout" Target="../slideLayouts/slideLayout456.xml"/><Relationship Id="rId55" Type="http://schemas.openxmlformats.org/officeDocument/2006/relationships/slideLayout" Target="../slideLayouts/slideLayout461.xml"/><Relationship Id="rId7" Type="http://schemas.openxmlformats.org/officeDocument/2006/relationships/slideLayout" Target="../slideLayouts/slideLayout413.xml"/><Relationship Id="rId2" Type="http://schemas.openxmlformats.org/officeDocument/2006/relationships/slideLayout" Target="../slideLayouts/slideLayout408.xml"/><Relationship Id="rId16" Type="http://schemas.openxmlformats.org/officeDocument/2006/relationships/slideLayout" Target="../slideLayouts/slideLayout422.xml"/><Relationship Id="rId29" Type="http://schemas.openxmlformats.org/officeDocument/2006/relationships/slideLayout" Target="../slideLayouts/slideLayout435.xml"/><Relationship Id="rId11" Type="http://schemas.openxmlformats.org/officeDocument/2006/relationships/slideLayout" Target="../slideLayouts/slideLayout417.xml"/><Relationship Id="rId24" Type="http://schemas.openxmlformats.org/officeDocument/2006/relationships/slideLayout" Target="../slideLayouts/slideLayout430.xml"/><Relationship Id="rId32" Type="http://schemas.openxmlformats.org/officeDocument/2006/relationships/slideLayout" Target="../slideLayouts/slideLayout438.xml"/><Relationship Id="rId37" Type="http://schemas.openxmlformats.org/officeDocument/2006/relationships/slideLayout" Target="../slideLayouts/slideLayout443.xml"/><Relationship Id="rId40" Type="http://schemas.openxmlformats.org/officeDocument/2006/relationships/slideLayout" Target="../slideLayouts/slideLayout446.xml"/><Relationship Id="rId45" Type="http://schemas.openxmlformats.org/officeDocument/2006/relationships/slideLayout" Target="../slideLayouts/slideLayout451.xml"/><Relationship Id="rId53" Type="http://schemas.openxmlformats.org/officeDocument/2006/relationships/slideLayout" Target="../slideLayouts/slideLayout459.xml"/><Relationship Id="rId58" Type="http://schemas.openxmlformats.org/officeDocument/2006/relationships/slideLayout" Target="../slideLayouts/slideLayout464.xml"/><Relationship Id="rId5" Type="http://schemas.openxmlformats.org/officeDocument/2006/relationships/slideLayout" Target="../slideLayouts/slideLayout411.xml"/><Relationship Id="rId19" Type="http://schemas.openxmlformats.org/officeDocument/2006/relationships/slideLayout" Target="../slideLayouts/slideLayout425.xml"/><Relationship Id="rId4" Type="http://schemas.openxmlformats.org/officeDocument/2006/relationships/slideLayout" Target="../slideLayouts/slideLayout410.xml"/><Relationship Id="rId9" Type="http://schemas.openxmlformats.org/officeDocument/2006/relationships/slideLayout" Target="../slideLayouts/slideLayout415.xml"/><Relationship Id="rId14" Type="http://schemas.openxmlformats.org/officeDocument/2006/relationships/slideLayout" Target="../slideLayouts/slideLayout420.xml"/><Relationship Id="rId22" Type="http://schemas.openxmlformats.org/officeDocument/2006/relationships/slideLayout" Target="../slideLayouts/slideLayout428.xml"/><Relationship Id="rId27" Type="http://schemas.openxmlformats.org/officeDocument/2006/relationships/slideLayout" Target="../slideLayouts/slideLayout433.xml"/><Relationship Id="rId30" Type="http://schemas.openxmlformats.org/officeDocument/2006/relationships/slideLayout" Target="../slideLayouts/slideLayout436.xml"/><Relationship Id="rId35" Type="http://schemas.openxmlformats.org/officeDocument/2006/relationships/slideLayout" Target="../slideLayouts/slideLayout441.xml"/><Relationship Id="rId43" Type="http://schemas.openxmlformats.org/officeDocument/2006/relationships/slideLayout" Target="../slideLayouts/slideLayout449.xml"/><Relationship Id="rId48" Type="http://schemas.openxmlformats.org/officeDocument/2006/relationships/slideLayout" Target="../slideLayouts/slideLayout454.xml"/><Relationship Id="rId56" Type="http://schemas.openxmlformats.org/officeDocument/2006/relationships/slideLayout" Target="../slideLayouts/slideLayout462.xml"/><Relationship Id="rId8" Type="http://schemas.openxmlformats.org/officeDocument/2006/relationships/slideLayout" Target="../slideLayouts/slideLayout414.xml"/><Relationship Id="rId51" Type="http://schemas.openxmlformats.org/officeDocument/2006/relationships/slideLayout" Target="../slideLayouts/slideLayout457.xml"/><Relationship Id="rId3" Type="http://schemas.openxmlformats.org/officeDocument/2006/relationships/slideLayout" Target="../slideLayouts/slideLayout409.xml"/><Relationship Id="rId12" Type="http://schemas.openxmlformats.org/officeDocument/2006/relationships/slideLayout" Target="../slideLayouts/slideLayout418.xml"/><Relationship Id="rId17" Type="http://schemas.openxmlformats.org/officeDocument/2006/relationships/slideLayout" Target="../slideLayouts/slideLayout423.xml"/><Relationship Id="rId25" Type="http://schemas.openxmlformats.org/officeDocument/2006/relationships/slideLayout" Target="../slideLayouts/slideLayout431.xml"/><Relationship Id="rId33" Type="http://schemas.openxmlformats.org/officeDocument/2006/relationships/slideLayout" Target="../slideLayouts/slideLayout439.xml"/><Relationship Id="rId38" Type="http://schemas.openxmlformats.org/officeDocument/2006/relationships/slideLayout" Target="../slideLayouts/slideLayout444.xml"/><Relationship Id="rId46" Type="http://schemas.openxmlformats.org/officeDocument/2006/relationships/slideLayout" Target="../slideLayouts/slideLayout452.xml"/><Relationship Id="rId59" Type="http://schemas.openxmlformats.org/officeDocument/2006/relationships/slideLayout" Target="../slideLayouts/slideLayout465.xml"/><Relationship Id="rId20" Type="http://schemas.openxmlformats.org/officeDocument/2006/relationships/slideLayout" Target="../slideLayouts/slideLayout426.xml"/><Relationship Id="rId41" Type="http://schemas.openxmlformats.org/officeDocument/2006/relationships/slideLayout" Target="../slideLayouts/slideLayout447.xml"/><Relationship Id="rId54" Type="http://schemas.openxmlformats.org/officeDocument/2006/relationships/slideLayout" Target="../slideLayouts/slideLayout460.xml"/><Relationship Id="rId1" Type="http://schemas.openxmlformats.org/officeDocument/2006/relationships/slideLayout" Target="../slideLayouts/slideLayout407.xml"/><Relationship Id="rId6" Type="http://schemas.openxmlformats.org/officeDocument/2006/relationships/slideLayout" Target="../slideLayouts/slideLayout412.xml"/><Relationship Id="rId15" Type="http://schemas.openxmlformats.org/officeDocument/2006/relationships/slideLayout" Target="../slideLayouts/slideLayout421.xml"/><Relationship Id="rId23" Type="http://schemas.openxmlformats.org/officeDocument/2006/relationships/slideLayout" Target="../slideLayouts/slideLayout429.xml"/><Relationship Id="rId28" Type="http://schemas.openxmlformats.org/officeDocument/2006/relationships/slideLayout" Target="../slideLayouts/slideLayout434.xml"/><Relationship Id="rId36" Type="http://schemas.openxmlformats.org/officeDocument/2006/relationships/slideLayout" Target="../slideLayouts/slideLayout442.xml"/><Relationship Id="rId49" Type="http://schemas.openxmlformats.org/officeDocument/2006/relationships/slideLayout" Target="../slideLayouts/slideLayout455.xml"/><Relationship Id="rId57" Type="http://schemas.openxmlformats.org/officeDocument/2006/relationships/slideLayout" Target="../slideLayouts/slideLayout463.xml"/><Relationship Id="rId10" Type="http://schemas.openxmlformats.org/officeDocument/2006/relationships/slideLayout" Target="../slideLayouts/slideLayout416.xml"/><Relationship Id="rId31" Type="http://schemas.openxmlformats.org/officeDocument/2006/relationships/slideLayout" Target="../slideLayouts/slideLayout437.xml"/><Relationship Id="rId44" Type="http://schemas.openxmlformats.org/officeDocument/2006/relationships/slideLayout" Target="../slideLayouts/slideLayout450.xml"/><Relationship Id="rId52" Type="http://schemas.openxmlformats.org/officeDocument/2006/relationships/slideLayout" Target="../slideLayouts/slideLayout458.xml"/><Relationship Id="rId60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id="{1F567F6C-D338-422E-A606-9CA512862C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0615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A22924BB-56FD-4775-AEBE-67E63234BC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849731"/>
            <a:ext cx="10515600" cy="33272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8FCDDDB3-6CF6-467A-89A4-269A2BDB7E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CE4D98-51CE-4671-9A48-B2D784489D9D}" type="datetime1">
              <a:rPr lang="pl-PL" smtClean="0"/>
              <a:t>29.10.2024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52E2A209-D591-4DF2-939B-A5307461D0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D0E84103-1A24-41B7-BF54-5362C7DF07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99D49-E9B0-4648-A2A0-22D531008F3A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6119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4" r:id="rId1"/>
    <p:sldLayoutId id="2147484445" r:id="rId2"/>
    <p:sldLayoutId id="2147484446" r:id="rId3"/>
    <p:sldLayoutId id="2147484447" r:id="rId4"/>
    <p:sldLayoutId id="2147484448" r:id="rId5"/>
    <p:sldLayoutId id="2147484449" r:id="rId6"/>
    <p:sldLayoutId id="2147484450" r:id="rId7"/>
    <p:sldLayoutId id="2147484451" r:id="rId8"/>
    <p:sldLayoutId id="2147484452" r:id="rId9"/>
    <p:sldLayoutId id="2147484453" r:id="rId10"/>
    <p:sldLayoutId id="2147484454" r:id="rId11"/>
    <p:sldLayoutId id="2147484455" r:id="rId12"/>
    <p:sldLayoutId id="2147485422" r:id="rId13"/>
    <p:sldLayoutId id="2147484456" r:id="rId14"/>
    <p:sldLayoutId id="2147484457" r:id="rId15"/>
    <p:sldLayoutId id="2147484458" r:id="rId16"/>
    <p:sldLayoutId id="2147484459" r:id="rId17"/>
    <p:sldLayoutId id="2147484460" r:id="rId18"/>
    <p:sldLayoutId id="2147484461" r:id="rId19"/>
    <p:sldLayoutId id="2147484462" r:id="rId20"/>
    <p:sldLayoutId id="2147484463" r:id="rId21"/>
    <p:sldLayoutId id="2147484464" r:id="rId22"/>
    <p:sldLayoutId id="2147484465" r:id="rId23"/>
    <p:sldLayoutId id="2147484466" r:id="rId24"/>
    <p:sldLayoutId id="2147484467" r:id="rId25"/>
    <p:sldLayoutId id="2147484468" r:id="rId26"/>
    <p:sldLayoutId id="2147484469" r:id="rId27"/>
    <p:sldLayoutId id="2147484470" r:id="rId28"/>
    <p:sldLayoutId id="2147484471" r:id="rId29"/>
    <p:sldLayoutId id="2147484472" r:id="rId30"/>
    <p:sldLayoutId id="2147485456" r:id="rId31"/>
    <p:sldLayoutId id="2147484473" r:id="rId32"/>
    <p:sldLayoutId id="2147484474" r:id="rId33"/>
    <p:sldLayoutId id="2147484475" r:id="rId34"/>
    <p:sldLayoutId id="2147485457" r:id="rId35"/>
    <p:sldLayoutId id="2147484476" r:id="rId36"/>
    <p:sldLayoutId id="2147484477" r:id="rId37"/>
    <p:sldLayoutId id="2147485423" r:id="rId38"/>
    <p:sldLayoutId id="2147485424" r:id="rId39"/>
    <p:sldLayoutId id="2147485425" r:id="rId40"/>
    <p:sldLayoutId id="2147485426" r:id="rId41"/>
    <p:sldLayoutId id="2147485428" r:id="rId42"/>
    <p:sldLayoutId id="2147485427" r:id="rId43"/>
    <p:sldLayoutId id="2147485429" r:id="rId44"/>
    <p:sldLayoutId id="2147485430" r:id="rId45"/>
    <p:sldLayoutId id="2147485431" r:id="rId46"/>
    <p:sldLayoutId id="2147485432" r:id="rId47"/>
    <p:sldLayoutId id="2147485433" r:id="rId48"/>
    <p:sldLayoutId id="2147485434" r:id="rId49"/>
    <p:sldLayoutId id="2147485435" r:id="rId50"/>
    <p:sldLayoutId id="2147485436" r:id="rId51"/>
    <p:sldLayoutId id="2147485437" r:id="rId52"/>
    <p:sldLayoutId id="2147485438" r:id="rId53"/>
    <p:sldLayoutId id="2147485439" r:id="rId54"/>
    <p:sldLayoutId id="2147485440" r:id="rId55"/>
    <p:sldLayoutId id="2147485441" r:id="rId56"/>
    <p:sldLayoutId id="2147485442" r:id="rId57"/>
    <p:sldLayoutId id="2147485443" r:id="rId58"/>
    <p:sldLayoutId id="2147485444" r:id="rId59"/>
    <p:sldLayoutId id="2147485445" r:id="rId60"/>
    <p:sldLayoutId id="2147485446" r:id="rId61"/>
    <p:sldLayoutId id="2147485447" r:id="rId62"/>
    <p:sldLayoutId id="2147485448" r:id="rId63"/>
    <p:sldLayoutId id="2147484118" r:id="rId64"/>
    <p:sldLayoutId id="2147484136" r:id="rId65"/>
    <p:sldLayoutId id="2147484137" r:id="rId66"/>
    <p:sldLayoutId id="2147484139" r:id="rId67"/>
    <p:sldLayoutId id="2147484141" r:id="rId68"/>
    <p:sldLayoutId id="2147484142" r:id="rId69"/>
    <p:sldLayoutId id="2147484143" r:id="rId70"/>
    <p:sldLayoutId id="2147484144" r:id="rId71"/>
    <p:sldLayoutId id="2147484145" r:id="rId72"/>
    <p:sldLayoutId id="2147484148" r:id="rId73"/>
    <p:sldLayoutId id="2147485747" r:id="rId74"/>
    <p:sldLayoutId id="2147485748" r:id="rId75"/>
    <p:sldLayoutId id="2147485766" r:id="rId76"/>
    <p:sldLayoutId id="2147485767" r:id="rId77"/>
    <p:sldLayoutId id="2147485768" r:id="rId78"/>
    <p:sldLayoutId id="2147485771" r:id="rId79"/>
    <p:sldLayoutId id="2147485780" r:id="rId80"/>
    <p:sldLayoutId id="2147485804" r:id="rId81"/>
    <p:sldLayoutId id="2147485805" r:id="rId82"/>
    <p:sldLayoutId id="2147485806" r:id="rId83"/>
    <p:sldLayoutId id="2147485807" r:id="rId84"/>
    <p:sldLayoutId id="2147485808" r:id="rId85"/>
    <p:sldLayoutId id="2147486052" r:id="rId86"/>
    <p:sldLayoutId id="2147486118" r:id="rId87"/>
    <p:sldLayoutId id="2147486119" r:id="rId88"/>
    <p:sldLayoutId id="2147486120" r:id="rId89"/>
    <p:sldLayoutId id="2147486121" r:id="rId90"/>
    <p:sldLayoutId id="2147486122" r:id="rId91"/>
    <p:sldLayoutId id="2147486123" r:id="rId92"/>
    <p:sldLayoutId id="2147486124" r:id="rId93"/>
    <p:sldLayoutId id="2147486125" r:id="rId94"/>
    <p:sldLayoutId id="2147486126" r:id="rId95"/>
    <p:sldLayoutId id="2147486127" r:id="rId96"/>
    <p:sldLayoutId id="2147486128" r:id="rId97"/>
    <p:sldLayoutId id="2147486129" r:id="rId98"/>
    <p:sldLayoutId id="2147486130" r:id="rId99"/>
    <p:sldLayoutId id="2147486131" r:id="rId100"/>
    <p:sldLayoutId id="2147486132" r:id="rId101"/>
    <p:sldLayoutId id="2147486133" r:id="rId102"/>
    <p:sldLayoutId id="2147486134" r:id="rId103"/>
    <p:sldLayoutId id="2147486135" r:id="rId104"/>
    <p:sldLayoutId id="2147486136" r:id="rId105"/>
    <p:sldLayoutId id="2147486137" r:id="rId106"/>
    <p:sldLayoutId id="2147486138" r:id="rId107"/>
    <p:sldLayoutId id="2147486139" r:id="rId108"/>
    <p:sldLayoutId id="2147486140" r:id="rId109"/>
    <p:sldLayoutId id="2147486141" r:id="rId110"/>
    <p:sldLayoutId id="2147486142" r:id="rId111"/>
    <p:sldLayoutId id="2147486143" r:id="rId112"/>
    <p:sldLayoutId id="2147486144" r:id="rId113"/>
    <p:sldLayoutId id="2147486145" r:id="rId114"/>
    <p:sldLayoutId id="2147486146" r:id="rId115"/>
    <p:sldLayoutId id="2147486147" r:id="rId116"/>
    <p:sldLayoutId id="2147486148" r:id="rId117"/>
    <p:sldLayoutId id="2147486149" r:id="rId118"/>
    <p:sldLayoutId id="2147486150" r:id="rId119"/>
    <p:sldLayoutId id="2147486151" r:id="rId120"/>
    <p:sldLayoutId id="2147486152" r:id="rId121"/>
    <p:sldLayoutId id="2147486153" r:id="rId122"/>
    <p:sldLayoutId id="2147486154" r:id="rId123"/>
    <p:sldLayoutId id="2147486155" r:id="rId124"/>
    <p:sldLayoutId id="2147486158" r:id="rId125"/>
    <p:sldLayoutId id="2147486159" r:id="rId126"/>
    <p:sldLayoutId id="2147486160" r:id="rId127"/>
    <p:sldLayoutId id="2147486161" r:id="rId128"/>
    <p:sldLayoutId id="2147486162" r:id="rId129"/>
    <p:sldLayoutId id="2147486228" r:id="rId130"/>
    <p:sldLayoutId id="2147486230" r:id="rId131"/>
    <p:sldLayoutId id="2147486725" r:id="rId132"/>
    <p:sldLayoutId id="2147486862" r:id="rId133"/>
    <p:sldLayoutId id="2147486876" r:id="rId134"/>
    <p:sldLayoutId id="2147486928" r:id="rId135"/>
    <p:sldLayoutId id="2147486929" r:id="rId136"/>
    <p:sldLayoutId id="2147487001" r:id="rId13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42900" algn="l" defTabSz="914400" rtl="0" eaLnBrk="1" latinLnBrk="0" hangingPunct="1">
        <a:lnSpc>
          <a:spcPct val="114000"/>
        </a:lnSpc>
        <a:spcBef>
          <a:spcPts val="1000"/>
        </a:spcBef>
        <a:buFont typeface="Arial" panose="020B0604020202020204" pitchFamily="34" charset="0"/>
        <a:buChar char="•"/>
        <a:defRPr lang="pl-PL" sz="2400" b="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720000" indent="-228600" algn="l" defTabSz="914400" rtl="0" eaLnBrk="1" latinLnBrk="0" hangingPunct="1">
        <a:lnSpc>
          <a:spcPct val="114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216800" indent="-228600" algn="l" defTabSz="914400" rtl="0" eaLnBrk="1" latinLnBrk="0" hangingPunct="1">
        <a:lnSpc>
          <a:spcPct val="114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70400" indent="-228600" algn="l" defTabSz="914400" rtl="0" eaLnBrk="1" latinLnBrk="0" hangingPunct="1">
        <a:lnSpc>
          <a:spcPct val="114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4pPr>
      <a:lvl5pPr marL="2131200" indent="-228600" algn="l" defTabSz="914400" rtl="0" eaLnBrk="1" latinLnBrk="0" hangingPunct="1">
        <a:lnSpc>
          <a:spcPct val="114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6594" y="441434"/>
            <a:ext cx="11337227" cy="86349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6594" y="1304925"/>
            <a:ext cx="11337227" cy="4940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96185" y="6632576"/>
            <a:ext cx="2844800" cy="10888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899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fld id="{18D0082C-2D8F-425A-B6D0-5DA02279AC93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4206" y="6632576"/>
            <a:ext cx="3860800" cy="10888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l">
              <a:defRPr sz="899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noProof="0"/>
              <a:t>UEFA Club Licensing &amp; Financial Sustainability Annual Workshop 2022</a:t>
            </a:r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790507" y="6632576"/>
            <a:ext cx="608085" cy="10888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899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fld id="{AA096295-B7D5-403D-8865-3EAE0E3611E5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642158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0" r:id="rId1"/>
    <p:sldLayoutId id="2147484051" r:id="rId2"/>
    <p:sldLayoutId id="2147484052" r:id="rId3"/>
    <p:sldLayoutId id="2147484053" r:id="rId4"/>
    <p:sldLayoutId id="2147484054" r:id="rId5"/>
    <p:sldLayoutId id="2147484055" r:id="rId6"/>
    <p:sldLayoutId id="2147484056" r:id="rId7"/>
    <p:sldLayoutId id="2147484057" r:id="rId8"/>
    <p:sldLayoutId id="2147484058" r:id="rId9"/>
    <p:sldLayoutId id="2147484059" r:id="rId10"/>
    <p:sldLayoutId id="2147484060" r:id="rId11"/>
    <p:sldLayoutId id="2147484061" r:id="rId12"/>
    <p:sldLayoutId id="2147484062" r:id="rId13"/>
    <p:sldLayoutId id="2147484063" r:id="rId14"/>
    <p:sldLayoutId id="2147484064" r:id="rId15"/>
    <p:sldLayoutId id="2147484065" r:id="rId16"/>
    <p:sldLayoutId id="2147484066" r:id="rId17"/>
    <p:sldLayoutId id="2147484067" r:id="rId18"/>
    <p:sldLayoutId id="2147484068" r:id="rId19"/>
    <p:sldLayoutId id="2147484069" r:id="rId20"/>
    <p:sldLayoutId id="2147484070" r:id="rId21"/>
    <p:sldLayoutId id="2147484071" r:id="rId22"/>
    <p:sldLayoutId id="2147484072" r:id="rId23"/>
    <p:sldLayoutId id="2147484073" r:id="rId24"/>
    <p:sldLayoutId id="2147484074" r:id="rId25"/>
    <p:sldLayoutId id="2147484075" r:id="rId26"/>
    <p:sldLayoutId id="2147484076" r:id="rId27"/>
    <p:sldLayoutId id="2147484077" r:id="rId28"/>
    <p:sldLayoutId id="2147484078" r:id="rId29"/>
    <p:sldLayoutId id="2147484079" r:id="rId30"/>
    <p:sldLayoutId id="2147484080" r:id="rId31"/>
    <p:sldLayoutId id="2147484081" r:id="rId32"/>
    <p:sldLayoutId id="2147484082" r:id="rId33"/>
  </p:sldLayoutIdLst>
  <p:hf sldNum="0" hdr="0" dt="0"/>
  <p:txStyles>
    <p:titleStyle>
      <a:lvl1pPr algn="l" defTabSz="913486" rtl="0" eaLnBrk="1" latinLnBrk="0" hangingPunct="1">
        <a:spcBef>
          <a:spcPct val="0"/>
        </a:spcBef>
        <a:buNone/>
        <a:defRPr sz="2398" kern="1200">
          <a:solidFill>
            <a:schemeClr val="tx2"/>
          </a:solidFill>
          <a:latin typeface="UEFA Colosseum" pitchFamily="2" charset="0"/>
          <a:ea typeface="+mj-ea"/>
          <a:cs typeface="+mj-cs"/>
        </a:defRPr>
      </a:lvl1pPr>
    </p:titleStyle>
    <p:bodyStyle>
      <a:lvl1pPr marL="342557" indent="-342557" algn="l" defTabSz="913486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99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742207" indent="-285464" algn="l" defTabSz="913486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lang="en-US" sz="1998" kern="1200" dirty="0" smtClean="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1141857" indent="-228371" algn="l" defTabSz="913486" rtl="0" eaLnBrk="1" latinLnBrk="0" hangingPunct="1">
        <a:spcBef>
          <a:spcPct val="20000"/>
        </a:spcBef>
        <a:buClr>
          <a:schemeClr val="tx2"/>
        </a:buClr>
        <a:buFont typeface="Segoe UI" pitchFamily="34" charset="0"/>
        <a:buChar char="–"/>
        <a:defRPr sz="199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598600" indent="-228371" algn="l" defTabSz="913486" rtl="0" eaLnBrk="1" latinLnBrk="0" hangingPunct="1">
        <a:spcBef>
          <a:spcPct val="20000"/>
        </a:spcBef>
        <a:buClr>
          <a:schemeClr val="tx2"/>
        </a:buClr>
        <a:buFont typeface="Segoe UI" pitchFamily="34" charset="0"/>
        <a:buChar char="‒"/>
        <a:defRPr sz="199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2055343" indent="-228371" algn="l" defTabSz="913486" rtl="0" eaLnBrk="1" latinLnBrk="0" hangingPunct="1">
        <a:spcBef>
          <a:spcPct val="20000"/>
        </a:spcBef>
        <a:buClr>
          <a:schemeClr val="tx2"/>
        </a:buClr>
        <a:buFont typeface="Segoe UI" pitchFamily="34" charset="0"/>
        <a:buChar char="‐"/>
        <a:defRPr sz="199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512085" indent="-228371" algn="l" defTabSz="913486" rtl="0" eaLnBrk="1" latinLnBrk="0" hangingPunct="1">
        <a:spcBef>
          <a:spcPct val="20000"/>
        </a:spcBef>
        <a:buClr>
          <a:schemeClr val="tx2"/>
        </a:buClr>
        <a:buFont typeface="Segoe UI" pitchFamily="34" charset="0"/>
        <a:buChar char="‐"/>
        <a:defRPr sz="199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6pPr>
      <a:lvl7pPr marL="2968828" indent="-228371" algn="l" defTabSz="913486" rtl="0" eaLnBrk="1" latinLnBrk="0" hangingPunct="1">
        <a:spcBef>
          <a:spcPct val="20000"/>
        </a:spcBef>
        <a:buClr>
          <a:schemeClr val="tx2"/>
        </a:buClr>
        <a:buFont typeface="Segoe UI" pitchFamily="34" charset="0"/>
        <a:buChar char="‐"/>
        <a:defRPr sz="199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7pPr>
      <a:lvl8pPr marL="3425571" indent="-228371" algn="l" defTabSz="913486" rtl="0" eaLnBrk="1" latinLnBrk="0" hangingPunct="1">
        <a:spcBef>
          <a:spcPct val="20000"/>
        </a:spcBef>
        <a:buClr>
          <a:schemeClr val="tx2"/>
        </a:buClr>
        <a:buFont typeface="Segoe UI" pitchFamily="34" charset="0"/>
        <a:buChar char="‐"/>
        <a:defRPr sz="1998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8pPr>
      <a:lvl9pPr marL="3882314" indent="-228371" algn="l" defTabSz="913486" rtl="0" eaLnBrk="1" latinLnBrk="0" hangingPunct="1">
        <a:spcBef>
          <a:spcPct val="20000"/>
        </a:spcBef>
        <a:buClr>
          <a:schemeClr val="tx2"/>
        </a:buClr>
        <a:buFont typeface="Segoe UI" pitchFamily="34" charset="0"/>
        <a:buChar char="‐"/>
        <a:defRPr sz="1998" kern="1200" baseline="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8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4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6595" y="441435"/>
            <a:ext cx="11337227" cy="86349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6595" y="1304925"/>
            <a:ext cx="11337227" cy="4940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96185" y="6632578"/>
            <a:ext cx="2844800" cy="10888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898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fld id="{62C63F16-4F1E-488F-9AC7-18EF3B5507D2}" type="datetime1">
              <a:rPr lang="en-GB" noProof="0" smtClean="0"/>
              <a:t>29/10/2024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4206" y="6632578"/>
            <a:ext cx="3860800" cy="10888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l">
              <a:defRPr sz="898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790507" y="6632578"/>
            <a:ext cx="608085" cy="10888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898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fld id="{AA096295-B7D5-403D-8865-3EAE0E3611E5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030132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8" r:id="rId4"/>
    <p:sldLayoutId id="2147484089" r:id="rId5"/>
    <p:sldLayoutId id="2147484090" r:id="rId6"/>
    <p:sldLayoutId id="2147484091" r:id="rId7"/>
    <p:sldLayoutId id="2147484092" r:id="rId8"/>
    <p:sldLayoutId id="2147484093" r:id="rId9"/>
    <p:sldLayoutId id="2147484094" r:id="rId10"/>
    <p:sldLayoutId id="2147484095" r:id="rId11"/>
    <p:sldLayoutId id="2147484096" r:id="rId12"/>
    <p:sldLayoutId id="2147484097" r:id="rId13"/>
    <p:sldLayoutId id="2147484098" r:id="rId14"/>
    <p:sldLayoutId id="2147484099" r:id="rId15"/>
    <p:sldLayoutId id="2147484100" r:id="rId16"/>
    <p:sldLayoutId id="2147484101" r:id="rId17"/>
    <p:sldLayoutId id="2147484102" r:id="rId18"/>
    <p:sldLayoutId id="2147484103" r:id="rId19"/>
    <p:sldLayoutId id="2147484104" r:id="rId20"/>
    <p:sldLayoutId id="2147484105" r:id="rId21"/>
    <p:sldLayoutId id="2147484106" r:id="rId22"/>
    <p:sldLayoutId id="2147484107" r:id="rId23"/>
    <p:sldLayoutId id="2147484108" r:id="rId24"/>
    <p:sldLayoutId id="2147484109" r:id="rId25"/>
    <p:sldLayoutId id="2147484110" r:id="rId26"/>
    <p:sldLayoutId id="2147484111" r:id="rId27"/>
    <p:sldLayoutId id="2147484112" r:id="rId28"/>
    <p:sldLayoutId id="2147484113" r:id="rId29"/>
  </p:sldLayoutIdLst>
  <p:hf hdr="0" ftr="0" dt="0"/>
  <p:txStyles>
    <p:titleStyle>
      <a:lvl1pPr algn="l" defTabSz="912573" rtl="0" eaLnBrk="1" latinLnBrk="0" hangingPunct="1">
        <a:spcBef>
          <a:spcPct val="0"/>
        </a:spcBef>
        <a:buNone/>
        <a:defRPr sz="2396" kern="1200">
          <a:solidFill>
            <a:schemeClr val="tx2"/>
          </a:solidFill>
          <a:latin typeface="UEFA Colosseum" pitchFamily="2" charset="0"/>
          <a:ea typeface="+mj-ea"/>
          <a:cs typeface="+mj-cs"/>
        </a:defRPr>
      </a:lvl1pPr>
    </p:titleStyle>
    <p:bodyStyle>
      <a:lvl1pPr marL="342214" indent="-342214" algn="l" defTabSz="91257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996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741465" indent="-285179" algn="l" defTabSz="912573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lang="en-US" sz="1996" kern="1200" dirty="0" smtClean="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1140715" indent="-228143" algn="l" defTabSz="912573" rtl="0" eaLnBrk="1" latinLnBrk="0" hangingPunct="1">
        <a:spcBef>
          <a:spcPct val="20000"/>
        </a:spcBef>
        <a:buClr>
          <a:schemeClr val="tx2"/>
        </a:buClr>
        <a:buFont typeface="Segoe UI" pitchFamily="34" charset="0"/>
        <a:buChar char="–"/>
        <a:defRPr sz="1996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597001" indent="-228143" algn="l" defTabSz="912573" rtl="0" eaLnBrk="1" latinLnBrk="0" hangingPunct="1">
        <a:spcBef>
          <a:spcPct val="20000"/>
        </a:spcBef>
        <a:buClr>
          <a:schemeClr val="tx2"/>
        </a:buClr>
        <a:buFont typeface="Segoe UI" pitchFamily="34" charset="0"/>
        <a:buChar char="‒"/>
        <a:defRPr sz="1996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2053288" indent="-228143" algn="l" defTabSz="912573" rtl="0" eaLnBrk="1" latinLnBrk="0" hangingPunct="1">
        <a:spcBef>
          <a:spcPct val="20000"/>
        </a:spcBef>
        <a:buClr>
          <a:schemeClr val="tx2"/>
        </a:buClr>
        <a:buFont typeface="Segoe UI" pitchFamily="34" charset="0"/>
        <a:buChar char="‐"/>
        <a:defRPr sz="1996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509573" indent="-228143" algn="l" defTabSz="912573" rtl="0" eaLnBrk="1" latinLnBrk="0" hangingPunct="1">
        <a:spcBef>
          <a:spcPct val="20000"/>
        </a:spcBef>
        <a:buClr>
          <a:schemeClr val="tx2"/>
        </a:buClr>
        <a:buFont typeface="Segoe UI" pitchFamily="34" charset="0"/>
        <a:buChar char="‐"/>
        <a:defRPr sz="1996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6pPr>
      <a:lvl7pPr marL="2965859" indent="-228143" algn="l" defTabSz="912573" rtl="0" eaLnBrk="1" latinLnBrk="0" hangingPunct="1">
        <a:spcBef>
          <a:spcPct val="20000"/>
        </a:spcBef>
        <a:buClr>
          <a:schemeClr val="tx2"/>
        </a:buClr>
        <a:buFont typeface="Segoe UI" pitchFamily="34" charset="0"/>
        <a:buChar char="‐"/>
        <a:defRPr sz="1996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7pPr>
      <a:lvl8pPr marL="3422145" indent="-228143" algn="l" defTabSz="912573" rtl="0" eaLnBrk="1" latinLnBrk="0" hangingPunct="1">
        <a:spcBef>
          <a:spcPct val="20000"/>
        </a:spcBef>
        <a:buClr>
          <a:schemeClr val="tx2"/>
        </a:buClr>
        <a:buFont typeface="Segoe UI" pitchFamily="34" charset="0"/>
        <a:buChar char="‐"/>
        <a:defRPr sz="1996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8pPr>
      <a:lvl9pPr marL="3878432" indent="-228143" algn="l" defTabSz="912573" rtl="0" eaLnBrk="1" latinLnBrk="0" hangingPunct="1">
        <a:spcBef>
          <a:spcPct val="20000"/>
        </a:spcBef>
        <a:buClr>
          <a:schemeClr val="tx2"/>
        </a:buClr>
        <a:buFont typeface="Segoe UI" pitchFamily="34" charset="0"/>
        <a:buChar char="‐"/>
        <a:defRPr sz="1996" kern="1200" baseline="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9pPr>
    </p:bodyStyle>
    <p:otherStyle>
      <a:defPPr>
        <a:defRPr lang="en-US"/>
      </a:defPPr>
      <a:lvl1pPr marL="0" algn="l" defTabSz="912573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1pPr>
      <a:lvl2pPr marL="456286" algn="l" defTabSz="912573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2pPr>
      <a:lvl3pPr marL="912573" algn="l" defTabSz="912573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3pPr>
      <a:lvl4pPr marL="1368858" algn="l" defTabSz="912573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4pPr>
      <a:lvl5pPr marL="1825144" algn="l" defTabSz="912573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5pPr>
      <a:lvl6pPr marL="2281430" algn="l" defTabSz="912573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6pPr>
      <a:lvl7pPr marL="2737717" algn="l" defTabSz="912573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7pPr>
      <a:lvl8pPr marL="3194003" algn="l" defTabSz="912573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8pPr>
      <a:lvl9pPr marL="3650288" algn="l" defTabSz="912573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5E4A49E-BE62-5249-89B4-547038723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3061C6-09F4-2B4F-BAD0-578A1BEA29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771C32-7D31-054C-AD5B-9E83A72131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9DC585-5D2A-D042-9337-79022DD1F337}" type="datetimeFigureOut">
              <a:rPr lang="en-GB" smtClean="0"/>
              <a:t>29/10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13A310-EF8D-D941-8550-8D6E983D77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07974E-F9F1-6D41-A04E-05C76CFD82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CC22B9-932E-6E42-8488-14772F8F624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8595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47" r:id="rId1"/>
    <p:sldLayoutId id="2147485948" r:id="rId2"/>
    <p:sldLayoutId id="2147485949" r:id="rId3"/>
    <p:sldLayoutId id="2147485950" r:id="rId4"/>
    <p:sldLayoutId id="2147485951" r:id="rId5"/>
    <p:sldLayoutId id="2147485952" r:id="rId6"/>
    <p:sldLayoutId id="2147485953" r:id="rId7"/>
    <p:sldLayoutId id="2147485954" r:id="rId8"/>
    <p:sldLayoutId id="2147485955" r:id="rId9"/>
    <p:sldLayoutId id="2147485956" r:id="rId10"/>
    <p:sldLayoutId id="2147485957" r:id="rId11"/>
    <p:sldLayoutId id="2147485958" r:id="rId12"/>
    <p:sldLayoutId id="2147485959" r:id="rId13"/>
    <p:sldLayoutId id="2147485960" r:id="rId14"/>
    <p:sldLayoutId id="2147485961" r:id="rId15"/>
    <p:sldLayoutId id="2147485962" r:id="rId16"/>
    <p:sldLayoutId id="2147485963" r:id="rId17"/>
    <p:sldLayoutId id="2147485964" r:id="rId18"/>
    <p:sldLayoutId id="2147485965" r:id="rId19"/>
    <p:sldLayoutId id="2147485966" r:id="rId20"/>
    <p:sldLayoutId id="2147485967" r:id="rId21"/>
    <p:sldLayoutId id="2147485968" r:id="rId22"/>
    <p:sldLayoutId id="2147485969" r:id="rId23"/>
    <p:sldLayoutId id="2147485970" r:id="rId24"/>
    <p:sldLayoutId id="2147485971" r:id="rId25"/>
    <p:sldLayoutId id="2147485972" r:id="rId26"/>
    <p:sldLayoutId id="2147485973" r:id="rId27"/>
    <p:sldLayoutId id="2147485974" r:id="rId28"/>
    <p:sldLayoutId id="2147485975" r:id="rId29"/>
    <p:sldLayoutId id="2147485976" r:id="rId30"/>
    <p:sldLayoutId id="2147485977" r:id="rId31"/>
    <p:sldLayoutId id="2147485978" r:id="rId32"/>
    <p:sldLayoutId id="2147485979" r:id="rId33"/>
    <p:sldLayoutId id="2147485980" r:id="rId34"/>
    <p:sldLayoutId id="2147485981" r:id="rId35"/>
    <p:sldLayoutId id="2147485982" r:id="rId36"/>
    <p:sldLayoutId id="2147485983" r:id="rId37"/>
    <p:sldLayoutId id="2147485984" r:id="rId38"/>
    <p:sldLayoutId id="2147485985" r:id="rId39"/>
    <p:sldLayoutId id="2147485986" r:id="rId40"/>
    <p:sldLayoutId id="2147485987" r:id="rId41"/>
    <p:sldLayoutId id="2147485988" r:id="rId42"/>
    <p:sldLayoutId id="2147485989" r:id="rId43"/>
    <p:sldLayoutId id="2147485990" r:id="rId44"/>
    <p:sldLayoutId id="2147485991" r:id="rId45"/>
    <p:sldLayoutId id="2147485992" r:id="rId46"/>
    <p:sldLayoutId id="2147485994" r:id="rId47"/>
    <p:sldLayoutId id="2147485995" r:id="rId48"/>
    <p:sldLayoutId id="2147485996" r:id="rId49"/>
    <p:sldLayoutId id="2147485997" r:id="rId50"/>
    <p:sldLayoutId id="2147485998" r:id="rId51"/>
    <p:sldLayoutId id="2147485999" r:id="rId52"/>
    <p:sldLayoutId id="2147486000" r:id="rId53"/>
    <p:sldLayoutId id="2147486001" r:id="rId54"/>
    <p:sldLayoutId id="2147486002" r:id="rId55"/>
    <p:sldLayoutId id="2147486003" r:id="rId56"/>
    <p:sldLayoutId id="2147486325" r:id="rId57"/>
    <p:sldLayoutId id="2147486383" r:id="rId58"/>
    <p:sldLayoutId id="2147486385" r:id="rId59"/>
    <p:sldLayoutId id="2147486379" r:id="rId60"/>
    <p:sldLayoutId id="2147486990" r:id="rId61"/>
    <p:sldLayoutId id="2147487206" r:id="rId62"/>
    <p:sldLayoutId id="2147487223" r:id="rId63"/>
    <p:sldLayoutId id="2147487224" r:id="rId64"/>
    <p:sldLayoutId id="2147487225" r:id="rId65"/>
    <p:sldLayoutId id="2147487226" r:id="rId66"/>
    <p:sldLayoutId id="2147487228" r:id="rId67"/>
    <p:sldLayoutId id="2147487229" r:id="rId68"/>
    <p:sldLayoutId id="2147487232" r:id="rId69"/>
    <p:sldLayoutId id="2147487233" r:id="rId70"/>
    <p:sldLayoutId id="2147487234" r:id="rId7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0FEF2EC-6D32-EA9E-4B61-75FA17DCD7F4}"/>
              </a:ext>
            </a:extLst>
          </p:cNvPr>
          <p:cNvSpPr/>
          <p:nvPr userDrawn="1"/>
        </p:nvSpPr>
        <p:spPr>
          <a:xfrm>
            <a:off x="11476922" y="0"/>
            <a:ext cx="71437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C473792-A671-732C-C579-3BAB314A7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362" y="273499"/>
            <a:ext cx="10739437" cy="5313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Add tit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44BAC7-AF05-253A-5F04-CBE2DBC7A8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362" y="1376363"/>
            <a:ext cx="10739437" cy="51196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02A2019D-4CE9-3D3F-B97C-FFF922664B5B}"/>
              </a:ext>
            </a:extLst>
          </p:cNvPr>
          <p:cNvSpPr/>
          <p:nvPr/>
        </p:nvSpPr>
        <p:spPr>
          <a:xfrm>
            <a:off x="11624839" y="350261"/>
            <a:ext cx="418541" cy="415505"/>
          </a:xfrm>
          <a:custGeom>
            <a:avLst/>
            <a:gdLst>
              <a:gd name="connsiteX0" fmla="*/ 1229868 w 2797397"/>
              <a:gd name="connsiteY0" fmla="*/ 2777109 h 2777108"/>
              <a:gd name="connsiteX1" fmla="*/ 0 w 2797397"/>
              <a:gd name="connsiteY1" fmla="*/ 1388555 h 2777108"/>
              <a:gd name="connsiteX2" fmla="*/ 1229868 w 2797397"/>
              <a:gd name="connsiteY2" fmla="*/ 0 h 2777108"/>
              <a:gd name="connsiteX3" fmla="*/ 1229868 w 2797397"/>
              <a:gd name="connsiteY3" fmla="*/ 773144 h 2777108"/>
              <a:gd name="connsiteX4" fmla="*/ 760476 w 2797397"/>
              <a:gd name="connsiteY4" fmla="*/ 1388555 h 2777108"/>
              <a:gd name="connsiteX5" fmla="*/ 1229868 w 2797397"/>
              <a:gd name="connsiteY5" fmla="*/ 2003965 h 2777108"/>
              <a:gd name="connsiteX6" fmla="*/ 1229868 w 2797397"/>
              <a:gd name="connsiteY6" fmla="*/ 2777109 h 2777108"/>
              <a:gd name="connsiteX7" fmla="*/ 1567529 w 2797397"/>
              <a:gd name="connsiteY7" fmla="*/ 0 h 2777108"/>
              <a:gd name="connsiteX8" fmla="*/ 1567529 w 2797397"/>
              <a:gd name="connsiteY8" fmla="*/ 773144 h 2777108"/>
              <a:gd name="connsiteX9" fmla="*/ 2036921 w 2797397"/>
              <a:gd name="connsiteY9" fmla="*/ 1388555 h 2777108"/>
              <a:gd name="connsiteX10" fmla="*/ 1567529 w 2797397"/>
              <a:gd name="connsiteY10" fmla="*/ 2003965 h 2777108"/>
              <a:gd name="connsiteX11" fmla="*/ 1567529 w 2797397"/>
              <a:gd name="connsiteY11" fmla="*/ 2777109 h 2777108"/>
              <a:gd name="connsiteX12" fmla="*/ 2797397 w 2797397"/>
              <a:gd name="connsiteY12" fmla="*/ 1388555 h 2777108"/>
              <a:gd name="connsiteX13" fmla="*/ 1567529 w 2797397"/>
              <a:gd name="connsiteY13" fmla="*/ 0 h 2777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797397" h="2777108">
                <a:moveTo>
                  <a:pt x="1229868" y="2777109"/>
                </a:moveTo>
                <a:cubicBezTo>
                  <a:pt x="537020" y="2693765"/>
                  <a:pt x="0" y="2103882"/>
                  <a:pt x="0" y="1388555"/>
                </a:cubicBezTo>
                <a:cubicBezTo>
                  <a:pt x="0" y="673227"/>
                  <a:pt x="537020" y="83344"/>
                  <a:pt x="1229868" y="0"/>
                </a:cubicBezTo>
                <a:lnTo>
                  <a:pt x="1229868" y="773144"/>
                </a:lnTo>
                <a:cubicBezTo>
                  <a:pt x="959644" y="847344"/>
                  <a:pt x="760476" y="1095089"/>
                  <a:pt x="760476" y="1388555"/>
                </a:cubicBezTo>
                <a:cubicBezTo>
                  <a:pt x="760476" y="1682020"/>
                  <a:pt x="959644" y="1929765"/>
                  <a:pt x="1229868" y="2003965"/>
                </a:cubicBezTo>
                <a:lnTo>
                  <a:pt x="1229868" y="2777109"/>
                </a:lnTo>
                <a:close/>
                <a:moveTo>
                  <a:pt x="1567529" y="0"/>
                </a:moveTo>
                <a:lnTo>
                  <a:pt x="1567529" y="773144"/>
                </a:lnTo>
                <a:cubicBezTo>
                  <a:pt x="1837754" y="847344"/>
                  <a:pt x="2036921" y="1095089"/>
                  <a:pt x="2036921" y="1388555"/>
                </a:cubicBezTo>
                <a:cubicBezTo>
                  <a:pt x="2036921" y="1682020"/>
                  <a:pt x="1837754" y="1929765"/>
                  <a:pt x="1567529" y="2003965"/>
                </a:cubicBezTo>
                <a:lnTo>
                  <a:pt x="1567529" y="2777109"/>
                </a:lnTo>
                <a:cubicBezTo>
                  <a:pt x="2260378" y="2693765"/>
                  <a:pt x="2797397" y="2103882"/>
                  <a:pt x="2797397" y="1388555"/>
                </a:cubicBezTo>
                <a:cubicBezTo>
                  <a:pt x="2797397" y="673227"/>
                  <a:pt x="2260473" y="83344"/>
                  <a:pt x="1567529" y="0"/>
                </a:cubicBezTo>
                <a:close/>
              </a:path>
            </a:pathLst>
          </a:custGeom>
          <a:solidFill>
            <a:srgbClr val="96F500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A2870B0-BE76-2464-150C-58FC6965B8DC}"/>
              </a:ext>
            </a:extLst>
          </p:cNvPr>
          <p:cNvSpPr txBox="1"/>
          <p:nvPr/>
        </p:nvSpPr>
        <p:spPr>
          <a:xfrm>
            <a:off x="11476922" y="6336531"/>
            <a:ext cx="7143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0078D8AC-0733-440C-AAAE-5727D9A12CF2}" type="slidenum">
              <a:rPr lang="en-GB" sz="1000" b="1" smtClean="0">
                <a:solidFill>
                  <a:schemeClr val="accent2"/>
                </a:solidFill>
              </a:rPr>
              <a:pPr algn="ctr"/>
              <a:t>‹#›</a:t>
            </a:fld>
            <a:endParaRPr lang="en-GB" sz="1000" b="1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492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89" r:id="rId1"/>
    <p:sldLayoutId id="2147486390" r:id="rId2"/>
    <p:sldLayoutId id="2147486391" r:id="rId3"/>
    <p:sldLayoutId id="2147486392" r:id="rId4"/>
    <p:sldLayoutId id="2147486393" r:id="rId5"/>
    <p:sldLayoutId id="2147486394" r:id="rId6"/>
    <p:sldLayoutId id="2147486395" r:id="rId7"/>
    <p:sldLayoutId id="2147486396" r:id="rId8"/>
    <p:sldLayoutId id="2147486397" r:id="rId9"/>
    <p:sldLayoutId id="2147486398" r:id="rId10"/>
    <p:sldLayoutId id="2147486399" r:id="rId11"/>
    <p:sldLayoutId id="2147486400" r:id="rId12"/>
    <p:sldLayoutId id="2147486401" r:id="rId13"/>
    <p:sldLayoutId id="2147486402" r:id="rId14"/>
    <p:sldLayoutId id="2147486403" r:id="rId15"/>
    <p:sldLayoutId id="2147486404" r:id="rId16"/>
    <p:sldLayoutId id="2147486405" r:id="rId17"/>
    <p:sldLayoutId id="2147486406" r:id="rId18"/>
    <p:sldLayoutId id="2147486407" r:id="rId19"/>
    <p:sldLayoutId id="2147486408" r:id="rId20"/>
    <p:sldLayoutId id="2147486409" r:id="rId21"/>
    <p:sldLayoutId id="2147486410" r:id="rId22"/>
    <p:sldLayoutId id="2147486411" r:id="rId23"/>
    <p:sldLayoutId id="2147486412" r:id="rId24"/>
    <p:sldLayoutId id="2147486413" r:id="rId25"/>
    <p:sldLayoutId id="2147486414" r:id="rId26"/>
    <p:sldLayoutId id="2147486415" r:id="rId27"/>
    <p:sldLayoutId id="2147486416" r:id="rId28"/>
    <p:sldLayoutId id="2147486417" r:id="rId29"/>
    <p:sldLayoutId id="2147486418" r:id="rId30"/>
    <p:sldLayoutId id="2147486419" r:id="rId31"/>
    <p:sldLayoutId id="2147486420" r:id="rId32"/>
    <p:sldLayoutId id="2147486421" r:id="rId33"/>
    <p:sldLayoutId id="2147486422" r:id="rId34"/>
    <p:sldLayoutId id="2147486423" r:id="rId35"/>
    <p:sldLayoutId id="2147486424" r:id="rId36"/>
    <p:sldLayoutId id="2147486425" r:id="rId37"/>
    <p:sldLayoutId id="2147486426" r:id="rId38"/>
    <p:sldLayoutId id="2147486427" r:id="rId39"/>
  </p:sldLayoutIdLst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buNone/>
        <a:defRPr sz="4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0"/>
        </a:spcBef>
        <a:buFont typeface="Courier New" panose="02070309020205020404" pitchFamily="49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975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0"/>
        </a:spcBef>
        <a:buFont typeface="Courier New" panose="02070309020205020404" pitchFamily="49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613">
          <p15:clr>
            <a:srgbClr val="F26B43"/>
          </p15:clr>
        </p15:guide>
        <p15:guide id="3" pos="227">
          <p15:clr>
            <a:srgbClr val="000000"/>
          </p15:clr>
        </p15:guide>
        <p15:guide id="4">
          <p15:clr>
            <a:srgbClr val="F26B43"/>
          </p15:clr>
        </p15:guide>
        <p15:guide id="5" orient="horz" pos="225">
          <p15:clr>
            <a:srgbClr val="000000"/>
          </p15:clr>
        </p15:guide>
        <p15:guide id="6" orient="horz">
          <p15:clr>
            <a:srgbClr val="F26B43"/>
          </p15:clr>
        </p15:guide>
        <p15:guide id="7" pos="7230">
          <p15:clr>
            <a:srgbClr val="F26B43"/>
          </p15:clr>
        </p15:guide>
        <p15:guide id="8" pos="7680">
          <p15:clr>
            <a:srgbClr val="F26B43"/>
          </p15:clr>
        </p15:guide>
        <p15:guide id="9" orient="horz" pos="4320">
          <p15:clr>
            <a:srgbClr val="F26B43"/>
          </p15:clr>
        </p15:guide>
        <p15:guide id="10" orient="horz" pos="4092">
          <p15:clr>
            <a:srgbClr val="000000"/>
          </p15:clr>
        </p15:guide>
        <p15:guide id="11" pos="2374">
          <p15:clr>
            <a:srgbClr val="F26B43"/>
          </p15:clr>
        </p15:guide>
        <p15:guide id="12" pos="2538">
          <p15:clr>
            <a:srgbClr val="F26B43"/>
          </p15:clr>
        </p15:guide>
        <p15:guide id="13" pos="4685">
          <p15:clr>
            <a:srgbClr val="F26B43"/>
          </p15:clr>
        </p15:guide>
        <p15:guide id="14" pos="4842">
          <p15:clr>
            <a:srgbClr val="F26B43"/>
          </p15:clr>
        </p15:guide>
        <p15:guide id="15" pos="3520">
          <p15:clr>
            <a:srgbClr val="F26B43"/>
          </p15:clr>
        </p15:guide>
        <p15:guide id="16" pos="3700">
          <p15:clr>
            <a:srgbClr val="F26B43"/>
          </p15:clr>
        </p15:guide>
        <p15:guide id="17" pos="6992">
          <p15:clr>
            <a:srgbClr val="000000"/>
          </p15:clr>
        </p15:guide>
        <p15:guide id="18" orient="horz" pos="86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id="{1F567F6C-D338-422E-A606-9CA512862C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0615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A22924BB-56FD-4775-AEBE-67E63234BC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849731"/>
            <a:ext cx="10515600" cy="33272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8FCDDDB3-6CF6-467A-89A4-269A2BDB7E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CE4D98-51CE-4671-9A48-B2D784489D9D}" type="datetime1">
              <a:rPr lang="pl-PL" smtClean="0"/>
              <a:t>29.10.2024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52E2A209-D591-4DF2-939B-A5307461D0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D0E84103-1A24-41B7-BF54-5362C7DF07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99D49-E9B0-4648-A2A0-22D531008F3A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66549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295" r:id="rId1"/>
    <p:sldLayoutId id="2147487296" r:id="rId2"/>
    <p:sldLayoutId id="2147487297" r:id="rId3"/>
    <p:sldLayoutId id="2147487298" r:id="rId4"/>
    <p:sldLayoutId id="2147487299" r:id="rId5"/>
    <p:sldLayoutId id="2147487300" r:id="rId6"/>
    <p:sldLayoutId id="2147487301" r:id="rId7"/>
    <p:sldLayoutId id="2147487302" r:id="rId8"/>
    <p:sldLayoutId id="2147487303" r:id="rId9"/>
    <p:sldLayoutId id="2147487304" r:id="rId10"/>
    <p:sldLayoutId id="2147487305" r:id="rId11"/>
    <p:sldLayoutId id="2147487306" r:id="rId12"/>
    <p:sldLayoutId id="2147487307" r:id="rId13"/>
    <p:sldLayoutId id="2147487308" r:id="rId14"/>
    <p:sldLayoutId id="2147487309" r:id="rId15"/>
    <p:sldLayoutId id="2147487310" r:id="rId16"/>
    <p:sldLayoutId id="2147487311" r:id="rId17"/>
    <p:sldLayoutId id="2147487312" r:id="rId18"/>
    <p:sldLayoutId id="2147487313" r:id="rId19"/>
    <p:sldLayoutId id="2147487314" r:id="rId20"/>
    <p:sldLayoutId id="2147487315" r:id="rId21"/>
    <p:sldLayoutId id="2147487316" r:id="rId22"/>
    <p:sldLayoutId id="2147487317" r:id="rId23"/>
    <p:sldLayoutId id="2147487318" r:id="rId24"/>
    <p:sldLayoutId id="2147487319" r:id="rId25"/>
    <p:sldLayoutId id="2147487320" r:id="rId26"/>
    <p:sldLayoutId id="2147487321" r:id="rId27"/>
    <p:sldLayoutId id="2147487322" r:id="rId28"/>
    <p:sldLayoutId id="2147487323" r:id="rId29"/>
    <p:sldLayoutId id="2147487324" r:id="rId30"/>
    <p:sldLayoutId id="2147487325" r:id="rId31"/>
    <p:sldLayoutId id="2147487326" r:id="rId32"/>
    <p:sldLayoutId id="2147487327" r:id="rId33"/>
    <p:sldLayoutId id="2147487328" r:id="rId34"/>
    <p:sldLayoutId id="2147487329" r:id="rId35"/>
    <p:sldLayoutId id="2147487330" r:id="rId36"/>
    <p:sldLayoutId id="2147487331" r:id="rId37"/>
    <p:sldLayoutId id="2147487332" r:id="rId38"/>
    <p:sldLayoutId id="2147487333" r:id="rId39"/>
    <p:sldLayoutId id="2147487334" r:id="rId40"/>
    <p:sldLayoutId id="2147487335" r:id="rId41"/>
    <p:sldLayoutId id="2147487336" r:id="rId42"/>
    <p:sldLayoutId id="2147487337" r:id="rId43"/>
    <p:sldLayoutId id="2147487338" r:id="rId44"/>
    <p:sldLayoutId id="2147487339" r:id="rId45"/>
    <p:sldLayoutId id="2147487340" r:id="rId46"/>
    <p:sldLayoutId id="2147487341" r:id="rId47"/>
    <p:sldLayoutId id="2147487342" r:id="rId48"/>
    <p:sldLayoutId id="2147487343" r:id="rId49"/>
    <p:sldLayoutId id="2147487344" r:id="rId50"/>
    <p:sldLayoutId id="2147487345" r:id="rId51"/>
    <p:sldLayoutId id="2147487346" r:id="rId52"/>
    <p:sldLayoutId id="2147487347" r:id="rId53"/>
    <p:sldLayoutId id="2147487348" r:id="rId54"/>
    <p:sldLayoutId id="2147487349" r:id="rId55"/>
    <p:sldLayoutId id="2147487350" r:id="rId56"/>
    <p:sldLayoutId id="2147487351" r:id="rId57"/>
    <p:sldLayoutId id="2147487352" r:id="rId58"/>
    <p:sldLayoutId id="2147487353" r:id="rId59"/>
    <p:sldLayoutId id="2147487354" r:id="rId60"/>
    <p:sldLayoutId id="2147487355" r:id="rId61"/>
    <p:sldLayoutId id="2147487356" r:id="rId62"/>
    <p:sldLayoutId id="2147487357" r:id="rId63"/>
    <p:sldLayoutId id="2147487358" r:id="rId6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42900" algn="l" defTabSz="914400" rtl="0" eaLnBrk="1" latinLnBrk="0" hangingPunct="1">
        <a:lnSpc>
          <a:spcPct val="114000"/>
        </a:lnSpc>
        <a:spcBef>
          <a:spcPts val="1000"/>
        </a:spcBef>
        <a:buFont typeface="Arial" panose="020B0604020202020204" pitchFamily="34" charset="0"/>
        <a:buChar char="•"/>
        <a:defRPr lang="pl-PL" sz="2400" b="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720000" indent="-228600" algn="l" defTabSz="914400" rtl="0" eaLnBrk="1" latinLnBrk="0" hangingPunct="1">
        <a:lnSpc>
          <a:spcPct val="114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216800" indent="-228600" algn="l" defTabSz="914400" rtl="0" eaLnBrk="1" latinLnBrk="0" hangingPunct="1">
        <a:lnSpc>
          <a:spcPct val="114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70400" indent="-228600" algn="l" defTabSz="914400" rtl="0" eaLnBrk="1" latinLnBrk="0" hangingPunct="1">
        <a:lnSpc>
          <a:spcPct val="114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4pPr>
      <a:lvl5pPr marL="2131200" indent="-228600" algn="l" defTabSz="914400" rtl="0" eaLnBrk="1" latinLnBrk="0" hangingPunct="1">
        <a:lnSpc>
          <a:spcPct val="114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7FCFE79-4054-4C45-BD53-374D3EA675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691" y="613167"/>
            <a:ext cx="11164620" cy="118089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12F3AF-2409-465E-8FB5-13502CE40B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3691" y="1952625"/>
            <a:ext cx="11164620" cy="44465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CFEB30-E1A8-4861-8195-A7A04C2B6C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3691" y="6399213"/>
            <a:ext cx="11164620" cy="458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0679AE-8C09-4627-BB1F-CF495D2987D9}"/>
              </a:ext>
            </a:extLst>
          </p:cNvPr>
          <p:cNvSpPr txBox="1"/>
          <p:nvPr userDrawn="1"/>
        </p:nvSpPr>
        <p:spPr>
          <a:xfrm>
            <a:off x="11656772" y="182084"/>
            <a:ext cx="535228" cy="32770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endParaRPr lang="id-ID" sz="1200" b="0" i="0">
              <a:solidFill>
                <a:schemeClr val="bg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9084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60" r:id="rId1"/>
    <p:sldLayoutId id="2147487361" r:id="rId2"/>
    <p:sldLayoutId id="2147487362" r:id="rId3"/>
    <p:sldLayoutId id="2147487363" r:id="rId4"/>
    <p:sldLayoutId id="2147487364" r:id="rId5"/>
    <p:sldLayoutId id="2147487365" r:id="rId6"/>
    <p:sldLayoutId id="2147487366" r:id="rId7"/>
    <p:sldLayoutId id="2147487367" r:id="rId8"/>
    <p:sldLayoutId id="2147487368" r:id="rId9"/>
    <p:sldLayoutId id="2147487369" r:id="rId10"/>
    <p:sldLayoutId id="2147487370" r:id="rId11"/>
    <p:sldLayoutId id="2147487371" r:id="rId12"/>
    <p:sldLayoutId id="2147487372" r:id="rId13"/>
    <p:sldLayoutId id="2147487373" r:id="rId14"/>
    <p:sldLayoutId id="2147487374" r:id="rId15"/>
    <p:sldLayoutId id="2147487375" r:id="rId16"/>
    <p:sldLayoutId id="2147487376" r:id="rId17"/>
    <p:sldLayoutId id="2147487377" r:id="rId18"/>
    <p:sldLayoutId id="2147487378" r:id="rId19"/>
    <p:sldLayoutId id="2147487379" r:id="rId20"/>
    <p:sldLayoutId id="2147487380" r:id="rId21"/>
    <p:sldLayoutId id="2147487381" r:id="rId22"/>
    <p:sldLayoutId id="2147487382" r:id="rId23"/>
    <p:sldLayoutId id="2147487383" r:id="rId24"/>
    <p:sldLayoutId id="2147487384" r:id="rId25"/>
    <p:sldLayoutId id="2147487385" r:id="rId26"/>
    <p:sldLayoutId id="2147487386" r:id="rId27"/>
    <p:sldLayoutId id="2147487387" r:id="rId28"/>
    <p:sldLayoutId id="2147487388" r:id="rId29"/>
    <p:sldLayoutId id="2147487389" r:id="rId30"/>
    <p:sldLayoutId id="2147487390" r:id="rId31"/>
    <p:sldLayoutId id="2147487391" r:id="rId32"/>
    <p:sldLayoutId id="2147487392" r:id="rId33"/>
  </p:sldLayoutIdLst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700" kern="1200">
          <a:gradFill>
            <a:gsLst>
              <a:gs pos="0">
                <a:schemeClr val="accent1"/>
              </a:gs>
              <a:gs pos="100000">
                <a:schemeClr val="accent4"/>
              </a:gs>
            </a:gsLst>
            <a:lin ang="0" scaled="0"/>
          </a:gradFill>
          <a:latin typeface="+mj-lt"/>
          <a:ea typeface="+mj-ea"/>
          <a:cs typeface="+mj-cs"/>
        </a:defRPr>
      </a:lvl1pPr>
    </p:titleStyle>
    <p:bodyStyle>
      <a:lvl1pPr marL="177800" indent="-177800" algn="l" defTabSz="457200" rtl="0" eaLnBrk="1" latinLnBrk="0" hangingPunct="1">
        <a:lnSpc>
          <a:spcPct val="120000"/>
        </a:lnSpc>
        <a:spcBef>
          <a:spcPts val="150"/>
        </a:spcBef>
        <a:buClr>
          <a:schemeClr val="accent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4150" algn="l" defTabSz="457200" rtl="0" eaLnBrk="1" latinLnBrk="0" hangingPunct="1">
        <a:lnSpc>
          <a:spcPct val="120000"/>
        </a:lnSpc>
        <a:spcBef>
          <a:spcPts val="150"/>
        </a:spcBef>
        <a:buClr>
          <a:schemeClr val="accent3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7800" algn="l" defTabSz="457200" rtl="0" eaLnBrk="1" latinLnBrk="0" hangingPunct="1">
        <a:lnSpc>
          <a:spcPct val="120000"/>
        </a:lnSpc>
        <a:spcBef>
          <a:spcPts val="150"/>
        </a:spcBef>
        <a:buClr>
          <a:schemeClr val="accent3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62000" indent="-177800" algn="l" defTabSz="457200" rtl="0" eaLnBrk="1" latinLnBrk="0" hangingPunct="1">
        <a:lnSpc>
          <a:spcPct val="120000"/>
        </a:lnSpc>
        <a:spcBef>
          <a:spcPts val="150"/>
        </a:spcBef>
        <a:buClr>
          <a:schemeClr val="accent3"/>
        </a:buClr>
        <a:buSzPct val="70000"/>
        <a:buFont typeface="Arial" panose="020B0604020202020204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indent="-222250" algn="l" defTabSz="457200" rtl="0" eaLnBrk="1" latinLnBrk="0" hangingPunct="1">
        <a:lnSpc>
          <a:spcPct val="120000"/>
        </a:lnSpc>
        <a:spcBef>
          <a:spcPts val="150"/>
        </a:spcBef>
        <a:buClr>
          <a:schemeClr val="accent3"/>
        </a:buClr>
        <a:buSzPct val="60000"/>
        <a:buFont typeface="Wingdings" panose="05000000000000000000" pitchFamily="2" charset="2"/>
        <a:buChar char="u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2573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9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5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3100" indent="-114300" algn="l" defTabSz="457200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30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6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2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800" algn="l" defTabSz="4572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F26B43"/>
          </p15:clr>
        </p15:guide>
        <p15:guide id="2" pos="7678">
          <p15:clr>
            <a:srgbClr val="F26B43"/>
          </p15:clr>
        </p15:guide>
        <p15:guide id="3" pos="647">
          <p15:clr>
            <a:srgbClr val="F26B43"/>
          </p15:clr>
        </p15:guide>
        <p15:guide id="4" pos="14709">
          <p15:clr>
            <a:srgbClr val="F26B43"/>
          </p15:clr>
        </p15:guide>
        <p15:guide id="5" orient="horz" pos="2120">
          <p15:clr>
            <a:srgbClr val="F26B43"/>
          </p15:clr>
        </p15:guide>
        <p15:guide id="6" orient="horz" pos="2460">
          <p15:clr>
            <a:srgbClr val="F26B43"/>
          </p15:clr>
        </p15:guide>
        <p15:guide id="7" orient="horz" pos="806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id="{1F567F6C-D338-422E-A606-9CA512862C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0615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A22924BB-56FD-4775-AEBE-67E63234BC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849731"/>
            <a:ext cx="10515600" cy="33272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8FCDDDB3-6CF6-467A-89A4-269A2BDB7E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CE4D98-51CE-4671-9A48-B2D784489D9D}" type="datetime1">
              <a:rPr lang="pl-PL" smtClean="0"/>
              <a:t>29.10.2024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52E2A209-D591-4DF2-939B-A5307461D0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D0E84103-1A24-41B7-BF54-5362C7DF07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99D49-E9B0-4648-A2A0-22D531008F3A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07466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94" r:id="rId1"/>
    <p:sldLayoutId id="2147487395" r:id="rId2"/>
    <p:sldLayoutId id="2147487396" r:id="rId3"/>
    <p:sldLayoutId id="2147487397" r:id="rId4"/>
    <p:sldLayoutId id="2147487398" r:id="rId5"/>
    <p:sldLayoutId id="2147487399" r:id="rId6"/>
    <p:sldLayoutId id="2147487400" r:id="rId7"/>
    <p:sldLayoutId id="2147487401" r:id="rId8"/>
    <p:sldLayoutId id="2147487402" r:id="rId9"/>
    <p:sldLayoutId id="2147487403" r:id="rId10"/>
    <p:sldLayoutId id="2147487404" r:id="rId11"/>
    <p:sldLayoutId id="2147487405" r:id="rId12"/>
    <p:sldLayoutId id="2147487406" r:id="rId13"/>
    <p:sldLayoutId id="2147487407" r:id="rId14"/>
    <p:sldLayoutId id="2147487408" r:id="rId15"/>
    <p:sldLayoutId id="2147487409" r:id="rId16"/>
    <p:sldLayoutId id="2147487410" r:id="rId17"/>
    <p:sldLayoutId id="2147487411" r:id="rId18"/>
    <p:sldLayoutId id="2147487412" r:id="rId19"/>
    <p:sldLayoutId id="2147487413" r:id="rId20"/>
    <p:sldLayoutId id="2147487414" r:id="rId21"/>
    <p:sldLayoutId id="2147487415" r:id="rId22"/>
    <p:sldLayoutId id="2147487416" r:id="rId23"/>
    <p:sldLayoutId id="2147487417" r:id="rId24"/>
    <p:sldLayoutId id="2147487418" r:id="rId25"/>
    <p:sldLayoutId id="2147487419" r:id="rId26"/>
    <p:sldLayoutId id="2147487420" r:id="rId27"/>
    <p:sldLayoutId id="2147487421" r:id="rId28"/>
    <p:sldLayoutId id="2147487422" r:id="rId29"/>
    <p:sldLayoutId id="2147487423" r:id="rId30"/>
    <p:sldLayoutId id="2147487424" r:id="rId31"/>
    <p:sldLayoutId id="2147487425" r:id="rId32"/>
    <p:sldLayoutId id="2147487426" r:id="rId33"/>
    <p:sldLayoutId id="2147487427" r:id="rId34"/>
    <p:sldLayoutId id="2147487428" r:id="rId35"/>
    <p:sldLayoutId id="2147487429" r:id="rId36"/>
    <p:sldLayoutId id="2147487430" r:id="rId37"/>
    <p:sldLayoutId id="2147487431" r:id="rId38"/>
    <p:sldLayoutId id="2147487432" r:id="rId39"/>
    <p:sldLayoutId id="2147487433" r:id="rId40"/>
    <p:sldLayoutId id="2147487434" r:id="rId41"/>
    <p:sldLayoutId id="2147487435" r:id="rId42"/>
    <p:sldLayoutId id="2147487436" r:id="rId43"/>
    <p:sldLayoutId id="2147487437" r:id="rId44"/>
    <p:sldLayoutId id="2147487438" r:id="rId45"/>
    <p:sldLayoutId id="2147487439" r:id="rId46"/>
    <p:sldLayoutId id="2147487440" r:id="rId47"/>
    <p:sldLayoutId id="2147487441" r:id="rId48"/>
    <p:sldLayoutId id="2147487442" r:id="rId49"/>
    <p:sldLayoutId id="2147487443" r:id="rId50"/>
    <p:sldLayoutId id="2147487444" r:id="rId51"/>
    <p:sldLayoutId id="2147487445" r:id="rId52"/>
    <p:sldLayoutId id="2147487446" r:id="rId53"/>
    <p:sldLayoutId id="2147487447" r:id="rId54"/>
    <p:sldLayoutId id="2147487448" r:id="rId55"/>
    <p:sldLayoutId id="2147487449" r:id="rId56"/>
    <p:sldLayoutId id="2147487450" r:id="rId57"/>
    <p:sldLayoutId id="2147487451" r:id="rId58"/>
    <p:sldLayoutId id="2147487452" r:id="rId5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42900" algn="l" defTabSz="914400" rtl="0" eaLnBrk="1" latinLnBrk="0" hangingPunct="1">
        <a:lnSpc>
          <a:spcPct val="114000"/>
        </a:lnSpc>
        <a:spcBef>
          <a:spcPts val="1000"/>
        </a:spcBef>
        <a:buFont typeface="Arial" panose="020B0604020202020204" pitchFamily="34" charset="0"/>
        <a:buChar char="•"/>
        <a:defRPr lang="pl-PL" sz="2400" b="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720000" indent="-228600" algn="l" defTabSz="914400" rtl="0" eaLnBrk="1" latinLnBrk="0" hangingPunct="1">
        <a:lnSpc>
          <a:spcPct val="114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216800" indent="-228600" algn="l" defTabSz="914400" rtl="0" eaLnBrk="1" latinLnBrk="0" hangingPunct="1">
        <a:lnSpc>
          <a:spcPct val="114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70400" indent="-228600" algn="l" defTabSz="914400" rtl="0" eaLnBrk="1" latinLnBrk="0" hangingPunct="1">
        <a:lnSpc>
          <a:spcPct val="114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4pPr>
      <a:lvl5pPr marL="2131200" indent="-228600" algn="l" defTabSz="914400" rtl="0" eaLnBrk="1" latinLnBrk="0" hangingPunct="1">
        <a:lnSpc>
          <a:spcPct val="114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9.png"/><Relationship Id="rId3" Type="http://schemas.openxmlformats.org/officeDocument/2006/relationships/image" Target="../media/image43.png"/><Relationship Id="rId7" Type="http://schemas.openxmlformats.org/officeDocument/2006/relationships/image" Target="../media/image15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1.xml"/><Relationship Id="rId6" Type="http://schemas.openxmlformats.org/officeDocument/2006/relationships/image" Target="../media/image157.png"/><Relationship Id="rId11" Type="http://schemas.openxmlformats.org/officeDocument/2006/relationships/image" Target="../media/image162.png"/><Relationship Id="rId5" Type="http://schemas.openxmlformats.org/officeDocument/2006/relationships/image" Target="../media/image44.png"/><Relationship Id="rId10" Type="http://schemas.openxmlformats.org/officeDocument/2006/relationships/image" Target="../media/image161.png"/><Relationship Id="rId4" Type="http://schemas.microsoft.com/office/2007/relationships/hdphoto" Target="../media/hdphoto1.wdp"/><Relationship Id="rId9" Type="http://schemas.openxmlformats.org/officeDocument/2006/relationships/image" Target="../media/image16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2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1.xml"/><Relationship Id="rId6" Type="http://schemas.microsoft.com/office/2007/relationships/hdphoto" Target="../media/hdphoto1.wdp"/><Relationship Id="rId5" Type="http://schemas.openxmlformats.org/officeDocument/2006/relationships/image" Target="../media/image43.png"/><Relationship Id="rId4" Type="http://schemas.openxmlformats.org/officeDocument/2006/relationships/image" Target="../media/image16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164.png"/><Relationship Id="rId7" Type="http://schemas.openxmlformats.org/officeDocument/2006/relationships/image" Target="../media/image16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6.xml"/><Relationship Id="rId6" Type="http://schemas.openxmlformats.org/officeDocument/2006/relationships/image" Target="../media/image167.png"/><Relationship Id="rId5" Type="http://schemas.openxmlformats.org/officeDocument/2006/relationships/image" Target="../media/image166.svg"/><Relationship Id="rId10" Type="http://schemas.openxmlformats.org/officeDocument/2006/relationships/image" Target="../media/image44.png"/><Relationship Id="rId4" Type="http://schemas.openxmlformats.org/officeDocument/2006/relationships/image" Target="../media/image165.png"/><Relationship Id="rId9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3.png"/><Relationship Id="rId3" Type="http://schemas.openxmlformats.org/officeDocument/2006/relationships/image" Target="../media/image169.png"/><Relationship Id="rId7" Type="http://schemas.openxmlformats.org/officeDocument/2006/relationships/image" Target="../media/image17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7.xml"/><Relationship Id="rId6" Type="http://schemas.openxmlformats.org/officeDocument/2006/relationships/image" Target="../media/image168.png"/><Relationship Id="rId11" Type="http://schemas.openxmlformats.org/officeDocument/2006/relationships/image" Target="../media/image44.png"/><Relationship Id="rId5" Type="http://schemas.openxmlformats.org/officeDocument/2006/relationships/image" Target="../media/image171.png"/><Relationship Id="rId10" Type="http://schemas.microsoft.com/office/2007/relationships/hdphoto" Target="../media/hdphoto1.wdp"/><Relationship Id="rId4" Type="http://schemas.openxmlformats.org/officeDocument/2006/relationships/image" Target="../media/image170.svg"/><Relationship Id="rId9" Type="http://schemas.openxmlformats.org/officeDocument/2006/relationships/image" Target="../media/image4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44.png"/><Relationship Id="rId5" Type="http://schemas.microsoft.com/office/2007/relationships/hdphoto" Target="../media/hdphoto1.wdp"/><Relationship Id="rId4" Type="http://schemas.openxmlformats.org/officeDocument/2006/relationships/image" Target="../media/image4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5.jpe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60.xml"/><Relationship Id="rId6" Type="http://schemas.microsoft.com/office/2007/relationships/hdphoto" Target="../media/hdphoto1.wdp"/><Relationship Id="rId5" Type="http://schemas.openxmlformats.org/officeDocument/2006/relationships/image" Target="../media/image43.png"/><Relationship Id="rId4" Type="http://schemas.openxmlformats.org/officeDocument/2006/relationships/image" Target="../media/image17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170.svg"/><Relationship Id="rId7" Type="http://schemas.openxmlformats.org/officeDocument/2006/relationships/image" Target="../media/image178.jpeg"/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248.xml"/><Relationship Id="rId6" Type="http://schemas.openxmlformats.org/officeDocument/2006/relationships/image" Target="../media/image177.png"/><Relationship Id="rId5" Type="http://schemas.openxmlformats.org/officeDocument/2006/relationships/image" Target="../media/image173.png"/><Relationship Id="rId10" Type="http://schemas.openxmlformats.org/officeDocument/2006/relationships/image" Target="../media/image44.png"/><Relationship Id="rId4" Type="http://schemas.openxmlformats.org/officeDocument/2006/relationships/image" Target="../media/image176.png"/><Relationship Id="rId9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60.xml"/><Relationship Id="rId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9.jpeg"/><Relationship Id="rId2" Type="http://schemas.openxmlformats.org/officeDocument/2006/relationships/slideLayout" Target="../slideLayouts/slideLayout208.xml"/><Relationship Id="rId1" Type="http://schemas.openxmlformats.org/officeDocument/2006/relationships/video" Target="https://www.youtube.com/embed/jzLpnmVN7E8?feature=oembed" TargetMode="Externa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6.xml"/><Relationship Id="rId7" Type="http://schemas.openxmlformats.org/officeDocument/2006/relationships/image" Target="../media/image134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33.png"/><Relationship Id="rId5" Type="http://schemas.openxmlformats.org/officeDocument/2006/relationships/image" Target="../media/image132.png"/><Relationship Id="rId4" Type="http://schemas.openxmlformats.org/officeDocument/2006/relationships/image" Target="../media/image131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136.png"/><Relationship Id="rId7" Type="http://schemas.openxmlformats.org/officeDocument/2006/relationships/image" Target="../media/image43.png"/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373.xml"/><Relationship Id="rId6" Type="http://schemas.openxmlformats.org/officeDocument/2006/relationships/image" Target="../media/image139.png"/><Relationship Id="rId5" Type="http://schemas.openxmlformats.org/officeDocument/2006/relationships/image" Target="../media/image138.png"/><Relationship Id="rId4" Type="http://schemas.openxmlformats.org/officeDocument/2006/relationships/image" Target="../media/image137.png"/><Relationship Id="rId9" Type="http://schemas.openxmlformats.org/officeDocument/2006/relationships/image" Target="../media/image4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0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6.png"/><Relationship Id="rId13" Type="http://schemas.openxmlformats.org/officeDocument/2006/relationships/image" Target="../media/image43.png"/><Relationship Id="rId3" Type="http://schemas.openxmlformats.org/officeDocument/2006/relationships/image" Target="../media/image141.png"/><Relationship Id="rId7" Type="http://schemas.openxmlformats.org/officeDocument/2006/relationships/image" Target="../media/image145.svg"/><Relationship Id="rId12" Type="http://schemas.openxmlformats.org/officeDocument/2006/relationships/image" Target="../media/image15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0.xml"/><Relationship Id="rId6" Type="http://schemas.openxmlformats.org/officeDocument/2006/relationships/image" Target="../media/image144.png"/><Relationship Id="rId11" Type="http://schemas.openxmlformats.org/officeDocument/2006/relationships/image" Target="../media/image149.png"/><Relationship Id="rId5" Type="http://schemas.openxmlformats.org/officeDocument/2006/relationships/image" Target="../media/image143.svg"/><Relationship Id="rId15" Type="http://schemas.openxmlformats.org/officeDocument/2006/relationships/image" Target="../media/image44.png"/><Relationship Id="rId10" Type="http://schemas.openxmlformats.org/officeDocument/2006/relationships/image" Target="../media/image148.png"/><Relationship Id="rId4" Type="http://schemas.openxmlformats.org/officeDocument/2006/relationships/image" Target="../media/image142.png"/><Relationship Id="rId9" Type="http://schemas.openxmlformats.org/officeDocument/2006/relationships/image" Target="../media/image147.svg"/><Relationship Id="rId1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png"/><Relationship Id="rId7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44.png"/><Relationship Id="rId5" Type="http://schemas.microsoft.com/office/2007/relationships/hdphoto" Target="../media/hdphoto1.wdp"/><Relationship Id="rId4" Type="http://schemas.openxmlformats.org/officeDocument/2006/relationships/image" Target="../media/image4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png"/><Relationship Id="rId2" Type="http://schemas.openxmlformats.org/officeDocument/2006/relationships/image" Target="../media/image152.jpeg"/><Relationship Id="rId1" Type="http://schemas.openxmlformats.org/officeDocument/2006/relationships/slideLayout" Target="../slideLayouts/slideLayout270.xml"/><Relationship Id="rId4" Type="http://schemas.openxmlformats.org/officeDocument/2006/relationships/image" Target="../media/image154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6.jpeg"/><Relationship Id="rId2" Type="http://schemas.openxmlformats.org/officeDocument/2006/relationships/slideLayout" Target="../slideLayouts/slideLayout6.xml"/><Relationship Id="rId1" Type="http://schemas.openxmlformats.org/officeDocument/2006/relationships/video" Target="https://www.youtube.com/embed/i2NMc_n4Cs4?list=PLYvwXzcB_rcvKh3H_QnTJ151RLPMaAoY0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17A9AF01-4036-0549-83A9-DB193EE0A7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4506" y="2670684"/>
            <a:ext cx="10447652" cy="1951869"/>
          </a:xfrm>
        </p:spPr>
        <p:txBody>
          <a:bodyPr lIns="0">
            <a:normAutofit fontScale="90000"/>
          </a:bodyPr>
          <a:lstStyle/>
          <a:p>
            <a:pPr marL="13970">
              <a:spcBef>
                <a:spcPts val="1200"/>
              </a:spcBef>
              <a:spcAft>
                <a:spcPts val="1200"/>
              </a:spcAft>
            </a:pPr>
            <a:r>
              <a:rPr lang="en-GB" sz="4400" dirty="0">
                <a:solidFill>
                  <a:srgbClr val="FFFFFF"/>
                </a:solidFill>
              </a:rPr>
              <a:t>EHC H</a:t>
            </a:r>
            <a:r>
              <a:rPr lang="en-CH" sz="4400" dirty="0" err="1">
                <a:solidFill>
                  <a:srgbClr val="FFFFFF"/>
                </a:solidFill>
              </a:rPr>
              <a:t>ockey</a:t>
            </a:r>
            <a:r>
              <a:rPr lang="en-CH" sz="4400" dirty="0">
                <a:solidFill>
                  <a:srgbClr val="FFFFFF"/>
                </a:solidFill>
              </a:rPr>
              <a:t> Business Forum </a:t>
            </a:r>
            <a:br>
              <a:rPr lang="en-GB" sz="4400" dirty="0">
                <a:solidFill>
                  <a:srgbClr val="FFFFFF"/>
                </a:solidFill>
              </a:rPr>
            </a:br>
            <a:br>
              <a:rPr lang="en-GB" sz="4400" dirty="0">
                <a:solidFill>
                  <a:srgbClr val="FFFFFF"/>
                </a:solidFill>
              </a:rPr>
            </a:br>
            <a:r>
              <a:rPr lang="en-GB" sz="3600" i="1" dirty="0">
                <a:solidFill>
                  <a:srgbClr val="FFFFFF"/>
                </a:solidFill>
              </a:rPr>
              <a:t>ECA and its role in football…</a:t>
            </a:r>
            <a:br>
              <a:rPr lang="en-GB" sz="3600" i="1" dirty="0">
                <a:solidFill>
                  <a:srgbClr val="FFFFFF"/>
                </a:solidFill>
              </a:rPr>
            </a:br>
            <a:r>
              <a:rPr lang="en-GB" sz="3600" i="1" dirty="0">
                <a:solidFill>
                  <a:srgbClr val="FFFFFF"/>
                </a:solidFill>
              </a:rPr>
              <a:t>…and what Hockey can learn</a:t>
            </a:r>
            <a:endParaRPr lang="en-VN" sz="3600" i="1" dirty="0">
              <a:ea typeface="Open Sans"/>
              <a:cs typeface="Open Sans"/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3F97302D-25E4-B34D-BABB-797DA902A93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68047" y="5788505"/>
            <a:ext cx="7241810" cy="487569"/>
          </a:xfrm>
        </p:spPr>
        <p:txBody>
          <a:bodyPr lIns="0" anchor="b">
            <a:noAutofit/>
          </a:bodyPr>
          <a:lstStyle/>
          <a:p>
            <a:r>
              <a:rPr lang="en-CH" sz="1800" b="1" dirty="0"/>
              <a:t>Munich</a:t>
            </a:r>
            <a:r>
              <a:rPr lang="en-GB" sz="1800" b="1" dirty="0"/>
              <a:t>, 30</a:t>
            </a:r>
            <a:r>
              <a:rPr lang="en-CH" sz="1800" b="1" dirty="0"/>
              <a:t> October </a:t>
            </a:r>
            <a:r>
              <a:rPr lang="en-GB" sz="1800" b="1" dirty="0"/>
              <a:t>202</a:t>
            </a:r>
            <a:r>
              <a:rPr lang="en-CH" sz="1800" b="1" dirty="0"/>
              <a:t>4</a:t>
            </a:r>
            <a:endParaRPr lang="en-GB" sz="1800" b="1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BBE4CB5-897F-69C0-ADA7-1FDC7305EEF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046" y="595277"/>
            <a:ext cx="1585221" cy="689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03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rrow: Bent-Up 45">
            <a:extLst>
              <a:ext uri="{FF2B5EF4-FFF2-40B4-BE49-F238E27FC236}">
                <a16:creationId xmlns:a16="http://schemas.microsoft.com/office/drawing/2014/main" id="{ACC8CF84-90BB-4945-B6A1-C0226FBD5769}"/>
              </a:ext>
            </a:extLst>
          </p:cNvPr>
          <p:cNvSpPr/>
          <p:nvPr/>
        </p:nvSpPr>
        <p:spPr>
          <a:xfrm rot="5400000" flipH="1">
            <a:off x="4402885" y="2597225"/>
            <a:ext cx="374234" cy="638215"/>
          </a:xfrm>
          <a:prstGeom prst="bentArrow">
            <a:avLst>
              <a:gd name="adj1" fmla="val 16628"/>
              <a:gd name="adj2" fmla="val 17094"/>
              <a:gd name="adj3" fmla="val 16628"/>
              <a:gd name="adj4" fmla="val 43750"/>
            </a:avLst>
          </a:prstGeom>
          <a:gradFill>
            <a:gsLst>
              <a:gs pos="0">
                <a:schemeClr val="tx1"/>
              </a:gs>
              <a:gs pos="99000">
                <a:schemeClr val="tx1">
                  <a:alpha val="26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5" name="Arrow: Bent-Up 45">
            <a:extLst>
              <a:ext uri="{FF2B5EF4-FFF2-40B4-BE49-F238E27FC236}">
                <a16:creationId xmlns:a16="http://schemas.microsoft.com/office/drawing/2014/main" id="{BDBD64A8-FB2D-C01B-3730-2CAA3DB63A9C}"/>
              </a:ext>
            </a:extLst>
          </p:cNvPr>
          <p:cNvSpPr/>
          <p:nvPr/>
        </p:nvSpPr>
        <p:spPr>
          <a:xfrm rot="16200000">
            <a:off x="7058381" y="2471654"/>
            <a:ext cx="374234" cy="897826"/>
          </a:xfrm>
          <a:prstGeom prst="bentArrow">
            <a:avLst>
              <a:gd name="adj1" fmla="val 16628"/>
              <a:gd name="adj2" fmla="val 17094"/>
              <a:gd name="adj3" fmla="val 16628"/>
              <a:gd name="adj4" fmla="val 43750"/>
            </a:avLst>
          </a:prstGeom>
          <a:gradFill>
            <a:gsLst>
              <a:gs pos="0">
                <a:schemeClr val="tx1"/>
              </a:gs>
              <a:gs pos="99000">
                <a:schemeClr val="tx1">
                  <a:alpha val="26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6" name="Arrow: Bent-Up 45">
            <a:extLst>
              <a:ext uri="{FF2B5EF4-FFF2-40B4-BE49-F238E27FC236}">
                <a16:creationId xmlns:a16="http://schemas.microsoft.com/office/drawing/2014/main" id="{34A0B578-07D7-31EB-5A3A-CBB81CB256DB}"/>
              </a:ext>
            </a:extLst>
          </p:cNvPr>
          <p:cNvSpPr/>
          <p:nvPr/>
        </p:nvSpPr>
        <p:spPr>
          <a:xfrm rot="16200000">
            <a:off x="5897880" y="2968594"/>
            <a:ext cx="2045881" cy="1637332"/>
          </a:xfrm>
          <a:prstGeom prst="bentArrow">
            <a:avLst>
              <a:gd name="adj1" fmla="val 16628"/>
              <a:gd name="adj2" fmla="val 17094"/>
              <a:gd name="adj3" fmla="val 16628"/>
              <a:gd name="adj4" fmla="val 43750"/>
            </a:avLst>
          </a:prstGeom>
          <a:gradFill>
            <a:gsLst>
              <a:gs pos="0">
                <a:schemeClr val="tx1"/>
              </a:gs>
              <a:gs pos="99000">
                <a:schemeClr val="tx1">
                  <a:alpha val="26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1" name="Arrow: Bent-Up 45">
            <a:extLst>
              <a:ext uri="{FF2B5EF4-FFF2-40B4-BE49-F238E27FC236}">
                <a16:creationId xmlns:a16="http://schemas.microsoft.com/office/drawing/2014/main" id="{92A06E85-5123-5BC9-F00E-3DC2B1C96F79}"/>
              </a:ext>
            </a:extLst>
          </p:cNvPr>
          <p:cNvSpPr/>
          <p:nvPr/>
        </p:nvSpPr>
        <p:spPr>
          <a:xfrm rot="5400000" flipH="1">
            <a:off x="3825658" y="3191134"/>
            <a:ext cx="2045881" cy="1198573"/>
          </a:xfrm>
          <a:prstGeom prst="bentArrow">
            <a:avLst>
              <a:gd name="adj1" fmla="val 16628"/>
              <a:gd name="adj2" fmla="val 17094"/>
              <a:gd name="adj3" fmla="val 16628"/>
              <a:gd name="adj4" fmla="val 43750"/>
            </a:avLst>
          </a:prstGeom>
          <a:gradFill>
            <a:gsLst>
              <a:gs pos="0">
                <a:schemeClr val="tx1"/>
              </a:gs>
              <a:gs pos="99000">
                <a:schemeClr val="tx1">
                  <a:alpha val="26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A486A43-2267-6325-BD70-3878918E1005}"/>
              </a:ext>
            </a:extLst>
          </p:cNvPr>
          <p:cNvGrpSpPr/>
          <p:nvPr/>
        </p:nvGrpSpPr>
        <p:grpSpPr>
          <a:xfrm>
            <a:off x="10233652" y="291314"/>
            <a:ext cx="1373893" cy="752560"/>
            <a:chOff x="10506211" y="315080"/>
            <a:chExt cx="1223334" cy="67009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1DB55B2-3F1A-3C3E-1597-A9993EFBFD6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-8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54553" y="838547"/>
              <a:ext cx="882870" cy="45719"/>
            </a:xfrm>
            <a:prstGeom prst="rect">
              <a:avLst/>
            </a:prstGeom>
          </p:spPr>
        </p:pic>
        <p:pic>
          <p:nvPicPr>
            <p:cNvPr id="12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68A8F7FE-68B2-FBA0-DB09-BD2B1270450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6211" y="315080"/>
              <a:ext cx="1223334" cy="670090"/>
            </a:xfrm>
            <a:prstGeom prst="rect">
              <a:avLst/>
            </a:prstGeom>
          </p:spPr>
        </p:pic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688BE1-F959-FBAE-EFE9-53B7F5F33C7A}"/>
              </a:ext>
            </a:extLst>
          </p:cNvPr>
          <p:cNvSpPr txBox="1">
            <a:spLocks/>
          </p:cNvSpPr>
          <p:nvPr/>
        </p:nvSpPr>
        <p:spPr>
          <a:xfrm>
            <a:off x="834931" y="394626"/>
            <a:ext cx="11202204" cy="62858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0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2168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704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1312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kumimoji="0" lang="en-GB" sz="2800" b="1" i="0" u="none" strike="noStrike" kern="1200" cap="none" spc="-150" normalizeH="0" baseline="0" noProof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CA’s </a:t>
            </a:r>
            <a:r>
              <a:rPr kumimoji="0" lang="en-CH" sz="2800" b="1" i="0" u="none" strike="noStrike" kern="1200" cap="none" spc="-150" normalizeH="0" baseline="0" noProof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verall </a:t>
            </a:r>
            <a:r>
              <a:rPr kumimoji="0" lang="en-GB" sz="2800" b="1" i="0" u="none" strike="noStrike" kern="1200" cap="none" spc="-150" normalizeH="0" baseline="0" noProof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overnance </a:t>
            </a:r>
            <a:r>
              <a:rPr kumimoji="0" lang="en-CH" sz="2800" b="1" i="0" u="none" strike="noStrike" kern="1200" cap="none" spc="-150" normalizeH="0" baseline="0" noProof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ructure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65C1D9E1-2C85-0E08-48B4-63D85236AC74}"/>
              </a:ext>
            </a:extLst>
          </p:cNvPr>
          <p:cNvSpPr/>
          <p:nvPr/>
        </p:nvSpPr>
        <p:spPr>
          <a:xfrm>
            <a:off x="4351307" y="1974491"/>
            <a:ext cx="2955636" cy="738084"/>
          </a:xfrm>
          <a:prstGeom prst="roundRect">
            <a:avLst>
              <a:gd name="adj" fmla="val 50000"/>
            </a:avLst>
          </a:prstGeom>
          <a:solidFill>
            <a:schemeClr val="bg1">
              <a:alpha val="60000"/>
            </a:schemeClr>
          </a:solidFill>
          <a:ln>
            <a:solidFill>
              <a:srgbClr val="1046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E55C8ED8-2205-D577-BBF5-37F4D1AA655C}"/>
              </a:ext>
            </a:extLst>
          </p:cNvPr>
          <p:cNvSpPr/>
          <p:nvPr/>
        </p:nvSpPr>
        <p:spPr>
          <a:xfrm>
            <a:off x="4525600" y="2100820"/>
            <a:ext cx="2616197" cy="462699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 w="28575">
            <a:noFill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6480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oard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0EDAB666-3CF7-3956-D231-F1628B346F52}"/>
              </a:ext>
            </a:extLst>
          </p:cNvPr>
          <p:cNvSpPr/>
          <p:nvPr/>
        </p:nvSpPr>
        <p:spPr>
          <a:xfrm>
            <a:off x="6007599" y="2170224"/>
            <a:ext cx="1010672" cy="319160"/>
          </a:xfrm>
          <a:prstGeom prst="roundRect">
            <a:avLst>
              <a:gd name="adj" fmla="val 50000"/>
            </a:avLst>
          </a:prstGeom>
          <a:solidFill>
            <a:srgbClr val="114625"/>
          </a:solidFill>
          <a:ln w="28575">
            <a:noFill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xCo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5E01D24-22D6-D1A0-A5E0-5728600450FB}"/>
              </a:ext>
            </a:extLst>
          </p:cNvPr>
          <p:cNvSpPr/>
          <p:nvPr/>
        </p:nvSpPr>
        <p:spPr>
          <a:xfrm>
            <a:off x="7436239" y="3852513"/>
            <a:ext cx="2616197" cy="462699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 w="28575">
            <a:noFill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4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nternal Bodie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014131AA-CC7F-7CFF-485D-E609E4DC1B84}"/>
              </a:ext>
            </a:extLst>
          </p:cNvPr>
          <p:cNvSpPr/>
          <p:nvPr/>
        </p:nvSpPr>
        <p:spPr>
          <a:xfrm>
            <a:off x="1303568" y="5793272"/>
            <a:ext cx="8748868" cy="507386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 w="28575">
            <a:noFill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CA </a:t>
            </a:r>
            <a:r>
              <a:rPr kumimoji="0" lang="en-CH" sz="16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dministra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</a:t>
            </a:r>
            <a:r>
              <a:rPr kumimoji="0" lang="en-CH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on 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4" name="Rounded Rectangle 28">
            <a:extLst>
              <a:ext uri="{FF2B5EF4-FFF2-40B4-BE49-F238E27FC236}">
                <a16:creationId xmlns:a16="http://schemas.microsoft.com/office/drawing/2014/main" id="{3642F235-A47E-08DC-9943-25F6FBC99BF6}"/>
              </a:ext>
            </a:extLst>
          </p:cNvPr>
          <p:cNvSpPr/>
          <p:nvPr/>
        </p:nvSpPr>
        <p:spPr>
          <a:xfrm>
            <a:off x="7505162" y="4401398"/>
            <a:ext cx="2547273" cy="666434"/>
          </a:xfrm>
          <a:prstGeom prst="roundRect">
            <a:avLst>
              <a:gd name="adj" fmla="val 20382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4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CA Working Groups, Panels &amp; Task Force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0" name="Rounded Rectangle 10">
            <a:extLst>
              <a:ext uri="{FF2B5EF4-FFF2-40B4-BE49-F238E27FC236}">
                <a16:creationId xmlns:a16="http://schemas.microsoft.com/office/drawing/2014/main" id="{C7546C93-680B-1CCF-A81F-C1AFD9D0137C}"/>
              </a:ext>
            </a:extLst>
          </p:cNvPr>
          <p:cNvSpPr/>
          <p:nvPr/>
        </p:nvSpPr>
        <p:spPr>
          <a:xfrm>
            <a:off x="1886158" y="3852513"/>
            <a:ext cx="2616197" cy="462699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 w="28575">
            <a:noFill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4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xternal Bodie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3" name="Rounded Rectangle 28">
            <a:extLst>
              <a:ext uri="{FF2B5EF4-FFF2-40B4-BE49-F238E27FC236}">
                <a16:creationId xmlns:a16="http://schemas.microsoft.com/office/drawing/2014/main" id="{78C94729-F860-F0CF-42A8-9F0A270E2AFD}"/>
              </a:ext>
            </a:extLst>
          </p:cNvPr>
          <p:cNvSpPr/>
          <p:nvPr/>
        </p:nvSpPr>
        <p:spPr>
          <a:xfrm>
            <a:off x="1920621" y="4403021"/>
            <a:ext cx="2547273" cy="666434"/>
          </a:xfrm>
          <a:prstGeom prst="roundRect">
            <a:avLst>
              <a:gd name="adj" fmla="val 20382"/>
            </a:avLst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4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UEFA and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CH" sz="14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IFA Committee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4" name="Rounded Rectangle 8">
            <a:extLst>
              <a:ext uri="{FF2B5EF4-FFF2-40B4-BE49-F238E27FC236}">
                <a16:creationId xmlns:a16="http://schemas.microsoft.com/office/drawing/2014/main" id="{24859A04-2AFE-D6FF-DBBB-F47BC040EAC3}"/>
              </a:ext>
            </a:extLst>
          </p:cNvPr>
          <p:cNvSpPr/>
          <p:nvPr/>
        </p:nvSpPr>
        <p:spPr>
          <a:xfrm>
            <a:off x="1303566" y="1371431"/>
            <a:ext cx="8748870" cy="462699"/>
          </a:xfrm>
          <a:prstGeom prst="roundRect">
            <a:avLst>
              <a:gd name="adj" fmla="val 50000"/>
            </a:avLst>
          </a:prstGeom>
          <a:solidFill>
            <a:schemeClr val="tx1">
              <a:lumMod val="50000"/>
            </a:schemeClr>
          </a:solidFill>
          <a:ln w="28575">
            <a:noFill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4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General Assembly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7" name="Rounded Rectangle 28">
            <a:extLst>
              <a:ext uri="{FF2B5EF4-FFF2-40B4-BE49-F238E27FC236}">
                <a16:creationId xmlns:a16="http://schemas.microsoft.com/office/drawing/2014/main" id="{89781E9B-5E65-C01B-BE3E-150D27B05C4C}"/>
              </a:ext>
            </a:extLst>
          </p:cNvPr>
          <p:cNvSpPr/>
          <p:nvPr/>
        </p:nvSpPr>
        <p:spPr>
          <a:xfrm>
            <a:off x="1886158" y="2618949"/>
            <a:ext cx="2547273" cy="666434"/>
          </a:xfrm>
          <a:prstGeom prst="roundRect">
            <a:avLst>
              <a:gd name="adj" fmla="val 20382"/>
            </a:avLst>
          </a:prstGeom>
          <a:solidFill>
            <a:schemeClr val="accent4">
              <a:lumMod val="20000"/>
              <a:lumOff val="80000"/>
            </a:schemeClr>
          </a:solidFill>
          <a:ln w="38100" cap="rnd">
            <a:solidFill>
              <a:schemeClr val="tx2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4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Joint Venture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8" name="Rounded Rectangle 28">
            <a:extLst>
              <a:ext uri="{FF2B5EF4-FFF2-40B4-BE49-F238E27FC236}">
                <a16:creationId xmlns:a16="http://schemas.microsoft.com/office/drawing/2014/main" id="{8BF95DC9-3C1A-DCC2-9773-9DB1189F4651}"/>
              </a:ext>
            </a:extLst>
          </p:cNvPr>
          <p:cNvSpPr/>
          <p:nvPr/>
        </p:nvSpPr>
        <p:spPr>
          <a:xfrm>
            <a:off x="7505162" y="2608855"/>
            <a:ext cx="2547273" cy="666434"/>
          </a:xfrm>
          <a:prstGeom prst="roundRect">
            <a:avLst>
              <a:gd name="adj" fmla="val 20382"/>
            </a:avLst>
          </a:prstGeom>
          <a:solidFill>
            <a:schemeClr val="accent4">
              <a:lumMod val="20000"/>
              <a:lumOff val="80000"/>
            </a:schemeClr>
          </a:solidFill>
          <a:ln w="38100" cap="rnd">
            <a:solidFill>
              <a:schemeClr val="tx2"/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4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CA Foundation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7" name="Arrow: Right 44">
            <a:extLst>
              <a:ext uri="{FF2B5EF4-FFF2-40B4-BE49-F238E27FC236}">
                <a16:creationId xmlns:a16="http://schemas.microsoft.com/office/drawing/2014/main" id="{817F2E2E-33BA-B5A0-DEBA-50110817F1B2}"/>
              </a:ext>
            </a:extLst>
          </p:cNvPr>
          <p:cNvSpPr/>
          <p:nvPr/>
        </p:nvSpPr>
        <p:spPr>
          <a:xfrm rot="16200000">
            <a:off x="4503473" y="4006764"/>
            <a:ext cx="2603598" cy="456164"/>
          </a:xfrm>
          <a:prstGeom prst="rightArrow">
            <a:avLst/>
          </a:prstGeom>
          <a:gradFill>
            <a:gsLst>
              <a:gs pos="0">
                <a:schemeClr val="tx1"/>
              </a:gs>
              <a:gs pos="99000">
                <a:schemeClr val="tx1"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9" name="Arrow: Left 49">
            <a:extLst>
              <a:ext uri="{FF2B5EF4-FFF2-40B4-BE49-F238E27FC236}">
                <a16:creationId xmlns:a16="http://schemas.microsoft.com/office/drawing/2014/main" id="{1C11333A-293A-D429-B459-D6DE5242E74C}"/>
              </a:ext>
            </a:extLst>
          </p:cNvPr>
          <p:cNvSpPr/>
          <p:nvPr/>
        </p:nvSpPr>
        <p:spPr>
          <a:xfrm rot="10800000">
            <a:off x="978072" y="2004399"/>
            <a:ext cx="3292822" cy="264931"/>
          </a:xfrm>
          <a:prstGeom prst="leftArrow">
            <a:avLst/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100000">
                <a:schemeClr val="bg1">
                  <a:lumMod val="85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0" name="Arrow: Left 50">
            <a:extLst>
              <a:ext uri="{FF2B5EF4-FFF2-40B4-BE49-F238E27FC236}">
                <a16:creationId xmlns:a16="http://schemas.microsoft.com/office/drawing/2014/main" id="{00B33993-4EC4-D230-9E2B-21DBD9838E87}"/>
              </a:ext>
            </a:extLst>
          </p:cNvPr>
          <p:cNvSpPr/>
          <p:nvPr/>
        </p:nvSpPr>
        <p:spPr>
          <a:xfrm>
            <a:off x="1241271" y="2961389"/>
            <a:ext cx="494738" cy="288351"/>
          </a:xfrm>
          <a:prstGeom prst="leftArrow">
            <a:avLst/>
          </a:prstGeom>
          <a:gradFill flip="none" rotWithShape="1">
            <a:gsLst>
              <a:gs pos="50000">
                <a:srgbClr val="C4C2C2"/>
              </a:gs>
              <a:gs pos="0">
                <a:schemeClr val="bg2">
                  <a:lumMod val="75000"/>
                </a:schemeClr>
              </a:gs>
              <a:gs pos="100000">
                <a:schemeClr val="bg1">
                  <a:lumMod val="85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8" name="Rounded Rectangle 57">
            <a:extLst>
              <a:ext uri="{FF2B5EF4-FFF2-40B4-BE49-F238E27FC236}">
                <a16:creationId xmlns:a16="http://schemas.microsoft.com/office/drawing/2014/main" id="{B3179649-B0B3-D318-A85C-90A916B2A60E}"/>
              </a:ext>
            </a:extLst>
          </p:cNvPr>
          <p:cNvSpPr/>
          <p:nvPr/>
        </p:nvSpPr>
        <p:spPr>
          <a:xfrm>
            <a:off x="166189" y="1895537"/>
            <a:ext cx="958087" cy="3897735"/>
          </a:xfrm>
          <a:prstGeom prst="roundRect">
            <a:avLst>
              <a:gd name="adj" fmla="val 48836"/>
            </a:avLst>
          </a:prstGeom>
          <a:solidFill>
            <a:schemeClr val="bg1"/>
          </a:solidFill>
          <a:ln w="22225">
            <a:solidFill>
              <a:schemeClr val="bg1"/>
            </a:solidFill>
          </a:ln>
          <a:effectLst>
            <a:outerShdw blurRad="232311" dist="38100" dir="2700000" algn="tl" rotWithShape="0">
              <a:prstClr val="black">
                <a:alpha val="21939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400" b="1" i="0" u="none" strike="noStrike" kern="1200" cap="none" spc="0" normalizeH="0" baseline="0" noProof="0">
              <a:ln>
                <a:noFill/>
              </a:ln>
              <a:solidFill>
                <a:srgbClr val="28A357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4" name="object 60">
            <a:extLst>
              <a:ext uri="{FF2B5EF4-FFF2-40B4-BE49-F238E27FC236}">
                <a16:creationId xmlns:a16="http://schemas.microsoft.com/office/drawing/2014/main" id="{DB6B76B5-B265-D692-61E1-6A1C3538F612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405437" y="2115910"/>
            <a:ext cx="453587" cy="432366"/>
          </a:xfrm>
          <a:prstGeom prst="rect">
            <a:avLst/>
          </a:prstGeom>
        </p:spPr>
      </p:pic>
      <p:pic>
        <p:nvPicPr>
          <p:cNvPr id="66" name="object 67">
            <a:extLst>
              <a:ext uri="{FF2B5EF4-FFF2-40B4-BE49-F238E27FC236}">
                <a16:creationId xmlns:a16="http://schemas.microsoft.com/office/drawing/2014/main" id="{A2BE317F-3160-1497-D856-AA191D3FB611}"/>
              </a:ext>
            </a:extLst>
          </p:cNvPr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454056" y="3369373"/>
            <a:ext cx="365504" cy="377952"/>
          </a:xfrm>
          <a:prstGeom prst="rect">
            <a:avLst/>
          </a:prstGeom>
        </p:spPr>
      </p:pic>
      <p:pic>
        <p:nvPicPr>
          <p:cNvPr id="67" name="object 59">
            <a:extLst>
              <a:ext uri="{FF2B5EF4-FFF2-40B4-BE49-F238E27FC236}">
                <a16:creationId xmlns:a16="http://schemas.microsoft.com/office/drawing/2014/main" id="{CFFF545B-5E72-2BC1-5237-0E3A9DABF12C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372025" y="3908777"/>
            <a:ext cx="512951" cy="464792"/>
          </a:xfrm>
          <a:prstGeom prst="rect">
            <a:avLst/>
          </a:prstGeom>
        </p:spPr>
      </p:pic>
      <p:pic>
        <p:nvPicPr>
          <p:cNvPr id="68" name="object 151">
            <a:extLst>
              <a:ext uri="{FF2B5EF4-FFF2-40B4-BE49-F238E27FC236}">
                <a16:creationId xmlns:a16="http://schemas.microsoft.com/office/drawing/2014/main" id="{3A4C0C90-CA48-1BC8-846B-5CA28637D227}"/>
              </a:ext>
            </a:extLst>
          </p:cNvPr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441656" y="4679984"/>
            <a:ext cx="346814" cy="329598"/>
          </a:xfrm>
          <a:prstGeom prst="rect">
            <a:avLst/>
          </a:prstGeom>
        </p:spPr>
      </p:pic>
      <p:pic>
        <p:nvPicPr>
          <p:cNvPr id="69" name="object 123">
            <a:extLst>
              <a:ext uri="{FF2B5EF4-FFF2-40B4-BE49-F238E27FC236}">
                <a16:creationId xmlns:a16="http://schemas.microsoft.com/office/drawing/2014/main" id="{9E2A0638-206D-0C15-1633-2608DD637A76}"/>
              </a:ext>
            </a:extLst>
          </p:cNvPr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240293" y="5204486"/>
            <a:ext cx="760082" cy="411503"/>
          </a:xfrm>
          <a:prstGeom prst="rect">
            <a:avLst/>
          </a:prstGeom>
        </p:spPr>
      </p:pic>
      <p:sp>
        <p:nvSpPr>
          <p:cNvPr id="72" name="Round Same Side Corner Rectangle 71">
            <a:extLst>
              <a:ext uri="{FF2B5EF4-FFF2-40B4-BE49-F238E27FC236}">
                <a16:creationId xmlns:a16="http://schemas.microsoft.com/office/drawing/2014/main" id="{CF445CB6-3A4D-FC61-6483-4531EEA7ED3F}"/>
              </a:ext>
            </a:extLst>
          </p:cNvPr>
          <p:cNvSpPr/>
          <p:nvPr/>
        </p:nvSpPr>
        <p:spPr>
          <a:xfrm rot="5400000">
            <a:off x="9380561" y="2192305"/>
            <a:ext cx="1995715" cy="353968"/>
          </a:xfrm>
          <a:prstGeom prst="round2SameRect">
            <a:avLst>
              <a:gd name="adj1" fmla="val 49367"/>
              <a:gd name="adj2" fmla="val 0"/>
            </a:avLst>
          </a:prstGeom>
          <a:solidFill>
            <a:srgbClr val="00361D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ecide</a:t>
            </a:r>
            <a:endParaRPr kumimoji="0" lang="en-CH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73" name="Round Same Side Corner Rectangle 72">
            <a:extLst>
              <a:ext uri="{FF2B5EF4-FFF2-40B4-BE49-F238E27FC236}">
                <a16:creationId xmlns:a16="http://schemas.microsoft.com/office/drawing/2014/main" id="{3B8CD767-2095-BB85-32AF-62D45F44A702}"/>
              </a:ext>
            </a:extLst>
          </p:cNvPr>
          <p:cNvSpPr/>
          <p:nvPr/>
        </p:nvSpPr>
        <p:spPr>
          <a:xfrm rot="5400000">
            <a:off x="9608542" y="4337021"/>
            <a:ext cx="1539750" cy="353968"/>
          </a:xfrm>
          <a:prstGeom prst="round2SameRect">
            <a:avLst>
              <a:gd name="adj1" fmla="val 49367"/>
              <a:gd name="adj2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commend</a:t>
            </a:r>
            <a:endParaRPr kumimoji="0" lang="en-CH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74" name="Round Same Side Corner Rectangle 73">
            <a:extLst>
              <a:ext uri="{FF2B5EF4-FFF2-40B4-BE49-F238E27FC236}">
                <a16:creationId xmlns:a16="http://schemas.microsoft.com/office/drawing/2014/main" id="{F99FBA70-FFCD-663F-3DF3-BF69DFE5B256}"/>
              </a:ext>
            </a:extLst>
          </p:cNvPr>
          <p:cNvSpPr/>
          <p:nvPr/>
        </p:nvSpPr>
        <p:spPr>
          <a:xfrm rot="5400000">
            <a:off x="9730844" y="5835229"/>
            <a:ext cx="1295147" cy="353967"/>
          </a:xfrm>
          <a:prstGeom prst="round2SameRect">
            <a:avLst>
              <a:gd name="adj1" fmla="val 49367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mplement</a:t>
            </a:r>
            <a:endParaRPr kumimoji="0" lang="en-CH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37F0FF1E-004B-F760-DEBE-1DF0487DD60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183" y="2865842"/>
            <a:ext cx="534157" cy="174815"/>
          </a:xfrm>
          <a:prstGeom prst="rect">
            <a:avLst/>
          </a:prstGeom>
        </p:spPr>
      </p:pic>
      <p:sp>
        <p:nvSpPr>
          <p:cNvPr id="2" name="Arrow: Left 50">
            <a:extLst>
              <a:ext uri="{FF2B5EF4-FFF2-40B4-BE49-F238E27FC236}">
                <a16:creationId xmlns:a16="http://schemas.microsoft.com/office/drawing/2014/main" id="{9CA8FC6F-3EBD-3B99-CC18-A4C6E3C92B86}"/>
              </a:ext>
            </a:extLst>
          </p:cNvPr>
          <p:cNvSpPr/>
          <p:nvPr/>
        </p:nvSpPr>
        <p:spPr>
          <a:xfrm rot="10800000">
            <a:off x="1303565" y="2701820"/>
            <a:ext cx="494738" cy="288351"/>
          </a:xfrm>
          <a:prstGeom prst="leftArrow">
            <a:avLst/>
          </a:prstGeom>
          <a:gradFill flip="none" rotWithShape="1">
            <a:gsLst>
              <a:gs pos="50000">
                <a:srgbClr val="C4C2C2"/>
              </a:gs>
              <a:gs pos="0">
                <a:schemeClr val="bg2">
                  <a:lumMod val="75000"/>
                </a:schemeClr>
              </a:gs>
              <a:gs pos="100000">
                <a:schemeClr val="bg1">
                  <a:lumMod val="85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" name="Arrow: Left 49">
            <a:extLst>
              <a:ext uri="{FF2B5EF4-FFF2-40B4-BE49-F238E27FC236}">
                <a16:creationId xmlns:a16="http://schemas.microsoft.com/office/drawing/2014/main" id="{AF08420F-206D-4D97-E731-36FADF1D8247}"/>
              </a:ext>
            </a:extLst>
          </p:cNvPr>
          <p:cNvSpPr/>
          <p:nvPr/>
        </p:nvSpPr>
        <p:spPr>
          <a:xfrm>
            <a:off x="1241271" y="2239524"/>
            <a:ext cx="3225866" cy="241826"/>
          </a:xfrm>
          <a:prstGeom prst="leftArrow">
            <a:avLst/>
          </a:prstGeom>
          <a:gradFill flip="none" rotWithShape="1">
            <a:gsLst>
              <a:gs pos="0">
                <a:schemeClr val="bg2">
                  <a:lumMod val="75000"/>
                </a:schemeClr>
              </a:gs>
              <a:gs pos="100000">
                <a:schemeClr val="bg1">
                  <a:lumMod val="85000"/>
                  <a:alpha val="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7" name="Rounded Rectangle 57">
            <a:extLst>
              <a:ext uri="{FF2B5EF4-FFF2-40B4-BE49-F238E27FC236}">
                <a16:creationId xmlns:a16="http://schemas.microsoft.com/office/drawing/2014/main" id="{25379FB4-F15A-88C4-F044-FAEA09EBAAC2}"/>
              </a:ext>
            </a:extLst>
          </p:cNvPr>
          <p:cNvSpPr/>
          <p:nvPr/>
        </p:nvSpPr>
        <p:spPr>
          <a:xfrm>
            <a:off x="10724969" y="1795262"/>
            <a:ext cx="1267927" cy="4183532"/>
          </a:xfrm>
          <a:prstGeom prst="roundRect">
            <a:avLst>
              <a:gd name="adj" fmla="val 48836"/>
            </a:avLst>
          </a:prstGeom>
          <a:solidFill>
            <a:schemeClr val="bg1">
              <a:lumMod val="75000"/>
            </a:schemeClr>
          </a:solidFill>
          <a:ln w="22225">
            <a:solidFill>
              <a:schemeClr val="tx1"/>
            </a:solidFill>
          </a:ln>
          <a:effectLst>
            <a:outerShdw blurRad="232311" dist="38100" dir="2700000" algn="tl" rotWithShape="0">
              <a:prstClr val="black">
                <a:alpha val="21939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400" b="1" i="0" u="none" strike="noStrike" kern="1200" cap="none" spc="0" normalizeH="0" baseline="0" noProof="0">
              <a:ln>
                <a:noFill/>
              </a:ln>
              <a:solidFill>
                <a:srgbClr val="28A357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3A9A5DE-44CF-54D9-4E1D-ADF409E6EC0C}"/>
              </a:ext>
            </a:extLst>
          </p:cNvPr>
          <p:cNvSpPr/>
          <p:nvPr/>
        </p:nvSpPr>
        <p:spPr>
          <a:xfrm>
            <a:off x="10546797" y="1195876"/>
            <a:ext cx="1607064" cy="6771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28A357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</a:t>
            </a:r>
            <a:r>
              <a:rPr kumimoji="0" lang="en-CH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28A357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iority</a:t>
            </a:r>
            <a:r>
              <a:rPr kumimoji="0" lang="en-CH" sz="1400" b="1" i="0" u="none" strike="noStrike" kern="1200" cap="none" spc="0" normalizeH="0" baseline="0" noProof="0" dirty="0">
                <a:ln>
                  <a:noFill/>
                </a:ln>
                <a:solidFill>
                  <a:srgbClr val="28A357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opic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28A357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9CF8CE-4582-BB02-4A04-86D0F25F7BC3}"/>
              </a:ext>
            </a:extLst>
          </p:cNvPr>
          <p:cNvSpPr/>
          <p:nvPr/>
        </p:nvSpPr>
        <p:spPr>
          <a:xfrm>
            <a:off x="10862772" y="2294300"/>
            <a:ext cx="986968" cy="59651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lendar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48EBB7C-A934-2F5F-87CE-068A382D8ADC}"/>
              </a:ext>
            </a:extLst>
          </p:cNvPr>
          <p:cNvSpPr/>
          <p:nvPr/>
        </p:nvSpPr>
        <p:spPr>
          <a:xfrm>
            <a:off x="10859520" y="3005976"/>
            <a:ext cx="990220" cy="7833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EFA &amp; FIFA Club Competitions Forma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34CAA11-9147-5946-910E-79C7E77CA405}"/>
              </a:ext>
            </a:extLst>
          </p:cNvPr>
          <p:cNvSpPr/>
          <p:nvPr/>
        </p:nvSpPr>
        <p:spPr>
          <a:xfrm>
            <a:off x="10863822" y="3879878"/>
            <a:ext cx="990220" cy="7833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yer Transfer System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C2B7941-8B33-12B0-C5DA-688B031A73A7}"/>
              </a:ext>
            </a:extLst>
          </p:cNvPr>
          <p:cNvSpPr/>
          <p:nvPr/>
        </p:nvSpPr>
        <p:spPr>
          <a:xfrm>
            <a:off x="10863822" y="4778437"/>
            <a:ext cx="990220" cy="7833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ancial Model Mechanism</a:t>
            </a:r>
          </a:p>
        </p:txBody>
      </p:sp>
    </p:spTree>
    <p:extLst>
      <p:ext uri="{BB962C8B-B14F-4D97-AF65-F5344CB8AC3E}">
        <p14:creationId xmlns:p14="http://schemas.microsoft.com/office/powerpoint/2010/main" val="1636471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49535B-EC10-D60C-8C14-BA057BA29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99D49-E9B0-4648-A2A0-22D531008F3A}" type="slidenum">
              <a:rPr kumimoji="0" lang="pl-PL" sz="1200" b="1" i="1" u="none" strike="noStrike" kern="1200" cap="none" spc="0" normalizeH="0" baseline="0" noProof="0" smtClean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pl-PL" sz="1200" b="1" i="1" u="none" strike="noStrike" kern="1200" cap="none" spc="0" normalizeH="0" baseline="0" noProof="0">
              <a:ln>
                <a:noFill/>
              </a:ln>
              <a:solidFill>
                <a:srgbClr val="29A457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0C6571C-5E03-B2EE-82FC-4B9A6A7F85C8}"/>
              </a:ext>
            </a:extLst>
          </p:cNvPr>
          <p:cNvSpPr txBox="1">
            <a:spLocks/>
          </p:cNvSpPr>
          <p:nvPr/>
        </p:nvSpPr>
        <p:spPr>
          <a:xfrm>
            <a:off x="846361" y="394626"/>
            <a:ext cx="11202204" cy="62858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0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2168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704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1312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kumimoji="0" lang="en-GB" sz="2800" b="1" i="0" u="none" strike="noStrike" kern="1200" cap="none" spc="-150" normalizeH="0" baseline="0" noProof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CA and Stakeholder Organs and Bodies</a:t>
            </a:r>
            <a:endParaRPr kumimoji="0" lang="en-CH" sz="2800" b="1" i="0" u="none" strike="noStrike" kern="1200" cap="none" spc="-150" normalizeH="0" baseline="0" noProof="0">
              <a:ln>
                <a:noFill/>
              </a:ln>
              <a:solidFill>
                <a:srgbClr val="29A457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76" name="Round Same Side Corner Rectangle 61">
            <a:extLst>
              <a:ext uri="{FF2B5EF4-FFF2-40B4-BE49-F238E27FC236}">
                <a16:creationId xmlns:a16="http://schemas.microsoft.com/office/drawing/2014/main" id="{E34F6EE7-883A-C026-7959-8CF52DD0D6C3}"/>
              </a:ext>
            </a:extLst>
          </p:cNvPr>
          <p:cNvSpPr/>
          <p:nvPr/>
        </p:nvSpPr>
        <p:spPr>
          <a:xfrm rot="5400000" flipH="1">
            <a:off x="733872" y="947444"/>
            <a:ext cx="4496958" cy="5964702"/>
          </a:xfrm>
          <a:prstGeom prst="round2SameRect">
            <a:avLst>
              <a:gd name="adj1" fmla="val 6662"/>
              <a:gd name="adj2" fmla="val 0"/>
            </a:avLst>
          </a:prstGeom>
          <a:solidFill>
            <a:srgbClr val="28A357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>
            <a:outerShdw blurRad="223420" dist="38100" dir="2700000" algn="tl" rotWithShape="0">
              <a:prstClr val="black">
                <a:alpha val="16885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7" name="Rectangle: Rounded Corners 19">
            <a:extLst>
              <a:ext uri="{FF2B5EF4-FFF2-40B4-BE49-F238E27FC236}">
                <a16:creationId xmlns:a16="http://schemas.microsoft.com/office/drawing/2014/main" id="{4443E0AF-7E0F-ABE1-8140-896CF155A387}"/>
              </a:ext>
            </a:extLst>
          </p:cNvPr>
          <p:cNvSpPr/>
          <p:nvPr/>
        </p:nvSpPr>
        <p:spPr>
          <a:xfrm>
            <a:off x="636650" y="1484421"/>
            <a:ext cx="4300552" cy="447617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rgbClr val="28A357"/>
              </a:gs>
              <a:gs pos="0">
                <a:srgbClr val="0D8138"/>
              </a:gs>
            </a:gsLst>
            <a:lin ang="5400000" scaled="1"/>
          </a:gradFill>
          <a:ln w="22225" cap="flat" cmpd="sng" algn="ctr">
            <a:solidFill>
              <a:srgbClr val="FFFFFF"/>
            </a:solidFill>
            <a:prstDash val="solid"/>
            <a:miter lim="800000"/>
          </a:ln>
          <a:effectLst>
            <a:outerShdw blurRad="180440" dist="38100" dir="2700000" algn="tl" rotWithShape="0">
              <a:prstClr val="black">
                <a:alpha val="24484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General Assembly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609AC4BD-DFBB-F575-11DF-077F07E6777C}"/>
              </a:ext>
            </a:extLst>
          </p:cNvPr>
          <p:cNvGrpSpPr/>
          <p:nvPr/>
        </p:nvGrpSpPr>
        <p:grpSpPr>
          <a:xfrm>
            <a:off x="646237" y="2234416"/>
            <a:ext cx="4300552" cy="1154217"/>
            <a:chOff x="2115793" y="2274782"/>
            <a:chExt cx="2803722" cy="1518616"/>
          </a:xfrm>
        </p:grpSpPr>
        <p:sp>
          <p:nvSpPr>
            <p:cNvPr id="79" name="Rounded Rectangle 8">
              <a:extLst>
                <a:ext uri="{FF2B5EF4-FFF2-40B4-BE49-F238E27FC236}">
                  <a16:creationId xmlns:a16="http://schemas.microsoft.com/office/drawing/2014/main" id="{2C4FE46F-C4C2-26B7-7F0E-7F3C4A3206E7}"/>
                </a:ext>
              </a:extLst>
            </p:cNvPr>
            <p:cNvSpPr/>
            <p:nvPr/>
          </p:nvSpPr>
          <p:spPr>
            <a:xfrm>
              <a:off x="2115794" y="2274782"/>
              <a:ext cx="2803721" cy="495864"/>
            </a:xfrm>
            <a:prstGeom prst="roundRect">
              <a:avLst>
                <a:gd name="adj" fmla="val 50000"/>
              </a:avLst>
            </a:prstGeom>
            <a:solidFill>
              <a:srgbClr val="28A357"/>
            </a:solidFill>
            <a:ln w="28575" cap="flat" cmpd="sng" algn="ctr">
              <a:noFill/>
              <a:prstDash val="solid"/>
              <a:miter lim="800000"/>
            </a:ln>
            <a:effectLst>
              <a:outerShdw blurRad="161563" dist="38100" dir="2700000" algn="tl" rotWithShape="0">
                <a:prstClr val="black">
                  <a:alpha val="24000"/>
                </a:prstClr>
              </a:outerShdw>
            </a:effectLst>
          </p:spPr>
          <p:txBody>
            <a:bodyPr wrap="none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oard</a:t>
              </a:r>
            </a:p>
          </p:txBody>
        </p:sp>
        <p:sp>
          <p:nvSpPr>
            <p:cNvPr id="80" name="Rounded Rectangle 9">
              <a:extLst>
                <a:ext uri="{FF2B5EF4-FFF2-40B4-BE49-F238E27FC236}">
                  <a16:creationId xmlns:a16="http://schemas.microsoft.com/office/drawing/2014/main" id="{FA36CD0F-771F-D554-D587-3EC82E938A8B}"/>
                </a:ext>
              </a:extLst>
            </p:cNvPr>
            <p:cNvSpPr/>
            <p:nvPr/>
          </p:nvSpPr>
          <p:spPr>
            <a:xfrm>
              <a:off x="2115793" y="2786158"/>
              <a:ext cx="2803721" cy="495864"/>
            </a:xfrm>
            <a:prstGeom prst="roundRect">
              <a:avLst>
                <a:gd name="adj" fmla="val 50000"/>
              </a:avLst>
            </a:prstGeom>
            <a:solidFill>
              <a:srgbClr val="114625"/>
            </a:solidFill>
            <a:ln w="28575" cap="flat" cmpd="sng" algn="ctr">
              <a:noFill/>
              <a:prstDash val="solid"/>
              <a:miter lim="800000"/>
            </a:ln>
            <a:effectLst>
              <a:outerShdw blurRad="161563" dist="38100" dir="2700000" algn="tl" rotWithShape="0">
                <a:prstClr val="black">
                  <a:alpha val="24000"/>
                </a:prstClr>
              </a:outerShdw>
            </a:effectLst>
          </p:spPr>
          <p:txBody>
            <a:bodyPr wrap="none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xecutive Committee</a:t>
              </a:r>
            </a:p>
          </p:txBody>
        </p:sp>
        <p:sp>
          <p:nvSpPr>
            <p:cNvPr id="81" name="Rounded Rectangle 10">
              <a:extLst>
                <a:ext uri="{FF2B5EF4-FFF2-40B4-BE49-F238E27FC236}">
                  <a16:creationId xmlns:a16="http://schemas.microsoft.com/office/drawing/2014/main" id="{4DA48973-8A1A-9EFA-D92B-157DD48CD136}"/>
                </a:ext>
              </a:extLst>
            </p:cNvPr>
            <p:cNvSpPr/>
            <p:nvPr/>
          </p:nvSpPr>
          <p:spPr>
            <a:xfrm>
              <a:off x="2115793" y="3297534"/>
              <a:ext cx="2803721" cy="495864"/>
            </a:xfrm>
            <a:prstGeom prst="roundRect">
              <a:avLst>
                <a:gd name="adj" fmla="val 50000"/>
              </a:avLst>
            </a:prstGeom>
            <a:solidFill>
              <a:srgbClr val="525252"/>
            </a:solidFill>
            <a:ln w="28575" cap="flat" cmpd="sng" algn="ctr">
              <a:noFill/>
              <a:prstDash val="solid"/>
              <a:miter lim="800000"/>
            </a:ln>
            <a:effectLst>
              <a:outerShdw blurRad="161563" dist="38100" dir="2700000" algn="tl" rotWithShape="0">
                <a:prstClr val="black">
                  <a:alpha val="24000"/>
                </a:prstClr>
              </a:outerShdw>
            </a:effectLst>
          </p:spPr>
          <p:txBody>
            <a:bodyPr wrap="none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H" sz="1400" b="1" i="0" u="none" strike="noStrike" kern="0" cap="none" spc="0" normalizeH="0" baseline="0" noProof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orking Groups</a:t>
              </a: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2" name="Rounded Rectangle 15">
            <a:extLst>
              <a:ext uri="{FF2B5EF4-FFF2-40B4-BE49-F238E27FC236}">
                <a16:creationId xmlns:a16="http://schemas.microsoft.com/office/drawing/2014/main" id="{6BB6A8C5-EB8A-4CF5-E6EC-EF422A6B5B85}"/>
              </a:ext>
            </a:extLst>
          </p:cNvPr>
          <p:cNvSpPr/>
          <p:nvPr/>
        </p:nvSpPr>
        <p:spPr>
          <a:xfrm>
            <a:off x="585850" y="4732615"/>
            <a:ext cx="4328416" cy="481854"/>
          </a:xfrm>
          <a:prstGeom prst="roundRect">
            <a:avLst>
              <a:gd name="adj" fmla="val 50000"/>
            </a:avLst>
          </a:prstGeom>
          <a:solidFill>
            <a:srgbClr val="525252"/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reaux</a:t>
            </a:r>
            <a:r>
              <a:rPr kumimoji="0" lang="en-US" sz="10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/ Panels /</a:t>
            </a:r>
            <a:r>
              <a:rPr kumimoji="0" lang="en-CH" sz="10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0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ask Forces / Committees</a:t>
            </a:r>
            <a:r>
              <a:rPr kumimoji="0" lang="en-CH" sz="10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/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0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isory Groups</a:t>
            </a:r>
            <a:endParaRPr kumimoji="0" lang="en-US" sz="105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3" name="Rounded Rectangle 13">
            <a:extLst>
              <a:ext uri="{FF2B5EF4-FFF2-40B4-BE49-F238E27FC236}">
                <a16:creationId xmlns:a16="http://schemas.microsoft.com/office/drawing/2014/main" id="{F3CD3629-F728-EBFF-B76D-4B20DE1E4D58}"/>
              </a:ext>
            </a:extLst>
          </p:cNvPr>
          <p:cNvSpPr/>
          <p:nvPr/>
        </p:nvSpPr>
        <p:spPr>
          <a:xfrm>
            <a:off x="585850" y="3492360"/>
            <a:ext cx="1020496" cy="481854"/>
          </a:xfrm>
          <a:prstGeom prst="roundRect">
            <a:avLst>
              <a:gd name="adj" fmla="val 50000"/>
            </a:avLst>
          </a:prstGeom>
          <a:solidFill>
            <a:srgbClr val="525252"/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’s Football</a:t>
            </a:r>
          </a:p>
        </p:txBody>
      </p:sp>
      <p:sp>
        <p:nvSpPr>
          <p:cNvPr id="84" name="Rounded Rectangle 13">
            <a:extLst>
              <a:ext uri="{FF2B5EF4-FFF2-40B4-BE49-F238E27FC236}">
                <a16:creationId xmlns:a16="http://schemas.microsoft.com/office/drawing/2014/main" id="{0153DBB4-50A6-4279-EF61-BC3D34BD0C62}"/>
              </a:ext>
            </a:extLst>
          </p:cNvPr>
          <p:cNvSpPr/>
          <p:nvPr/>
        </p:nvSpPr>
        <p:spPr>
          <a:xfrm>
            <a:off x="1695214" y="3492360"/>
            <a:ext cx="1020496" cy="481854"/>
          </a:xfrm>
          <a:prstGeom prst="roundRect">
            <a:avLst>
              <a:gd name="adj" fmla="val 50000"/>
            </a:avLst>
          </a:prstGeom>
          <a:solidFill>
            <a:srgbClr val="525252"/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men’s Football</a:t>
            </a:r>
          </a:p>
        </p:txBody>
      </p:sp>
      <p:sp>
        <p:nvSpPr>
          <p:cNvPr id="85" name="Rounded Rectangle 13">
            <a:extLst>
              <a:ext uri="{FF2B5EF4-FFF2-40B4-BE49-F238E27FC236}">
                <a16:creationId xmlns:a16="http://schemas.microsoft.com/office/drawing/2014/main" id="{B2EAA5CB-DBDF-3AF0-EF8D-C4AB18CCAAC1}"/>
              </a:ext>
            </a:extLst>
          </p:cNvPr>
          <p:cNvSpPr/>
          <p:nvPr/>
        </p:nvSpPr>
        <p:spPr>
          <a:xfrm>
            <a:off x="2813615" y="3502568"/>
            <a:ext cx="1020496" cy="481854"/>
          </a:xfrm>
          <a:prstGeom prst="roundRect">
            <a:avLst>
              <a:gd name="adj" fmla="val 50000"/>
            </a:avLst>
          </a:prstGeom>
          <a:solidFill>
            <a:srgbClr val="525252"/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th Football</a:t>
            </a:r>
          </a:p>
        </p:txBody>
      </p:sp>
      <p:sp>
        <p:nvSpPr>
          <p:cNvPr id="86" name="Rounded Rectangle 13">
            <a:extLst>
              <a:ext uri="{FF2B5EF4-FFF2-40B4-BE49-F238E27FC236}">
                <a16:creationId xmlns:a16="http://schemas.microsoft.com/office/drawing/2014/main" id="{E616DF99-7E81-D07E-38D2-BAE6110ACEB1}"/>
              </a:ext>
            </a:extLst>
          </p:cNvPr>
          <p:cNvSpPr/>
          <p:nvPr/>
        </p:nvSpPr>
        <p:spPr>
          <a:xfrm>
            <a:off x="3922979" y="3502568"/>
            <a:ext cx="1020496" cy="481854"/>
          </a:xfrm>
          <a:prstGeom prst="roundRect">
            <a:avLst>
              <a:gd name="adj" fmla="val 50000"/>
            </a:avLst>
          </a:prstGeom>
          <a:solidFill>
            <a:srgbClr val="525252"/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ercial &amp; Innovation</a:t>
            </a:r>
          </a:p>
        </p:txBody>
      </p:sp>
      <p:sp>
        <p:nvSpPr>
          <p:cNvPr id="87" name="Rounded Rectangle 13">
            <a:extLst>
              <a:ext uri="{FF2B5EF4-FFF2-40B4-BE49-F238E27FC236}">
                <a16:creationId xmlns:a16="http://schemas.microsoft.com/office/drawing/2014/main" id="{641DC520-7CB5-D060-908B-B4BB05C33765}"/>
              </a:ext>
            </a:extLst>
          </p:cNvPr>
          <p:cNvSpPr/>
          <p:nvPr/>
        </p:nvSpPr>
        <p:spPr>
          <a:xfrm>
            <a:off x="585850" y="4094473"/>
            <a:ext cx="1020497" cy="481854"/>
          </a:xfrm>
          <a:prstGeom prst="roundRect">
            <a:avLst>
              <a:gd name="adj" fmla="val 50000"/>
            </a:avLst>
          </a:prstGeom>
          <a:solidFill>
            <a:srgbClr val="525252"/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ance</a:t>
            </a:r>
          </a:p>
        </p:txBody>
      </p:sp>
      <p:sp>
        <p:nvSpPr>
          <p:cNvPr id="88" name="Rounded Rectangle 13">
            <a:extLst>
              <a:ext uri="{FF2B5EF4-FFF2-40B4-BE49-F238E27FC236}">
                <a16:creationId xmlns:a16="http://schemas.microsoft.com/office/drawing/2014/main" id="{9F7ED323-321A-054B-8133-1AC0F4CF86E5}"/>
              </a:ext>
            </a:extLst>
          </p:cNvPr>
          <p:cNvSpPr/>
          <p:nvPr/>
        </p:nvSpPr>
        <p:spPr>
          <a:xfrm>
            <a:off x="1695214" y="4094473"/>
            <a:ext cx="998640" cy="481854"/>
          </a:xfrm>
          <a:prstGeom prst="roundRect">
            <a:avLst>
              <a:gd name="adj" fmla="val 50000"/>
            </a:avLst>
          </a:prstGeom>
          <a:solidFill>
            <a:srgbClr val="525252"/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gal &amp; Reg</a:t>
            </a:r>
            <a:r>
              <a:rPr kumimoji="0" lang="en-GB" sz="900" b="1" i="0" u="none" strike="noStrike" kern="0" cap="none" spc="0" normalizeH="0" baseline="0" noProof="0" err="1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latory</a:t>
            </a:r>
            <a:endParaRPr kumimoji="0" lang="en-US" sz="900" b="1" i="0" u="none" strike="noStrike" kern="0" cap="none" spc="0" normalizeH="0" baseline="0" noProof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Rounded Rectangle 13">
            <a:extLst>
              <a:ext uri="{FF2B5EF4-FFF2-40B4-BE49-F238E27FC236}">
                <a16:creationId xmlns:a16="http://schemas.microsoft.com/office/drawing/2014/main" id="{275CB716-C113-A602-4E31-D23CA8155907}"/>
              </a:ext>
            </a:extLst>
          </p:cNvPr>
          <p:cNvSpPr/>
          <p:nvPr/>
        </p:nvSpPr>
        <p:spPr>
          <a:xfrm>
            <a:off x="2813615" y="4094473"/>
            <a:ext cx="998640" cy="481854"/>
          </a:xfrm>
          <a:prstGeom prst="roundRect">
            <a:avLst>
              <a:gd name="adj" fmla="val 50000"/>
            </a:avLst>
          </a:prstGeom>
          <a:solidFill>
            <a:srgbClr val="525252"/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stainability</a:t>
            </a:r>
          </a:p>
        </p:txBody>
      </p:sp>
      <p:sp>
        <p:nvSpPr>
          <p:cNvPr id="90" name="Rounded Rectangle 13">
            <a:extLst>
              <a:ext uri="{FF2B5EF4-FFF2-40B4-BE49-F238E27FC236}">
                <a16:creationId xmlns:a16="http://schemas.microsoft.com/office/drawing/2014/main" id="{2ACEB1B7-4E26-1B3C-7C29-7315C349D443}"/>
              </a:ext>
            </a:extLst>
          </p:cNvPr>
          <p:cNvSpPr/>
          <p:nvPr/>
        </p:nvSpPr>
        <p:spPr>
          <a:xfrm>
            <a:off x="3922979" y="4094473"/>
            <a:ext cx="991287" cy="481854"/>
          </a:xfrm>
          <a:prstGeom prst="roundRect">
            <a:avLst>
              <a:gd name="adj" fmla="val 50000"/>
            </a:avLst>
          </a:prstGeom>
          <a:solidFill>
            <a:srgbClr val="525252"/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vernance</a:t>
            </a:r>
            <a:b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amp; </a:t>
            </a:r>
            <a:r>
              <a:rPr kumimoji="0" lang="en-GB" sz="900" b="1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ment</a:t>
            </a:r>
            <a:endParaRPr kumimoji="0" lang="en-US" sz="900" b="1" i="0" u="none" strike="noStrike" kern="0" cap="none" spc="0" normalizeH="0" baseline="0" noProof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1" name="Rounded Rectangle 10">
            <a:extLst>
              <a:ext uri="{FF2B5EF4-FFF2-40B4-BE49-F238E27FC236}">
                <a16:creationId xmlns:a16="http://schemas.microsoft.com/office/drawing/2014/main" id="{3670DEDB-4642-3413-D9D3-0DD73E0E3CE9}"/>
              </a:ext>
            </a:extLst>
          </p:cNvPr>
          <p:cNvSpPr/>
          <p:nvPr/>
        </p:nvSpPr>
        <p:spPr>
          <a:xfrm>
            <a:off x="585849" y="5432042"/>
            <a:ext cx="4328415" cy="412101"/>
          </a:xfrm>
          <a:prstGeom prst="roundRect">
            <a:avLst>
              <a:gd name="adj" fmla="val 50000"/>
            </a:avLst>
          </a:prstGeom>
          <a:solidFill>
            <a:srgbClr val="A4A4A4"/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CA </a:t>
            </a:r>
            <a:r>
              <a:rPr kumimoji="0" lang="en-CH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undation</a:t>
            </a: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2" name="Rounded Rectangle 10">
            <a:extLst>
              <a:ext uri="{FF2B5EF4-FFF2-40B4-BE49-F238E27FC236}">
                <a16:creationId xmlns:a16="http://schemas.microsoft.com/office/drawing/2014/main" id="{FAF49154-3499-7F91-8C83-E7E9DF30F1F2}"/>
              </a:ext>
            </a:extLst>
          </p:cNvPr>
          <p:cNvSpPr/>
          <p:nvPr/>
        </p:nvSpPr>
        <p:spPr>
          <a:xfrm>
            <a:off x="7070468" y="1541615"/>
            <a:ext cx="4256344" cy="352586"/>
          </a:xfrm>
          <a:prstGeom prst="roundRect">
            <a:avLst>
              <a:gd name="adj" fmla="val 50000"/>
            </a:avLst>
          </a:prstGeom>
          <a:solidFill>
            <a:srgbClr val="4472C4">
              <a:lumMod val="50000"/>
            </a:srgbClr>
          </a:solidFill>
          <a:ln w="28575" cap="flat" cmpd="sng" algn="ctr">
            <a:solidFill>
              <a:schemeClr val="bg1"/>
            </a:solidFill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EFA</a:t>
            </a: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Rounded Rectangle 13">
            <a:extLst>
              <a:ext uri="{FF2B5EF4-FFF2-40B4-BE49-F238E27FC236}">
                <a16:creationId xmlns:a16="http://schemas.microsoft.com/office/drawing/2014/main" id="{ABB51FBE-454D-1176-C36F-BEB22A23F6E9}"/>
              </a:ext>
            </a:extLst>
          </p:cNvPr>
          <p:cNvSpPr/>
          <p:nvPr/>
        </p:nvSpPr>
        <p:spPr>
          <a:xfrm>
            <a:off x="8196656" y="1980811"/>
            <a:ext cx="1011004" cy="313560"/>
          </a:xfrm>
          <a:prstGeom prst="roundRect">
            <a:avLst>
              <a:gd name="adj" fmla="val 50000"/>
            </a:avLst>
          </a:prstGeom>
          <a:solidFill>
            <a:srgbClr val="4472C4">
              <a:lumMod val="50000"/>
            </a:srgbClr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  <a:r>
              <a:rPr kumimoji="0" lang="en-CH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C</a:t>
            </a:r>
            <a:endParaRPr kumimoji="0" lang="en-GB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4" name="Rounded Rectangle 13">
            <a:extLst>
              <a:ext uri="{FF2B5EF4-FFF2-40B4-BE49-F238E27FC236}">
                <a16:creationId xmlns:a16="http://schemas.microsoft.com/office/drawing/2014/main" id="{E6656405-0DE0-6485-A2FD-A78986FF2315}"/>
              </a:ext>
            </a:extLst>
          </p:cNvPr>
          <p:cNvSpPr/>
          <p:nvPr/>
        </p:nvSpPr>
        <p:spPr>
          <a:xfrm>
            <a:off x="10315809" y="1978376"/>
            <a:ext cx="1011004" cy="313560"/>
          </a:xfrm>
          <a:prstGeom prst="roundRect">
            <a:avLst>
              <a:gd name="adj" fmla="val 50000"/>
            </a:avLst>
          </a:prstGeom>
          <a:solidFill>
            <a:srgbClr val="4472C4">
              <a:lumMod val="50000"/>
            </a:srgbClr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ub Licensing</a:t>
            </a:r>
          </a:p>
        </p:txBody>
      </p:sp>
      <p:sp>
        <p:nvSpPr>
          <p:cNvPr id="95" name="Rounded Rectangle 13">
            <a:extLst>
              <a:ext uri="{FF2B5EF4-FFF2-40B4-BE49-F238E27FC236}">
                <a16:creationId xmlns:a16="http://schemas.microsoft.com/office/drawing/2014/main" id="{34FF1C14-1CEB-82D6-0812-ACAA0C003FF5}"/>
              </a:ext>
            </a:extLst>
          </p:cNvPr>
          <p:cNvSpPr/>
          <p:nvPr/>
        </p:nvSpPr>
        <p:spPr>
          <a:xfrm>
            <a:off x="7073020" y="3028484"/>
            <a:ext cx="1067319" cy="313560"/>
          </a:xfrm>
          <a:prstGeom prst="roundRect">
            <a:avLst>
              <a:gd name="adj" fmla="val 50000"/>
            </a:avLst>
          </a:prstGeom>
          <a:solidFill>
            <a:srgbClr val="4472C4">
              <a:lumMod val="50000"/>
            </a:srgbClr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otball</a:t>
            </a:r>
          </a:p>
        </p:txBody>
      </p:sp>
      <p:sp>
        <p:nvSpPr>
          <p:cNvPr id="96" name="Rounded Rectangle 13">
            <a:extLst>
              <a:ext uri="{FF2B5EF4-FFF2-40B4-BE49-F238E27FC236}">
                <a16:creationId xmlns:a16="http://schemas.microsoft.com/office/drawing/2014/main" id="{685CAFC8-F658-FC39-8A44-8E30A7106BB8}"/>
              </a:ext>
            </a:extLst>
          </p:cNvPr>
          <p:cNvSpPr/>
          <p:nvPr/>
        </p:nvSpPr>
        <p:spPr>
          <a:xfrm>
            <a:off x="7070466" y="3395067"/>
            <a:ext cx="1067319" cy="313560"/>
          </a:xfrm>
          <a:prstGeom prst="roundRect">
            <a:avLst>
              <a:gd name="adj" fmla="val 50000"/>
            </a:avLst>
          </a:prstGeom>
          <a:solidFill>
            <a:srgbClr val="4472C4">
              <a:lumMod val="50000"/>
            </a:srgbClr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gal </a:t>
            </a:r>
          </a:p>
        </p:txBody>
      </p:sp>
      <p:sp>
        <p:nvSpPr>
          <p:cNvPr id="97" name="Rounded Rectangle 13">
            <a:extLst>
              <a:ext uri="{FF2B5EF4-FFF2-40B4-BE49-F238E27FC236}">
                <a16:creationId xmlns:a16="http://schemas.microsoft.com/office/drawing/2014/main" id="{C8823FEE-C61C-B8F5-A4E7-F928774E6863}"/>
              </a:ext>
            </a:extLst>
          </p:cNvPr>
          <p:cNvSpPr/>
          <p:nvPr/>
        </p:nvSpPr>
        <p:spPr>
          <a:xfrm>
            <a:off x="7070468" y="2334695"/>
            <a:ext cx="1069874" cy="313560"/>
          </a:xfrm>
          <a:prstGeom prst="roundRect">
            <a:avLst>
              <a:gd name="adj" fmla="val 50000"/>
            </a:avLst>
          </a:prstGeom>
          <a:solidFill>
            <a:srgbClr val="4472C4">
              <a:lumMod val="50000"/>
            </a:srgbClr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STA</a:t>
            </a:r>
            <a:endParaRPr kumimoji="0" lang="en-GB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Rounded Rectangle 13">
            <a:extLst>
              <a:ext uri="{FF2B5EF4-FFF2-40B4-BE49-F238E27FC236}">
                <a16:creationId xmlns:a16="http://schemas.microsoft.com/office/drawing/2014/main" id="{47ACAAB6-1308-B38F-4DC4-357C13B16B78}"/>
              </a:ext>
            </a:extLst>
          </p:cNvPr>
          <p:cNvSpPr/>
          <p:nvPr/>
        </p:nvSpPr>
        <p:spPr>
          <a:xfrm>
            <a:off x="8196656" y="2339305"/>
            <a:ext cx="1011004" cy="313560"/>
          </a:xfrm>
          <a:prstGeom prst="roundRect">
            <a:avLst>
              <a:gd name="adj" fmla="val 50000"/>
            </a:avLst>
          </a:prstGeom>
          <a:solidFill>
            <a:srgbClr val="4472C4">
              <a:lumMod val="50000"/>
            </a:srgbClr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dia</a:t>
            </a:r>
            <a:endParaRPr kumimoji="0" lang="en-US" sz="9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9" name="Rounded Rectangle 13">
            <a:extLst>
              <a:ext uri="{FF2B5EF4-FFF2-40B4-BE49-F238E27FC236}">
                <a16:creationId xmlns:a16="http://schemas.microsoft.com/office/drawing/2014/main" id="{43C177B2-75AA-8DDB-C8E4-A1F2A169F0D1}"/>
              </a:ext>
            </a:extLst>
          </p:cNvPr>
          <p:cNvSpPr/>
          <p:nvPr/>
        </p:nvSpPr>
        <p:spPr>
          <a:xfrm>
            <a:off x="9263975" y="1990055"/>
            <a:ext cx="1011004" cy="313560"/>
          </a:xfrm>
          <a:prstGeom prst="roundRect">
            <a:avLst>
              <a:gd name="adj" fmla="val 50000"/>
            </a:avLst>
          </a:prstGeom>
          <a:solidFill>
            <a:srgbClr val="4472C4">
              <a:lumMod val="50000"/>
            </a:srgbClr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rketing Advisory </a:t>
            </a:r>
          </a:p>
        </p:txBody>
      </p:sp>
      <p:sp>
        <p:nvSpPr>
          <p:cNvPr id="100" name="Rounded Rectangle 13">
            <a:extLst>
              <a:ext uri="{FF2B5EF4-FFF2-40B4-BE49-F238E27FC236}">
                <a16:creationId xmlns:a16="http://schemas.microsoft.com/office/drawing/2014/main" id="{A29C6E26-2F11-D838-E448-4D8E38138115}"/>
              </a:ext>
            </a:extLst>
          </p:cNvPr>
          <p:cNvSpPr/>
          <p:nvPr/>
        </p:nvSpPr>
        <p:spPr>
          <a:xfrm>
            <a:off x="10315809" y="2334695"/>
            <a:ext cx="1011004" cy="313560"/>
          </a:xfrm>
          <a:prstGeom prst="roundRect">
            <a:avLst>
              <a:gd name="adj" fmla="val 50000"/>
            </a:avLst>
          </a:prstGeom>
          <a:solidFill>
            <a:srgbClr val="4472C4">
              <a:lumMod val="50000"/>
            </a:srgbClr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men’s Football</a:t>
            </a:r>
          </a:p>
        </p:txBody>
      </p:sp>
      <p:sp>
        <p:nvSpPr>
          <p:cNvPr id="101" name="Rounded Rectangle 13">
            <a:extLst>
              <a:ext uri="{FF2B5EF4-FFF2-40B4-BE49-F238E27FC236}">
                <a16:creationId xmlns:a16="http://schemas.microsoft.com/office/drawing/2014/main" id="{C21F1EF9-8C50-1E7A-DF92-21B7D89F95EB}"/>
              </a:ext>
            </a:extLst>
          </p:cNvPr>
          <p:cNvSpPr/>
          <p:nvPr/>
        </p:nvSpPr>
        <p:spPr>
          <a:xfrm>
            <a:off x="8205322" y="3395067"/>
            <a:ext cx="1011004" cy="313560"/>
          </a:xfrm>
          <a:prstGeom prst="roundRect">
            <a:avLst>
              <a:gd name="adj" fmla="val 50000"/>
            </a:avLst>
          </a:prstGeom>
          <a:solidFill>
            <a:srgbClr val="4472C4">
              <a:lumMod val="50000"/>
            </a:srgbClr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tional Associations</a:t>
            </a:r>
            <a:r>
              <a:rPr kumimoji="0" lang="en-CH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endParaRPr kumimoji="0" lang="en-GB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2" name="Rounded Rectangle 13">
            <a:extLst>
              <a:ext uri="{FF2B5EF4-FFF2-40B4-BE49-F238E27FC236}">
                <a16:creationId xmlns:a16="http://schemas.microsoft.com/office/drawing/2014/main" id="{6583773F-F97E-1FC6-CE5D-5592BCCCD57D}"/>
              </a:ext>
            </a:extLst>
          </p:cNvPr>
          <p:cNvSpPr/>
          <p:nvPr/>
        </p:nvSpPr>
        <p:spPr>
          <a:xfrm>
            <a:off x="8196656" y="2683895"/>
            <a:ext cx="1011004" cy="313560"/>
          </a:xfrm>
          <a:prstGeom prst="roundRect">
            <a:avLst>
              <a:gd name="adj" fmla="val 50000"/>
            </a:avLst>
          </a:prstGeom>
          <a:solidFill>
            <a:srgbClr val="4472C4">
              <a:lumMod val="50000"/>
            </a:srgbClr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th</a:t>
            </a:r>
          </a:p>
        </p:txBody>
      </p:sp>
      <p:sp>
        <p:nvSpPr>
          <p:cNvPr id="103" name="Rounded Rectangle 13">
            <a:extLst>
              <a:ext uri="{FF2B5EF4-FFF2-40B4-BE49-F238E27FC236}">
                <a16:creationId xmlns:a16="http://schemas.microsoft.com/office/drawing/2014/main" id="{ABF3D46E-E89D-1F8D-1A03-F5F40AF865B7}"/>
              </a:ext>
            </a:extLst>
          </p:cNvPr>
          <p:cNvSpPr/>
          <p:nvPr/>
        </p:nvSpPr>
        <p:spPr>
          <a:xfrm>
            <a:off x="9263975" y="2334645"/>
            <a:ext cx="1011004" cy="313560"/>
          </a:xfrm>
          <a:prstGeom prst="roundRect">
            <a:avLst>
              <a:gd name="adj" fmla="val 50000"/>
            </a:avLst>
          </a:prstGeom>
          <a:solidFill>
            <a:srgbClr val="4472C4">
              <a:lumMod val="50000"/>
            </a:srgbClr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dium &amp; Security </a:t>
            </a:r>
          </a:p>
        </p:txBody>
      </p:sp>
      <p:sp>
        <p:nvSpPr>
          <p:cNvPr id="104" name="Rounded Rectangle 13">
            <a:extLst>
              <a:ext uri="{FF2B5EF4-FFF2-40B4-BE49-F238E27FC236}">
                <a16:creationId xmlns:a16="http://schemas.microsoft.com/office/drawing/2014/main" id="{7EAC1647-2E98-D808-C2F0-A98973C88236}"/>
              </a:ext>
            </a:extLst>
          </p:cNvPr>
          <p:cNvSpPr/>
          <p:nvPr/>
        </p:nvSpPr>
        <p:spPr>
          <a:xfrm>
            <a:off x="10315809" y="2679284"/>
            <a:ext cx="1011004" cy="313560"/>
          </a:xfrm>
          <a:prstGeom prst="roundRect">
            <a:avLst>
              <a:gd name="adj" fmla="val 50000"/>
            </a:avLst>
          </a:prstGeom>
          <a:solidFill>
            <a:srgbClr val="4472C4">
              <a:lumMod val="50000"/>
            </a:srgbClr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t</a:t>
            </a: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&amp; </a:t>
            </a:r>
            <a:endParaRPr kumimoji="0" lang="en-CH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ch. Assist. </a:t>
            </a:r>
          </a:p>
        </p:txBody>
      </p:sp>
      <p:sp>
        <p:nvSpPr>
          <p:cNvPr id="105" name="Rounded Rectangle 13">
            <a:extLst>
              <a:ext uri="{FF2B5EF4-FFF2-40B4-BE49-F238E27FC236}">
                <a16:creationId xmlns:a16="http://schemas.microsoft.com/office/drawing/2014/main" id="{CC03CC72-1344-51F2-2078-1FA14E9EC583}"/>
              </a:ext>
            </a:extLst>
          </p:cNvPr>
          <p:cNvSpPr/>
          <p:nvPr/>
        </p:nvSpPr>
        <p:spPr>
          <a:xfrm>
            <a:off x="7070467" y="2699305"/>
            <a:ext cx="1069874" cy="313560"/>
          </a:xfrm>
          <a:prstGeom prst="roundRect">
            <a:avLst>
              <a:gd name="adj" fmla="val 50000"/>
            </a:avLst>
          </a:prstGeom>
          <a:solidFill>
            <a:srgbClr val="4472C4">
              <a:lumMod val="50000"/>
            </a:srgbClr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dical</a:t>
            </a:r>
          </a:p>
        </p:txBody>
      </p:sp>
      <p:sp>
        <p:nvSpPr>
          <p:cNvPr id="106" name="Rounded Rectangle 13">
            <a:extLst>
              <a:ext uri="{FF2B5EF4-FFF2-40B4-BE49-F238E27FC236}">
                <a16:creationId xmlns:a16="http://schemas.microsoft.com/office/drawing/2014/main" id="{39974906-347D-5907-485F-636A4F5DCA21}"/>
              </a:ext>
            </a:extLst>
          </p:cNvPr>
          <p:cNvSpPr/>
          <p:nvPr/>
        </p:nvSpPr>
        <p:spPr>
          <a:xfrm>
            <a:off x="8196656" y="3028484"/>
            <a:ext cx="1011004" cy="313560"/>
          </a:xfrm>
          <a:prstGeom prst="roundRect">
            <a:avLst>
              <a:gd name="adj" fmla="val 50000"/>
            </a:avLst>
          </a:prstGeom>
          <a:solidFill>
            <a:srgbClr val="4472C4">
              <a:lumMod val="50000"/>
            </a:srgbClr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FSR</a:t>
            </a: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7" name="Rounded Rectangle 13">
            <a:extLst>
              <a:ext uri="{FF2B5EF4-FFF2-40B4-BE49-F238E27FC236}">
                <a16:creationId xmlns:a16="http://schemas.microsoft.com/office/drawing/2014/main" id="{016B6E1B-3CD4-CBDF-F8AE-AAE7AF424A0E}"/>
              </a:ext>
            </a:extLst>
          </p:cNvPr>
          <p:cNvSpPr/>
          <p:nvPr/>
        </p:nvSpPr>
        <p:spPr>
          <a:xfrm>
            <a:off x="9263975" y="2679234"/>
            <a:ext cx="1011004" cy="313560"/>
          </a:xfrm>
          <a:prstGeom prst="roundRect">
            <a:avLst>
              <a:gd name="adj" fmla="val 50000"/>
            </a:avLst>
          </a:prstGeom>
          <a:solidFill>
            <a:srgbClr val="4472C4">
              <a:lumMod val="50000"/>
            </a:srgbClr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EFA Events </a:t>
            </a: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8" name="Rounded Rectangle 13">
            <a:extLst>
              <a:ext uri="{FF2B5EF4-FFF2-40B4-BE49-F238E27FC236}">
                <a16:creationId xmlns:a16="http://schemas.microsoft.com/office/drawing/2014/main" id="{B5DE57C0-50A0-E3B3-FB94-775DB7E1C262}"/>
              </a:ext>
            </a:extLst>
          </p:cNvPr>
          <p:cNvSpPr/>
          <p:nvPr/>
        </p:nvSpPr>
        <p:spPr>
          <a:xfrm>
            <a:off x="9263975" y="3028484"/>
            <a:ext cx="1011004" cy="313560"/>
          </a:xfrm>
          <a:prstGeom prst="roundRect">
            <a:avLst>
              <a:gd name="adj" fmla="val 50000"/>
            </a:avLst>
          </a:prstGeom>
          <a:solidFill>
            <a:srgbClr val="4472C4">
              <a:lumMod val="50000"/>
            </a:srgbClr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undation*</a:t>
            </a: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9" name="Rounded Rectangle 13">
            <a:extLst>
              <a:ext uri="{FF2B5EF4-FFF2-40B4-BE49-F238E27FC236}">
                <a16:creationId xmlns:a16="http://schemas.microsoft.com/office/drawing/2014/main" id="{E69CF9E9-A79E-BF7F-1311-1072B3AB8479}"/>
              </a:ext>
            </a:extLst>
          </p:cNvPr>
          <p:cNvSpPr/>
          <p:nvPr/>
        </p:nvSpPr>
        <p:spPr>
          <a:xfrm>
            <a:off x="5571446" y="1528334"/>
            <a:ext cx="1207028" cy="374356"/>
          </a:xfrm>
          <a:prstGeom prst="roundRect">
            <a:avLst>
              <a:gd name="adj" fmla="val 50000"/>
            </a:avLst>
          </a:prstGeom>
          <a:solidFill>
            <a:srgbClr val="002060"/>
          </a:solidFill>
          <a:ln w="22225" cap="flat" cmpd="sng" algn="ctr">
            <a:solidFill>
              <a:srgbClr val="FFFFFF"/>
            </a:solidFill>
            <a:prstDash val="solid"/>
            <a:miter lim="800000"/>
          </a:ln>
          <a:effectLst>
            <a:outerShdw blurRad="180440" dist="38100" dir="2700000" algn="tl" rotWithShape="0">
              <a:prstClr val="black">
                <a:alpha val="24484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Joint Venture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0" name="Rounded Rectangle 13">
            <a:extLst>
              <a:ext uri="{FF2B5EF4-FFF2-40B4-BE49-F238E27FC236}">
                <a16:creationId xmlns:a16="http://schemas.microsoft.com/office/drawing/2014/main" id="{28555350-C3A6-55AA-B508-8E43CC2677F5}"/>
              </a:ext>
            </a:extLst>
          </p:cNvPr>
          <p:cNvSpPr/>
          <p:nvPr/>
        </p:nvSpPr>
        <p:spPr>
          <a:xfrm>
            <a:off x="7070468" y="1970085"/>
            <a:ext cx="1069874" cy="313560"/>
          </a:xfrm>
          <a:prstGeom prst="roundRect">
            <a:avLst>
              <a:gd name="adj" fmla="val 50000"/>
            </a:avLst>
          </a:prstGeom>
          <a:solidFill>
            <a:srgbClr val="4472C4">
              <a:lumMod val="50000"/>
            </a:srgbClr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</a:t>
            </a:r>
            <a:r>
              <a:rPr kumimoji="0" lang="en-CH" sz="9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Co</a:t>
            </a:r>
            <a:r>
              <a:rPr kumimoji="0" lang="en-CH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GB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1" name="Rounded Rectangle 10">
            <a:extLst>
              <a:ext uri="{FF2B5EF4-FFF2-40B4-BE49-F238E27FC236}">
                <a16:creationId xmlns:a16="http://schemas.microsoft.com/office/drawing/2014/main" id="{39097768-1A5F-BFE2-6A22-D6882818F60C}"/>
              </a:ext>
            </a:extLst>
          </p:cNvPr>
          <p:cNvSpPr/>
          <p:nvPr/>
        </p:nvSpPr>
        <p:spPr>
          <a:xfrm>
            <a:off x="7070468" y="4008154"/>
            <a:ext cx="4256344" cy="352586"/>
          </a:xfrm>
          <a:prstGeom prst="roundRect">
            <a:avLst>
              <a:gd name="adj" fmla="val 50000"/>
            </a:avLst>
          </a:prstGeom>
          <a:solidFill>
            <a:srgbClr val="4472C4">
              <a:lumMod val="75000"/>
            </a:srgbClr>
          </a:solidFill>
          <a:ln w="28575" cap="flat" cmpd="sng" algn="ctr">
            <a:solidFill>
              <a:schemeClr val="bg1"/>
            </a:solidFill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FA</a:t>
            </a:r>
          </a:p>
        </p:txBody>
      </p:sp>
      <p:sp>
        <p:nvSpPr>
          <p:cNvPr id="112" name="Rounded Rectangle 13">
            <a:extLst>
              <a:ext uri="{FF2B5EF4-FFF2-40B4-BE49-F238E27FC236}">
                <a16:creationId xmlns:a16="http://schemas.microsoft.com/office/drawing/2014/main" id="{DEDDFBE5-0B8A-6463-8552-EAEF73912852}"/>
              </a:ext>
            </a:extLst>
          </p:cNvPr>
          <p:cNvSpPr/>
          <p:nvPr/>
        </p:nvSpPr>
        <p:spPr>
          <a:xfrm>
            <a:off x="10315807" y="4405889"/>
            <a:ext cx="1011004" cy="313560"/>
          </a:xfrm>
          <a:prstGeom prst="roundRect">
            <a:avLst>
              <a:gd name="adj" fmla="val 50000"/>
            </a:avLst>
          </a:prstGeom>
          <a:solidFill>
            <a:srgbClr val="4472C4">
              <a:lumMod val="75000"/>
            </a:srgbClr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C Committees</a:t>
            </a:r>
            <a:r>
              <a:rPr kumimoji="0" lang="en-CH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endParaRPr kumimoji="0" lang="en-GB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3" name="Rounded Rectangle 13">
            <a:extLst>
              <a:ext uri="{FF2B5EF4-FFF2-40B4-BE49-F238E27FC236}">
                <a16:creationId xmlns:a16="http://schemas.microsoft.com/office/drawing/2014/main" id="{7DA8400E-989D-7087-73B0-AD73DD058F7A}"/>
              </a:ext>
            </a:extLst>
          </p:cNvPr>
          <p:cNvSpPr/>
          <p:nvPr/>
        </p:nvSpPr>
        <p:spPr>
          <a:xfrm>
            <a:off x="8718538" y="4419547"/>
            <a:ext cx="1011004" cy="313560"/>
          </a:xfrm>
          <a:prstGeom prst="roundRect">
            <a:avLst>
              <a:gd name="adj" fmla="val 50000"/>
            </a:avLst>
          </a:prstGeom>
          <a:solidFill>
            <a:srgbClr val="4472C4">
              <a:lumMod val="75000"/>
            </a:srgbClr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keholder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ttee</a:t>
            </a:r>
            <a:r>
              <a:rPr kumimoji="0" lang="en-CH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endParaRPr kumimoji="0" lang="en-GB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4" name="Rounded Rectangle 13">
            <a:extLst>
              <a:ext uri="{FF2B5EF4-FFF2-40B4-BE49-F238E27FC236}">
                <a16:creationId xmlns:a16="http://schemas.microsoft.com/office/drawing/2014/main" id="{2E74E0DA-8270-1C66-D19C-F8E704C4838F}"/>
              </a:ext>
            </a:extLst>
          </p:cNvPr>
          <p:cNvSpPr/>
          <p:nvPr/>
        </p:nvSpPr>
        <p:spPr>
          <a:xfrm>
            <a:off x="7117875" y="4411967"/>
            <a:ext cx="1011004" cy="313560"/>
          </a:xfrm>
          <a:prstGeom prst="roundRect">
            <a:avLst>
              <a:gd name="adj" fmla="val 50000"/>
            </a:avLst>
          </a:prstGeom>
          <a:solidFill>
            <a:srgbClr val="4472C4">
              <a:lumMod val="75000"/>
            </a:srgbClr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ub World Cup Committees</a:t>
            </a:r>
            <a:r>
              <a:rPr kumimoji="0" lang="en-CH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</a:p>
        </p:txBody>
      </p:sp>
      <p:sp>
        <p:nvSpPr>
          <p:cNvPr id="115" name="Rounded Rectangle 10">
            <a:extLst>
              <a:ext uri="{FF2B5EF4-FFF2-40B4-BE49-F238E27FC236}">
                <a16:creationId xmlns:a16="http://schemas.microsoft.com/office/drawing/2014/main" id="{349D173D-41E7-4650-C704-11887A3F85A9}"/>
              </a:ext>
            </a:extLst>
          </p:cNvPr>
          <p:cNvSpPr/>
          <p:nvPr/>
        </p:nvSpPr>
        <p:spPr>
          <a:xfrm>
            <a:off x="7070467" y="5287499"/>
            <a:ext cx="4256344" cy="352586"/>
          </a:xfrm>
          <a:prstGeom prst="roundRect">
            <a:avLst>
              <a:gd name="adj" fmla="val 50000"/>
            </a:avLst>
          </a:prstGeom>
          <a:solidFill>
            <a:srgbClr val="A4A4A4"/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ther</a:t>
            </a:r>
          </a:p>
        </p:txBody>
      </p:sp>
      <p:sp>
        <p:nvSpPr>
          <p:cNvPr id="116" name="Rounded Rectangle 13">
            <a:extLst>
              <a:ext uri="{FF2B5EF4-FFF2-40B4-BE49-F238E27FC236}">
                <a16:creationId xmlns:a16="http://schemas.microsoft.com/office/drawing/2014/main" id="{530A5CEC-51A0-B430-8958-DE23560A8640}"/>
              </a:ext>
            </a:extLst>
          </p:cNvPr>
          <p:cNvSpPr/>
          <p:nvPr/>
        </p:nvSpPr>
        <p:spPr>
          <a:xfrm>
            <a:off x="7070467" y="5715969"/>
            <a:ext cx="1069874" cy="313560"/>
          </a:xfrm>
          <a:prstGeom prst="roundRect">
            <a:avLst>
              <a:gd name="adj" fmla="val 50000"/>
            </a:avLst>
          </a:prstGeom>
          <a:solidFill>
            <a:srgbClr val="A4A4A4"/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FAB</a:t>
            </a:r>
            <a:r>
              <a:rPr kumimoji="0" lang="en-CH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endParaRPr kumimoji="0" lang="en-GB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7" name="Picture 116">
            <a:extLst>
              <a:ext uri="{FF2B5EF4-FFF2-40B4-BE49-F238E27FC236}">
                <a16:creationId xmlns:a16="http://schemas.microsoft.com/office/drawing/2014/main" id="{0B874EE4-C336-004B-F575-0F13B3E768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1679" y="4070247"/>
            <a:ext cx="618504" cy="202419"/>
          </a:xfrm>
          <a:prstGeom prst="rect">
            <a:avLst/>
          </a:prstGeom>
        </p:spPr>
      </p:pic>
      <p:pic>
        <p:nvPicPr>
          <p:cNvPr id="118" name="Picture 2">
            <a:extLst>
              <a:ext uri="{FF2B5EF4-FFF2-40B4-BE49-F238E27FC236}">
                <a16:creationId xmlns:a16="http://schemas.microsoft.com/office/drawing/2014/main" id="{8A53AB5F-B762-8B8F-D075-78A86006F0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57078" y="1511942"/>
            <a:ext cx="469257" cy="469257"/>
          </a:xfrm>
          <a:prstGeom prst="rect">
            <a:avLst/>
          </a:prstGeom>
        </p:spPr>
      </p:pic>
      <p:grpSp>
        <p:nvGrpSpPr>
          <p:cNvPr id="119" name="Group 118">
            <a:extLst>
              <a:ext uri="{FF2B5EF4-FFF2-40B4-BE49-F238E27FC236}">
                <a16:creationId xmlns:a16="http://schemas.microsoft.com/office/drawing/2014/main" id="{7A1D9F98-F3EF-2237-D2CD-39D1A6339DF9}"/>
              </a:ext>
            </a:extLst>
          </p:cNvPr>
          <p:cNvGrpSpPr/>
          <p:nvPr/>
        </p:nvGrpSpPr>
        <p:grpSpPr>
          <a:xfrm>
            <a:off x="4978754" y="2174564"/>
            <a:ext cx="938635" cy="514143"/>
            <a:chOff x="10506211" y="315080"/>
            <a:chExt cx="1223334" cy="670090"/>
          </a:xfrm>
        </p:grpSpPr>
        <p:pic>
          <p:nvPicPr>
            <p:cNvPr id="120" name="Picture 119">
              <a:extLst>
                <a:ext uri="{FF2B5EF4-FFF2-40B4-BE49-F238E27FC236}">
                  <a16:creationId xmlns:a16="http://schemas.microsoft.com/office/drawing/2014/main" id="{7B3E0266-C38F-FEF1-2D07-6C589290EF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duotone>
                <a:prstClr val="black"/>
                <a:srgbClr val="4472C4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8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54553" y="838547"/>
              <a:ext cx="882870" cy="45719"/>
            </a:xfrm>
            <a:prstGeom prst="rect">
              <a:avLst/>
            </a:prstGeom>
          </p:spPr>
        </p:pic>
        <p:pic>
          <p:nvPicPr>
            <p:cNvPr id="121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16237D12-4D10-2E35-B967-604B8C19510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6211" y="315080"/>
              <a:ext cx="1223334" cy="670090"/>
            </a:xfrm>
            <a:prstGeom prst="rect">
              <a:avLst/>
            </a:prstGeom>
          </p:spPr>
        </p:pic>
      </p:grpSp>
      <p:sp>
        <p:nvSpPr>
          <p:cNvPr id="122" name="Right Arrow 111">
            <a:extLst>
              <a:ext uri="{FF2B5EF4-FFF2-40B4-BE49-F238E27FC236}">
                <a16:creationId xmlns:a16="http://schemas.microsoft.com/office/drawing/2014/main" id="{0BBBDA5E-8EE5-40F6-A7AD-305425519A44}"/>
              </a:ext>
            </a:extLst>
          </p:cNvPr>
          <p:cNvSpPr/>
          <p:nvPr/>
        </p:nvSpPr>
        <p:spPr>
          <a:xfrm>
            <a:off x="5598982" y="1898668"/>
            <a:ext cx="786236" cy="389444"/>
          </a:xfrm>
          <a:prstGeom prst="rightArrow">
            <a:avLst>
              <a:gd name="adj1" fmla="val 50000"/>
              <a:gd name="adj2" fmla="val 68343"/>
            </a:avLst>
          </a:prstGeom>
          <a:gradFill>
            <a:gsLst>
              <a:gs pos="83000">
                <a:srgbClr val="28A357">
                  <a:alpha val="0"/>
                </a:srgbClr>
              </a:gs>
              <a:gs pos="0">
                <a:srgbClr val="0D8138"/>
              </a:gs>
            </a:gsLst>
            <a:lin ang="120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3" name="Right Arrow 112">
            <a:extLst>
              <a:ext uri="{FF2B5EF4-FFF2-40B4-BE49-F238E27FC236}">
                <a16:creationId xmlns:a16="http://schemas.microsoft.com/office/drawing/2014/main" id="{683799C7-2790-3998-8582-3229108E5864}"/>
              </a:ext>
            </a:extLst>
          </p:cNvPr>
          <p:cNvSpPr/>
          <p:nvPr/>
        </p:nvSpPr>
        <p:spPr>
          <a:xfrm>
            <a:off x="5635953" y="4483053"/>
            <a:ext cx="786236" cy="389444"/>
          </a:xfrm>
          <a:prstGeom prst="rightArrow">
            <a:avLst>
              <a:gd name="adj1" fmla="val 50000"/>
              <a:gd name="adj2" fmla="val 68343"/>
            </a:avLst>
          </a:prstGeom>
          <a:gradFill>
            <a:gsLst>
              <a:gs pos="83000">
                <a:srgbClr val="28A357">
                  <a:alpha val="0"/>
                </a:srgbClr>
              </a:gs>
              <a:gs pos="0">
                <a:srgbClr val="0D8138"/>
              </a:gs>
            </a:gsLst>
            <a:lin ang="120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4" name="Right Arrow 113">
            <a:extLst>
              <a:ext uri="{FF2B5EF4-FFF2-40B4-BE49-F238E27FC236}">
                <a16:creationId xmlns:a16="http://schemas.microsoft.com/office/drawing/2014/main" id="{4E8315D3-B84C-60CA-98C3-7F4696917002}"/>
              </a:ext>
            </a:extLst>
          </p:cNvPr>
          <p:cNvSpPr/>
          <p:nvPr/>
        </p:nvSpPr>
        <p:spPr>
          <a:xfrm>
            <a:off x="5608881" y="5269070"/>
            <a:ext cx="786236" cy="389444"/>
          </a:xfrm>
          <a:prstGeom prst="rightArrow">
            <a:avLst>
              <a:gd name="adj1" fmla="val 50000"/>
              <a:gd name="adj2" fmla="val 68343"/>
            </a:avLst>
          </a:prstGeom>
          <a:gradFill>
            <a:gsLst>
              <a:gs pos="83000">
                <a:srgbClr val="28A357">
                  <a:alpha val="0"/>
                </a:srgbClr>
              </a:gs>
              <a:gs pos="0">
                <a:srgbClr val="0D8138"/>
              </a:gs>
            </a:gsLst>
            <a:lin ang="120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5" name="Rounded Rectangle 13">
            <a:extLst>
              <a:ext uri="{FF2B5EF4-FFF2-40B4-BE49-F238E27FC236}">
                <a16:creationId xmlns:a16="http://schemas.microsoft.com/office/drawing/2014/main" id="{1F36FC50-BAB4-3DB6-A5AD-9A3C370F11A0}"/>
              </a:ext>
            </a:extLst>
          </p:cNvPr>
          <p:cNvSpPr/>
          <p:nvPr/>
        </p:nvSpPr>
        <p:spPr>
          <a:xfrm>
            <a:off x="10315808" y="3028484"/>
            <a:ext cx="1011004" cy="303529"/>
          </a:xfrm>
          <a:prstGeom prst="roundRect">
            <a:avLst>
              <a:gd name="adj" fmla="val 50000"/>
            </a:avLst>
          </a:prstGeom>
          <a:solidFill>
            <a:srgbClr val="4472C4">
              <a:lumMod val="50000"/>
            </a:srgbClr>
          </a:solidFill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EFA Events SA</a:t>
            </a:r>
            <a:r>
              <a:rPr kumimoji="0" lang="en-CH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endParaRPr kumimoji="0" lang="en-GB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6" name="Rounded Rectangle 13">
            <a:extLst>
              <a:ext uri="{FF2B5EF4-FFF2-40B4-BE49-F238E27FC236}">
                <a16:creationId xmlns:a16="http://schemas.microsoft.com/office/drawing/2014/main" id="{FF267955-2A77-6A70-ED5E-F476F1EB73AA}"/>
              </a:ext>
            </a:extLst>
          </p:cNvPr>
          <p:cNvSpPr/>
          <p:nvPr/>
        </p:nvSpPr>
        <p:spPr>
          <a:xfrm>
            <a:off x="9825929" y="6321814"/>
            <a:ext cx="1673483" cy="313560"/>
          </a:xfrm>
          <a:prstGeom prst="roundRect">
            <a:avLst>
              <a:gd name="adj" fmla="val 50000"/>
            </a:avLst>
          </a:prstGeom>
          <a:noFill/>
          <a:ln w="28575" cap="flat" cmpd="sng" algn="ctr">
            <a:noFill/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</a:t>
            </a:r>
            <a:r>
              <a:rPr kumimoji="0" lang="en-GB" sz="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</a:t>
            </a:r>
            <a:r>
              <a:rPr kumimoji="0" lang="en-CH" sz="9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 to be appointed </a:t>
            </a:r>
            <a:endParaRPr kumimoji="0" lang="en-GB" sz="9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ounded Rectangle 13">
            <a:extLst>
              <a:ext uri="{FF2B5EF4-FFF2-40B4-BE49-F238E27FC236}">
                <a16:creationId xmlns:a16="http://schemas.microsoft.com/office/drawing/2014/main" id="{E1C8F2A5-0362-07F0-E72B-935EB220121F}"/>
              </a:ext>
            </a:extLst>
          </p:cNvPr>
          <p:cNvSpPr/>
          <p:nvPr/>
        </p:nvSpPr>
        <p:spPr>
          <a:xfrm>
            <a:off x="5635953" y="4031533"/>
            <a:ext cx="1207028" cy="374356"/>
          </a:xfrm>
          <a:prstGeom prst="roundRect">
            <a:avLst>
              <a:gd name="adj" fmla="val 50000"/>
            </a:avLst>
          </a:prstGeom>
          <a:pattFill prst="pct50">
            <a:fgClr>
              <a:srgbClr val="4472C4">
                <a:lumMod val="75000"/>
              </a:srgbClr>
            </a:fgClr>
            <a:bgClr>
              <a:schemeClr val="bg1"/>
            </a:bgClr>
          </a:pattFill>
          <a:ln w="28575" cap="flat" cmpd="sng" algn="ctr">
            <a:solidFill>
              <a:schemeClr val="bg1"/>
            </a:solidFill>
            <a:prstDash val="solid"/>
            <a:miter lim="800000"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txBody>
          <a:bodyPr wrap="none" lIns="0" tIns="0" rIns="0" bIns="0" rtlCol="0" anchor="ctr"/>
          <a:lstStyle/>
          <a:p>
            <a:pPr algn="ctr"/>
            <a:r>
              <a:rPr lang="en-GB" sz="1100" b="1" kern="0" dirty="0">
                <a:solidFill>
                  <a:schemeClr val="tx2"/>
                </a:solidFill>
                <a:latin typeface="Calibri" panose="020F0502020204030204"/>
              </a:rPr>
              <a:t>Joint Venture</a:t>
            </a:r>
            <a:endParaRPr lang="en-US" sz="1100" b="1" kern="0" dirty="0">
              <a:solidFill>
                <a:schemeClr val="tx2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169224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0CA243-3E66-9080-BDB0-C7C8DA8788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F2D3717-6B03-906B-D78F-0563916C9550}"/>
              </a:ext>
            </a:extLst>
          </p:cNvPr>
          <p:cNvSpPr txBox="1">
            <a:spLocks/>
          </p:cNvSpPr>
          <p:nvPr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CC22B9-932E-6E42-8488-14772F8F6244}" type="slidenum">
              <a:rPr kumimoji="0" lang="en-GB" sz="1200" b="1" i="1" u="none" strike="noStrike" kern="1200" cap="none" spc="0" normalizeH="0" baseline="0" noProof="0" smtClean="0">
                <a:ln>
                  <a:noFill/>
                </a:ln>
                <a:solidFill>
                  <a:srgbClr val="28A357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1" i="1" u="none" strike="noStrike" kern="1200" cap="none" spc="0" normalizeH="0" baseline="0" noProof="0">
              <a:ln>
                <a:noFill/>
              </a:ln>
              <a:solidFill>
                <a:srgbClr val="28A357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C1537A9-E090-593C-A750-97735D968E6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46361" y="253927"/>
            <a:ext cx="8806338" cy="679767"/>
          </a:xfrm>
        </p:spPr>
        <p:txBody>
          <a:bodyPr/>
          <a:lstStyle/>
          <a:p>
            <a:r>
              <a:rPr lang="en-US"/>
              <a:t>Strengthening the FIFA and ECA Partnership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60735D6-B4CA-5AE9-BCE3-12E9A7D2AD36}"/>
              </a:ext>
            </a:extLst>
          </p:cNvPr>
          <p:cNvSpPr/>
          <p:nvPr/>
        </p:nvSpPr>
        <p:spPr>
          <a:xfrm>
            <a:off x="870909" y="3502247"/>
            <a:ext cx="2125221" cy="6285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rvices provision across all club functions areas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18508AEB-E3D2-FB48-E8ED-3E85F507A5C3}"/>
              </a:ext>
            </a:extLst>
          </p:cNvPr>
          <p:cNvSpPr txBox="1">
            <a:spLocks/>
          </p:cNvSpPr>
          <p:nvPr/>
        </p:nvSpPr>
        <p:spPr>
          <a:xfrm>
            <a:off x="846360" y="963826"/>
            <a:ext cx="8386880" cy="763151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16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800" b="1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Partnership formally renewed through new MOU to 2030</a:t>
            </a: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1A926852-8642-5E34-33B4-08CE55ACF6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2867" y="2679405"/>
            <a:ext cx="6274483" cy="4178595"/>
          </a:xfrm>
          <a:prstGeom prst="rect">
            <a:avLst/>
          </a:prstGeom>
        </p:spPr>
      </p:pic>
      <p:sp>
        <p:nvSpPr>
          <p:cNvPr id="55" name="Rounded Rectangle 13">
            <a:extLst>
              <a:ext uri="{FF2B5EF4-FFF2-40B4-BE49-F238E27FC236}">
                <a16:creationId xmlns:a16="http://schemas.microsoft.com/office/drawing/2014/main" id="{A11FCEB5-55DA-062D-88EC-3465756E3479}"/>
              </a:ext>
            </a:extLst>
          </p:cNvPr>
          <p:cNvSpPr/>
          <p:nvPr/>
        </p:nvSpPr>
        <p:spPr>
          <a:xfrm>
            <a:off x="3699603" y="6082125"/>
            <a:ext cx="5016382" cy="595807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tx1"/>
              </a:gs>
              <a:gs pos="100000">
                <a:srgbClr val="14522B"/>
              </a:gs>
            </a:gsLst>
            <a:lin ang="7800000" scaled="0"/>
          </a:gradFill>
          <a:ln w="38100">
            <a:noFill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M</a:t>
            </a: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N</a:t>
            </a:r>
            <a:r>
              <a:rPr kumimoji="0" lang="en-CH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’s &amp; W</a:t>
            </a:r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MEN</a:t>
            </a:r>
            <a:r>
              <a:rPr kumimoji="0" lang="en-CH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’s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OOTBALL</a:t>
            </a:r>
            <a:endParaRPr kumimoji="0" lang="en-CH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7F399B5F-DAC7-B570-16FD-A8CACFA26627}"/>
              </a:ext>
            </a:extLst>
          </p:cNvPr>
          <p:cNvSpPr/>
          <p:nvPr/>
        </p:nvSpPr>
        <p:spPr>
          <a:xfrm>
            <a:off x="495159" y="4473077"/>
            <a:ext cx="1421528" cy="1441972"/>
          </a:xfrm>
          <a:prstGeom prst="ellipse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15875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CH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Mutual Re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</a:t>
            </a:r>
            <a:r>
              <a:rPr kumimoji="0" lang="en-CH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gnition </a:t>
            </a: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t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Global and European </a:t>
            </a: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lev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</a:t>
            </a: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l 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DA198D32-D199-5E19-7D82-FD30EFC9BE33}"/>
              </a:ext>
            </a:extLst>
          </p:cNvPr>
          <p:cNvSpPr/>
          <p:nvPr/>
        </p:nvSpPr>
        <p:spPr>
          <a:xfrm>
            <a:off x="1905946" y="3064805"/>
            <a:ext cx="1415828" cy="1415828"/>
          </a:xfrm>
          <a:prstGeom prst="ellipse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/>
          <a:lstStyle/>
          <a:p>
            <a:pPr marL="15875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CH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nternational Match Calendar</a:t>
            </a:r>
            <a:endParaRPr kumimoji="0" lang="en-CH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C955CF49-08CE-BDF3-D42F-2E10EC8E14F7}"/>
              </a:ext>
            </a:extLst>
          </p:cNvPr>
          <p:cNvGrpSpPr/>
          <p:nvPr/>
        </p:nvGrpSpPr>
        <p:grpSpPr>
          <a:xfrm>
            <a:off x="3348515" y="1652062"/>
            <a:ext cx="1504682" cy="1461838"/>
            <a:chOff x="643928" y="4136592"/>
            <a:chExt cx="1908291" cy="1992466"/>
          </a:xfrm>
          <a:solidFill>
            <a:schemeClr val="tx1">
              <a:lumMod val="75000"/>
            </a:schemeClr>
          </a:solidFill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85C1FB0E-47D5-C20F-228C-28703295133D}"/>
                </a:ext>
              </a:extLst>
            </p:cNvPr>
            <p:cNvSpPr/>
            <p:nvPr/>
          </p:nvSpPr>
          <p:spPr>
            <a:xfrm>
              <a:off x="643928" y="4136592"/>
              <a:ext cx="1854813" cy="199246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45720" rIns="0" bIns="45720" rtlCol="0" anchor="ctr"/>
            <a:lstStyle/>
            <a:p>
              <a:pPr marL="12700" marR="0" lvl="0" indent="3175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29A457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Club Benefits $355m (from 40 m. in South Africa)</a:t>
              </a:r>
              <a:endParaRPr kumimoji="0" lang="en-CH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pic>
          <p:nvPicPr>
            <p:cNvPr id="77" name="Graphic 76">
              <a:extLst>
                <a:ext uri="{FF2B5EF4-FFF2-40B4-BE49-F238E27FC236}">
                  <a16:creationId xmlns:a16="http://schemas.microsoft.com/office/drawing/2014/main" id="{BDE17E6D-B36C-98C2-3F4E-6CE4832EB14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77206" y="4249748"/>
              <a:ext cx="275013" cy="275013"/>
            </a:xfrm>
            <a:prstGeom prst="rect">
              <a:avLst/>
            </a:prstGeom>
          </p:spPr>
        </p:pic>
      </p:grpSp>
      <p:pic>
        <p:nvPicPr>
          <p:cNvPr id="78" name="Picture 77" descr="A green circle with a white check mark in it&#10;&#10;Description automatically generated">
            <a:extLst>
              <a:ext uri="{FF2B5EF4-FFF2-40B4-BE49-F238E27FC236}">
                <a16:creationId xmlns:a16="http://schemas.microsoft.com/office/drawing/2014/main" id="{1B1921F7-DBD6-E9F6-6FED-378F3D0907A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85302" y="4528405"/>
            <a:ext cx="355600" cy="368300"/>
          </a:xfrm>
          <a:prstGeom prst="rect">
            <a:avLst/>
          </a:prstGeom>
        </p:spPr>
      </p:pic>
      <p:pic>
        <p:nvPicPr>
          <p:cNvPr id="79" name="Picture 78" descr="A green circle with a white check mark in it&#10;&#10;Description automatically generated">
            <a:extLst>
              <a:ext uri="{FF2B5EF4-FFF2-40B4-BE49-F238E27FC236}">
                <a16:creationId xmlns:a16="http://schemas.microsoft.com/office/drawing/2014/main" id="{267F0981-D368-BC06-92C2-917C459ED66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87171" y="3083425"/>
            <a:ext cx="355600" cy="368300"/>
          </a:xfrm>
          <a:prstGeom prst="rect">
            <a:avLst/>
          </a:prstGeom>
        </p:spPr>
      </p:pic>
      <p:pic>
        <p:nvPicPr>
          <p:cNvPr id="80" name="Picture 79" descr="A green circle with a white check mark in it&#10;&#10;Description automatically generated">
            <a:extLst>
              <a:ext uri="{FF2B5EF4-FFF2-40B4-BE49-F238E27FC236}">
                <a16:creationId xmlns:a16="http://schemas.microsoft.com/office/drawing/2014/main" id="{737434C8-B894-CB65-294F-9D99912727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63367" y="1651819"/>
            <a:ext cx="355600" cy="368300"/>
          </a:xfrm>
          <a:prstGeom prst="rect">
            <a:avLst/>
          </a:prstGeom>
        </p:spPr>
      </p:pic>
      <p:sp>
        <p:nvSpPr>
          <p:cNvPr id="81" name="Oval 80">
            <a:extLst>
              <a:ext uri="{FF2B5EF4-FFF2-40B4-BE49-F238E27FC236}">
                <a16:creationId xmlns:a16="http://schemas.microsoft.com/office/drawing/2014/main" id="{DBC773E9-95AD-DF99-137E-69BF58E15573}"/>
              </a:ext>
            </a:extLst>
          </p:cNvPr>
          <p:cNvSpPr/>
          <p:nvPr/>
        </p:nvSpPr>
        <p:spPr>
          <a:xfrm>
            <a:off x="7196648" y="1689609"/>
            <a:ext cx="1462515" cy="1461838"/>
          </a:xfrm>
          <a:prstGeom prst="ellipse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12700" marR="0" lvl="0" indent="317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newed Club Protection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rogramme</a:t>
            </a:r>
            <a:endParaRPr kumimoji="0" lang="en-CH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82" name="Picture 81" descr="A green circle with a white check mark in it&#10;&#10;Description automatically generated">
            <a:extLst>
              <a:ext uri="{FF2B5EF4-FFF2-40B4-BE49-F238E27FC236}">
                <a16:creationId xmlns:a16="http://schemas.microsoft.com/office/drawing/2014/main" id="{FB6AB08A-C65B-D3DD-3220-A3ABA93959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95496" y="1685699"/>
            <a:ext cx="355600" cy="368300"/>
          </a:xfrm>
          <a:prstGeom prst="rect">
            <a:avLst/>
          </a:prstGeom>
        </p:spPr>
      </p:pic>
      <p:sp>
        <p:nvSpPr>
          <p:cNvPr id="83" name="Oval 82">
            <a:extLst>
              <a:ext uri="{FF2B5EF4-FFF2-40B4-BE49-F238E27FC236}">
                <a16:creationId xmlns:a16="http://schemas.microsoft.com/office/drawing/2014/main" id="{5F980A56-5E0F-203F-E71B-E0C3C144C384}"/>
              </a:ext>
            </a:extLst>
          </p:cNvPr>
          <p:cNvSpPr/>
          <p:nvPr/>
        </p:nvSpPr>
        <p:spPr>
          <a:xfrm>
            <a:off x="8792569" y="3087530"/>
            <a:ext cx="1415828" cy="1415828"/>
          </a:xfrm>
          <a:prstGeom prst="ellipse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15875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CH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vamped FIFA Club World Cup </a:t>
            </a: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ncl. 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</a:t>
            </a: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ute to Joint Venture</a:t>
            </a:r>
            <a:r>
              <a:rPr kumimoji="0" lang="en-CH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84" name="Picture 83" descr="A green circle with a white check mark in it&#10;&#10;Description automatically generated">
            <a:extLst>
              <a:ext uri="{FF2B5EF4-FFF2-40B4-BE49-F238E27FC236}">
                <a16:creationId xmlns:a16="http://schemas.microsoft.com/office/drawing/2014/main" id="{1A7C2FC0-D712-F7E6-2C6C-AF3051AFBE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84903" y="3064805"/>
            <a:ext cx="355600" cy="368300"/>
          </a:xfrm>
          <a:prstGeom prst="rect">
            <a:avLst/>
          </a:prstGeom>
        </p:spPr>
      </p:pic>
      <p:sp>
        <p:nvSpPr>
          <p:cNvPr id="86" name="Oval 85">
            <a:extLst>
              <a:ext uri="{FF2B5EF4-FFF2-40B4-BE49-F238E27FC236}">
                <a16:creationId xmlns:a16="http://schemas.microsoft.com/office/drawing/2014/main" id="{2DF6F84B-9A40-FCCA-7FFB-89FA45B708F2}"/>
              </a:ext>
            </a:extLst>
          </p:cNvPr>
          <p:cNvSpPr/>
          <p:nvPr/>
        </p:nvSpPr>
        <p:spPr>
          <a:xfrm>
            <a:off x="10296481" y="4473077"/>
            <a:ext cx="1421528" cy="1441972"/>
          </a:xfrm>
          <a:prstGeom prst="ellipse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15875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lub National Team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ollaboration</a:t>
            </a: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globally </a:t>
            </a:r>
          </a:p>
        </p:txBody>
      </p:sp>
      <p:pic>
        <p:nvPicPr>
          <p:cNvPr id="88" name="Picture 87" descr="A green circle with a white check mark in it&#10;&#10;Description automatically generated">
            <a:extLst>
              <a:ext uri="{FF2B5EF4-FFF2-40B4-BE49-F238E27FC236}">
                <a16:creationId xmlns:a16="http://schemas.microsoft.com/office/drawing/2014/main" id="{D6FE8F20-449E-4322-A7AE-2B0AD61934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18681" y="4521978"/>
            <a:ext cx="355600" cy="3683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3A9CE63-2C22-17BA-7DFE-34CD242F1A6E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4340" y="498970"/>
            <a:ext cx="976730" cy="31893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E52BCA0-67B7-6E8D-42FE-E84842E35D4D}"/>
              </a:ext>
            </a:extLst>
          </p:cNvPr>
          <p:cNvSpPr/>
          <p:nvPr/>
        </p:nvSpPr>
        <p:spPr>
          <a:xfrm>
            <a:off x="10296481" y="374469"/>
            <a:ext cx="1320753" cy="9753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20EF1E5-9C94-B216-99E7-5FA46D9D5DC1}"/>
              </a:ext>
            </a:extLst>
          </p:cNvPr>
          <p:cNvGrpSpPr/>
          <p:nvPr/>
        </p:nvGrpSpPr>
        <p:grpSpPr>
          <a:xfrm>
            <a:off x="10233652" y="291314"/>
            <a:ext cx="1373893" cy="752560"/>
            <a:chOff x="10506211" y="315080"/>
            <a:chExt cx="1223334" cy="67009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1B3EB55-71CC-FA43-436D-FFC38D23C5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-8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54553" y="838547"/>
              <a:ext cx="882870" cy="45719"/>
            </a:xfrm>
            <a:prstGeom prst="rect">
              <a:avLst/>
            </a:prstGeom>
          </p:spPr>
        </p:pic>
        <p:pic>
          <p:nvPicPr>
            <p:cNvPr id="12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1462B290-371E-1519-2CC6-F11CC9202CE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6211" y="315080"/>
              <a:ext cx="1223334" cy="6700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499142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D23DBCD-0642-652B-BE99-B12418BB04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99D49-E9B0-4648-A2A0-22D531008F3A}" type="slidenum">
              <a:rPr kumimoji="0" lang="pl-PL" sz="1200" b="1" i="1" u="none" strike="noStrike" kern="1200" cap="none" spc="0" normalizeH="0" baseline="0" noProof="0" smtClean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pl-PL" sz="1200" b="1" i="1" u="none" strike="noStrike" kern="1200" cap="none" spc="0" normalizeH="0" baseline="0" noProof="0">
              <a:ln>
                <a:noFill/>
              </a:ln>
              <a:solidFill>
                <a:srgbClr val="29A457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7" name="Arrow: Pentagon 25">
            <a:extLst>
              <a:ext uri="{FF2B5EF4-FFF2-40B4-BE49-F238E27FC236}">
                <a16:creationId xmlns:a16="http://schemas.microsoft.com/office/drawing/2014/main" id="{B97B29E5-3616-8E35-D1C7-F5DDCCA8A740}"/>
              </a:ext>
            </a:extLst>
          </p:cNvPr>
          <p:cNvSpPr/>
          <p:nvPr/>
        </p:nvSpPr>
        <p:spPr>
          <a:xfrm>
            <a:off x="9955197" y="1351475"/>
            <a:ext cx="2271667" cy="809456"/>
          </a:xfrm>
          <a:prstGeom prst="rect">
            <a:avLst/>
          </a:prstGeom>
          <a:gradFill flip="none" rotWithShape="1">
            <a:gsLst>
              <a:gs pos="99000">
                <a:schemeClr val="tx1"/>
              </a:gs>
              <a:gs pos="44000">
                <a:schemeClr val="tx1">
                  <a:alpha val="83972"/>
                </a:schemeClr>
              </a:gs>
              <a:gs pos="11000">
                <a:srgbClr val="1D753E">
                  <a:alpha val="24085"/>
                </a:srgbClr>
              </a:gs>
              <a:gs pos="0">
                <a:srgbClr val="114625">
                  <a:alpha val="0"/>
                </a:srgbClr>
              </a:gs>
            </a:gsLst>
            <a:lin ang="108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A7EF716-2D3F-4EBC-393F-57D22C0DA12E}"/>
              </a:ext>
            </a:extLst>
          </p:cNvPr>
          <p:cNvSpPr txBox="1">
            <a:spLocks/>
          </p:cNvSpPr>
          <p:nvPr/>
        </p:nvSpPr>
        <p:spPr>
          <a:xfrm>
            <a:off x="846361" y="394626"/>
            <a:ext cx="7626746" cy="62858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0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2168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704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1312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kumimoji="0" lang="en-GB" sz="2800" b="1" i="0" u="none" strike="noStrike" kern="1200" cap="none" spc="-150" normalizeH="0" baseline="0" noProof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IFA Club Benefits Programme 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067FDD7E-6C38-5336-BCC2-4E3031535BC1}"/>
              </a:ext>
            </a:extLst>
          </p:cNvPr>
          <p:cNvSpPr txBox="1">
            <a:spLocks/>
          </p:cNvSpPr>
          <p:nvPr/>
        </p:nvSpPr>
        <p:spPr>
          <a:xfrm>
            <a:off x="846358" y="942457"/>
            <a:ext cx="8166342" cy="31665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2022 FIFA Qatar World Cup</a:t>
            </a:r>
          </a:p>
        </p:txBody>
      </p:sp>
      <p:sp>
        <p:nvSpPr>
          <p:cNvPr id="13" name="Round Same Side Corner Rectangle 126">
            <a:extLst>
              <a:ext uri="{FF2B5EF4-FFF2-40B4-BE49-F238E27FC236}">
                <a16:creationId xmlns:a16="http://schemas.microsoft.com/office/drawing/2014/main" id="{FE90656B-40BD-2E21-F10C-406D719DE5FB}"/>
              </a:ext>
            </a:extLst>
          </p:cNvPr>
          <p:cNvSpPr/>
          <p:nvPr/>
        </p:nvSpPr>
        <p:spPr>
          <a:xfrm rot="16200000">
            <a:off x="3958146" y="-34305"/>
            <a:ext cx="734982" cy="36576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223420" dist="38100" dir="2700000" algn="tl" rotWithShape="0">
              <a:prstClr val="black">
                <a:alpha val="16885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4" name="Round Same Side Corner Rectangle 130">
            <a:extLst>
              <a:ext uri="{FF2B5EF4-FFF2-40B4-BE49-F238E27FC236}">
                <a16:creationId xmlns:a16="http://schemas.microsoft.com/office/drawing/2014/main" id="{EFE1E9FC-9C16-7F2C-9D8B-F358292DA79E}"/>
              </a:ext>
            </a:extLst>
          </p:cNvPr>
          <p:cNvSpPr/>
          <p:nvPr/>
        </p:nvSpPr>
        <p:spPr>
          <a:xfrm rot="5400000" flipH="1">
            <a:off x="9275667" y="2059386"/>
            <a:ext cx="770101" cy="339884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223420" dist="38100" dir="2700000" algn="tl" rotWithShape="0">
              <a:prstClr val="black">
                <a:alpha val="16885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F0E0F9B-ADB7-14D8-7AFD-21E4E34459E2}"/>
              </a:ext>
            </a:extLst>
          </p:cNvPr>
          <p:cNvSpPr/>
          <p:nvPr/>
        </p:nvSpPr>
        <p:spPr>
          <a:xfrm>
            <a:off x="8650461" y="3509457"/>
            <a:ext cx="27111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444 clubs from 50 NAs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ave released players</a:t>
            </a:r>
          </a:p>
        </p:txBody>
      </p:sp>
      <p:sp>
        <p:nvSpPr>
          <p:cNvPr id="16" name="Round Same Side Corner Rectangle 12">
            <a:extLst>
              <a:ext uri="{FF2B5EF4-FFF2-40B4-BE49-F238E27FC236}">
                <a16:creationId xmlns:a16="http://schemas.microsoft.com/office/drawing/2014/main" id="{C66B1433-CD8D-1D7A-E162-525CC0D6148A}"/>
              </a:ext>
            </a:extLst>
          </p:cNvPr>
          <p:cNvSpPr/>
          <p:nvPr/>
        </p:nvSpPr>
        <p:spPr>
          <a:xfrm rot="5400000" flipH="1">
            <a:off x="8123871" y="3384462"/>
            <a:ext cx="649377" cy="4896878"/>
          </a:xfrm>
          <a:prstGeom prst="round2SameRect">
            <a:avLst>
              <a:gd name="adj1" fmla="val 42084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223420" dist="38100" dir="2700000" algn="tl" rotWithShape="0">
              <a:prstClr val="black">
                <a:alpha val="16885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7" name="Round Same Side Corner Rectangle 13">
            <a:extLst>
              <a:ext uri="{FF2B5EF4-FFF2-40B4-BE49-F238E27FC236}">
                <a16:creationId xmlns:a16="http://schemas.microsoft.com/office/drawing/2014/main" id="{E6E6E8ED-5DBE-CC59-A8E2-310386E714AB}"/>
              </a:ext>
            </a:extLst>
          </p:cNvPr>
          <p:cNvSpPr/>
          <p:nvPr/>
        </p:nvSpPr>
        <p:spPr>
          <a:xfrm rot="16200000">
            <a:off x="2118210" y="2067268"/>
            <a:ext cx="770101" cy="339884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223420" dist="38100" dir="2700000" algn="tl" rotWithShape="0">
              <a:prstClr val="black">
                <a:alpha val="16885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496E2122-9773-1F24-BD3B-ACDE8D137E9E}"/>
              </a:ext>
            </a:extLst>
          </p:cNvPr>
          <p:cNvSpPr>
            <a:spLocks noGrp="1"/>
          </p:cNvSpPr>
          <p:nvPr/>
        </p:nvSpPr>
        <p:spPr bwMode="gray">
          <a:xfrm>
            <a:off x="4139226" y="1779155"/>
            <a:ext cx="4030420" cy="4030420"/>
          </a:xfrm>
          <a:prstGeom prst="ellipse">
            <a:avLst/>
          </a:prstGeom>
          <a:gradFill>
            <a:gsLst>
              <a:gs pos="0">
                <a:srgbClr val="29A456"/>
              </a:gs>
              <a:gs pos="100000">
                <a:srgbClr val="014727"/>
              </a:gs>
            </a:gsLst>
            <a:lin ang="7200000" scaled="0"/>
          </a:gradFill>
          <a:ln w="381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43106" tIns="43106" rIns="43106" bIns="43106" anchor="ctr"/>
          <a:lstStyle/>
          <a:p>
            <a:pPr marL="0" marR="0" lvl="0" indent="0" algn="ctr" defTabSz="980781" rtl="0" eaLnBrk="0" fontAlgn="base" latinLnBrk="0" hangingPunct="0">
              <a:lnSpc>
                <a:spcPct val="120000"/>
              </a:lnSpc>
              <a:spcBef>
                <a:spcPct val="4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383C45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85C6A53-447E-9F9F-79C7-0AA0C834DF93}"/>
              </a:ext>
            </a:extLst>
          </p:cNvPr>
          <p:cNvSpPr/>
          <p:nvPr/>
        </p:nvSpPr>
        <p:spPr bwMode="gray">
          <a:xfrm>
            <a:off x="4836368" y="2498797"/>
            <a:ext cx="2591135" cy="2591135"/>
          </a:xfrm>
          <a:prstGeom prst="ellipse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80781" rtl="0" eaLnBrk="0" fontAlgn="base" latinLnBrk="0" hangingPunct="0">
              <a:lnSpc>
                <a:spcPct val="120000"/>
              </a:lnSpc>
              <a:spcBef>
                <a:spcPct val="4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383C45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4342FB0-4BB0-F784-803A-D1E209BAE9EB}"/>
              </a:ext>
            </a:extLst>
          </p:cNvPr>
          <p:cNvGrpSpPr/>
          <p:nvPr/>
        </p:nvGrpSpPr>
        <p:grpSpPr>
          <a:xfrm>
            <a:off x="3820466" y="3378638"/>
            <a:ext cx="773107" cy="773107"/>
            <a:chOff x="6773020" y="1788287"/>
            <a:chExt cx="1388962" cy="1388962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1B4E8608-C7D9-B585-6C2A-0DCA4C8E8E0B}"/>
                </a:ext>
              </a:extLst>
            </p:cNvPr>
            <p:cNvSpPr/>
            <p:nvPr/>
          </p:nvSpPr>
          <p:spPr bwMode="gray">
            <a:xfrm>
              <a:off x="6773020" y="1788287"/>
              <a:ext cx="1388962" cy="1388962"/>
            </a:xfrm>
            <a:prstGeom prst="ellipse">
              <a:avLst/>
            </a:prstGeom>
            <a:solidFill>
              <a:srgbClr val="014727">
                <a:alpha val="50196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3375678C-DB33-FCB5-6929-7147C5174057}"/>
                </a:ext>
              </a:extLst>
            </p:cNvPr>
            <p:cNvSpPr/>
            <p:nvPr/>
          </p:nvSpPr>
          <p:spPr bwMode="gray">
            <a:xfrm>
              <a:off x="6919391" y="1934657"/>
              <a:ext cx="1096223" cy="1096223"/>
            </a:xfrm>
            <a:prstGeom prst="ellipse">
              <a:avLst/>
            </a:prstGeom>
            <a:solidFill>
              <a:srgbClr val="014727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C4F7809-5D72-0975-46AC-905736AA82C7}"/>
              </a:ext>
            </a:extLst>
          </p:cNvPr>
          <p:cNvGrpSpPr/>
          <p:nvPr/>
        </p:nvGrpSpPr>
        <p:grpSpPr>
          <a:xfrm>
            <a:off x="7781470" y="3369789"/>
            <a:ext cx="773107" cy="773107"/>
            <a:chOff x="6773020" y="1788287"/>
            <a:chExt cx="1388962" cy="1388962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513C449E-3870-832A-3E17-EF753927FD63}"/>
                </a:ext>
              </a:extLst>
            </p:cNvPr>
            <p:cNvSpPr/>
            <p:nvPr/>
          </p:nvSpPr>
          <p:spPr bwMode="gray">
            <a:xfrm>
              <a:off x="6773020" y="1788287"/>
              <a:ext cx="1388962" cy="1388962"/>
            </a:xfrm>
            <a:prstGeom prst="ellipse">
              <a:avLst/>
            </a:prstGeom>
            <a:solidFill>
              <a:srgbClr val="014727">
                <a:alpha val="50196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023296A9-852C-8ABB-4411-224EDC536AA3}"/>
                </a:ext>
              </a:extLst>
            </p:cNvPr>
            <p:cNvSpPr/>
            <p:nvPr/>
          </p:nvSpPr>
          <p:spPr bwMode="gray">
            <a:xfrm>
              <a:off x="6919391" y="1934657"/>
              <a:ext cx="1096223" cy="1096223"/>
            </a:xfrm>
            <a:prstGeom prst="ellipse">
              <a:avLst/>
            </a:prstGeom>
            <a:solidFill>
              <a:srgbClr val="014727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6B718AB-330E-E574-3BA0-90B995B1CC01}"/>
              </a:ext>
            </a:extLst>
          </p:cNvPr>
          <p:cNvGrpSpPr/>
          <p:nvPr/>
        </p:nvGrpSpPr>
        <p:grpSpPr>
          <a:xfrm>
            <a:off x="5808790" y="5426742"/>
            <a:ext cx="773107" cy="773107"/>
            <a:chOff x="6773020" y="1788287"/>
            <a:chExt cx="1388962" cy="1388962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C2900F5C-E787-D7D6-9DF9-BCA2218EC561}"/>
                </a:ext>
              </a:extLst>
            </p:cNvPr>
            <p:cNvSpPr/>
            <p:nvPr/>
          </p:nvSpPr>
          <p:spPr bwMode="gray">
            <a:xfrm>
              <a:off x="6773020" y="1788287"/>
              <a:ext cx="1388962" cy="1388962"/>
            </a:xfrm>
            <a:prstGeom prst="ellipse">
              <a:avLst/>
            </a:prstGeom>
            <a:solidFill>
              <a:srgbClr val="014727">
                <a:alpha val="50196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C8FF8666-A23B-A421-670E-1196A1E4B819}"/>
                </a:ext>
              </a:extLst>
            </p:cNvPr>
            <p:cNvSpPr/>
            <p:nvPr/>
          </p:nvSpPr>
          <p:spPr bwMode="gray">
            <a:xfrm>
              <a:off x="6919391" y="1934657"/>
              <a:ext cx="1096223" cy="1096223"/>
            </a:xfrm>
            <a:prstGeom prst="ellipse">
              <a:avLst/>
            </a:prstGeom>
            <a:solidFill>
              <a:srgbClr val="014727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A0DB4D07-E9C2-EB05-47B5-4BA37ED4A42F}"/>
              </a:ext>
            </a:extLst>
          </p:cNvPr>
          <p:cNvSpPr/>
          <p:nvPr/>
        </p:nvSpPr>
        <p:spPr>
          <a:xfrm>
            <a:off x="6876028" y="5692937"/>
            <a:ext cx="369904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ayments to your National Associations 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BD58DA4-684E-B44B-C1CA-8C8BC23846F1}"/>
              </a:ext>
            </a:extLst>
          </p:cNvPr>
          <p:cNvSpPr/>
          <p:nvPr/>
        </p:nvSpPr>
        <p:spPr>
          <a:xfrm>
            <a:off x="1463234" y="3615857"/>
            <a:ext cx="275913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otal amount to be paid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BDB6DB8-1BFB-BB2E-9CAF-247F35BB0A7D}"/>
              </a:ext>
            </a:extLst>
          </p:cNvPr>
          <p:cNvGrpSpPr/>
          <p:nvPr/>
        </p:nvGrpSpPr>
        <p:grpSpPr>
          <a:xfrm>
            <a:off x="5772218" y="1388883"/>
            <a:ext cx="773107" cy="773107"/>
            <a:chOff x="6773020" y="1788287"/>
            <a:chExt cx="1388962" cy="1388962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B95D7ACC-EEC7-36B4-0356-662225F7ED83}"/>
                </a:ext>
              </a:extLst>
            </p:cNvPr>
            <p:cNvSpPr/>
            <p:nvPr/>
          </p:nvSpPr>
          <p:spPr bwMode="gray">
            <a:xfrm>
              <a:off x="6773020" y="1788287"/>
              <a:ext cx="1388962" cy="1388962"/>
            </a:xfrm>
            <a:prstGeom prst="ellipse">
              <a:avLst/>
            </a:prstGeom>
            <a:solidFill>
              <a:srgbClr val="014727">
                <a:alpha val="50196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F03EAA44-C40E-11F3-4E74-6B18737E4938}"/>
                </a:ext>
              </a:extLst>
            </p:cNvPr>
            <p:cNvSpPr/>
            <p:nvPr/>
          </p:nvSpPr>
          <p:spPr bwMode="gray">
            <a:xfrm>
              <a:off x="6919391" y="1934657"/>
              <a:ext cx="1096223" cy="1096223"/>
            </a:xfrm>
            <a:prstGeom prst="ellipse">
              <a:avLst/>
            </a:prstGeom>
            <a:solidFill>
              <a:srgbClr val="014727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B646F911-414E-79AC-1FFB-C7DEE1163A33}"/>
              </a:ext>
            </a:extLst>
          </p:cNvPr>
          <p:cNvSpPr/>
          <p:nvPr/>
        </p:nvSpPr>
        <p:spPr>
          <a:xfrm>
            <a:off x="2888359" y="1625782"/>
            <a:ext cx="317672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mount per player per gam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51739DB-6543-4095-B812-3DC33E6D5951}"/>
              </a:ext>
            </a:extLst>
          </p:cNvPr>
          <p:cNvSpPr/>
          <p:nvPr/>
        </p:nvSpPr>
        <p:spPr>
          <a:xfrm>
            <a:off x="5792164" y="1643366"/>
            <a:ext cx="70564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$10,950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078DED93-8E21-87BE-76C8-91DC6A3EFE51}"/>
              </a:ext>
            </a:extLst>
          </p:cNvPr>
          <p:cNvSpPr/>
          <p:nvPr/>
        </p:nvSpPr>
        <p:spPr>
          <a:xfrm>
            <a:off x="9442121" y="1360333"/>
            <a:ext cx="801973" cy="801973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tx1"/>
            </a:solidFill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237CA5E-1C0E-E29F-313C-15889900A069}"/>
              </a:ext>
            </a:extLst>
          </p:cNvPr>
          <p:cNvSpPr txBox="1"/>
          <p:nvPr/>
        </p:nvSpPr>
        <p:spPr>
          <a:xfrm>
            <a:off x="10256398" y="1414834"/>
            <a:ext cx="199253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s per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IFA / ECA MO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$209m. total</a:t>
            </a:r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867A87CE-4878-D919-6719-FB0C6E00B7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46970" y="1541862"/>
            <a:ext cx="392276" cy="392276"/>
          </a:xfrm>
          <a:prstGeom prst="rect">
            <a:avLst/>
          </a:prstGeom>
        </p:spPr>
      </p:pic>
      <p:pic>
        <p:nvPicPr>
          <p:cNvPr id="41" name="Picture 2" descr="2022 FIFA World Cup - Wikipedia">
            <a:extLst>
              <a:ext uri="{FF2B5EF4-FFF2-40B4-BE49-F238E27FC236}">
                <a16:creationId xmlns:a16="http://schemas.microsoft.com/office/drawing/2014/main" id="{9AA04755-17E3-54F5-9106-FD27B18DEF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76887" y="2936885"/>
            <a:ext cx="1399141" cy="1675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36EB8B46-E365-DA23-F301-B3702063584A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3756" y="581266"/>
            <a:ext cx="976730" cy="318932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229B6101-F5D3-5505-2A1B-0162904B6174}"/>
              </a:ext>
            </a:extLst>
          </p:cNvPr>
          <p:cNvSpPr/>
          <p:nvPr/>
        </p:nvSpPr>
        <p:spPr>
          <a:xfrm>
            <a:off x="3858348" y="3611019"/>
            <a:ext cx="702435" cy="307777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$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209m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74330CA1-3A5F-2605-C3DE-59F8DD5AA41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98751" y="3580097"/>
            <a:ext cx="317500" cy="317500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7166FE4C-F59E-AF8B-4C6D-489A53D69DF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36593" y="5650826"/>
            <a:ext cx="317500" cy="317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3BCD638-506A-86ED-FBEA-F9C58E396165}"/>
              </a:ext>
            </a:extLst>
          </p:cNvPr>
          <p:cNvSpPr/>
          <p:nvPr/>
        </p:nvSpPr>
        <p:spPr>
          <a:xfrm>
            <a:off x="10256398" y="394626"/>
            <a:ext cx="1380476" cy="6285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7FE24BE-31AA-CACF-5BA0-9AAC390994C3}"/>
              </a:ext>
            </a:extLst>
          </p:cNvPr>
          <p:cNvGrpSpPr/>
          <p:nvPr/>
        </p:nvGrpSpPr>
        <p:grpSpPr>
          <a:xfrm>
            <a:off x="10233652" y="291314"/>
            <a:ext cx="1373893" cy="752560"/>
            <a:chOff x="10506211" y="315080"/>
            <a:chExt cx="1223334" cy="67009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B29E2DB-8093-0EA4-7FC8-A382AA8585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-8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54553" y="838547"/>
              <a:ext cx="882870" cy="45719"/>
            </a:xfrm>
            <a:prstGeom prst="rect">
              <a:avLst/>
            </a:prstGeom>
          </p:spPr>
        </p:pic>
        <p:pic>
          <p:nvPicPr>
            <p:cNvPr id="11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D8E202F8-96C0-7156-1B78-636B734C51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6211" y="315080"/>
              <a:ext cx="1223334" cy="6700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437286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D88727E0-EF4D-9731-2C70-76077A7A2D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4490" y="1480352"/>
            <a:ext cx="10282381" cy="4232115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4A78AA4-6767-C111-8C5A-AABC08BF68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99D49-E9B0-4648-A2A0-22D531008F3A}" type="slidenum">
              <a:rPr kumimoji="0" lang="pl-PL" sz="1200" b="1" i="1" u="none" strike="noStrike" kern="1200" cap="none" spc="0" normalizeH="0" baseline="0" noProof="0" smtClean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pl-PL" sz="1200" b="1" i="1" u="none" strike="noStrike" kern="1200" cap="none" spc="0" normalizeH="0" baseline="0" noProof="0">
              <a:ln>
                <a:noFill/>
              </a:ln>
              <a:solidFill>
                <a:srgbClr val="29A457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BA0F5491-47AC-2D83-9CCD-C0E50086EF39}"/>
              </a:ext>
            </a:extLst>
          </p:cNvPr>
          <p:cNvSpPr txBox="1">
            <a:spLocks/>
          </p:cNvSpPr>
          <p:nvPr/>
        </p:nvSpPr>
        <p:spPr>
          <a:xfrm>
            <a:off x="846361" y="394626"/>
            <a:ext cx="11202204" cy="62858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0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2168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704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1312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kumimoji="0" lang="en-CH" sz="2800" b="1" i="0" u="none" strike="noStrike" kern="1200" cap="none" spc="-150" normalizeH="0" baseline="0" noProof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2026 FIFA World Cup Benefits Programme (CBP)</a:t>
            </a:r>
          </a:p>
        </p:txBody>
      </p:sp>
      <p:sp>
        <p:nvSpPr>
          <p:cNvPr id="4" name="Tytuł 1">
            <a:extLst>
              <a:ext uri="{FF2B5EF4-FFF2-40B4-BE49-F238E27FC236}">
                <a16:creationId xmlns:a16="http://schemas.microsoft.com/office/drawing/2014/main" id="{FE65D03D-A876-C549-E624-20113B791A8C}"/>
              </a:ext>
            </a:extLst>
          </p:cNvPr>
          <p:cNvSpPr txBox="1">
            <a:spLocks/>
          </p:cNvSpPr>
          <p:nvPr/>
        </p:nvSpPr>
        <p:spPr>
          <a:xfrm>
            <a:off x="846360" y="990375"/>
            <a:ext cx="10147461" cy="437803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16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H" dirty="0">
                <a:solidFill>
                  <a:srgbClr val="525252"/>
                </a:solidFill>
                <a:latin typeface="Open Sans SemiBold"/>
                <a:ea typeface="Open Sans SemiBold"/>
                <a:cs typeface="Open Sans SemiBold"/>
              </a:rPr>
              <a:t>N</a:t>
            </a:r>
            <a:r>
              <a:rPr kumimoji="0" lang="en-CH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 SemiBold"/>
                <a:ea typeface="Open Sans SemiBold"/>
                <a:cs typeface="Open Sans SemiBold"/>
              </a:rPr>
              <a:t>ew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 SemiBold"/>
                <a:ea typeface="Open Sans SemiBold"/>
                <a:cs typeface="Open Sans SemiBold"/>
              </a:rPr>
              <a:t> concept to enable </a:t>
            </a: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 SemiBold"/>
                <a:ea typeface="Open Sans SemiBold"/>
                <a:cs typeface="Open Sans SemiBold"/>
              </a:rPr>
              <a:t>thousands of clubs worldwid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 SemiBold"/>
                <a:ea typeface="Open Sans SemiBold"/>
                <a:cs typeface="Open Sans SemiBold"/>
              </a:rPr>
              <a:t> to benefit from ECA-FIFA MOU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D95B1BF5-DA4C-C306-C760-92E9BF4DD128}"/>
              </a:ext>
            </a:extLst>
          </p:cNvPr>
          <p:cNvSpPr/>
          <p:nvPr/>
        </p:nvSpPr>
        <p:spPr>
          <a:xfrm rot="5400000" flipH="1">
            <a:off x="2497906" y="1784765"/>
            <a:ext cx="1576826" cy="2948332"/>
          </a:xfrm>
          <a:prstGeom prst="roundRect">
            <a:avLst>
              <a:gd name="adj" fmla="val 19290"/>
            </a:avLst>
          </a:prstGeom>
          <a:solidFill>
            <a:schemeClr val="tx2">
              <a:lumMod val="50000"/>
              <a:alpha val="52157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17224172-D63A-D479-2F36-147E97E435B6}"/>
              </a:ext>
            </a:extLst>
          </p:cNvPr>
          <p:cNvSpPr/>
          <p:nvPr/>
        </p:nvSpPr>
        <p:spPr>
          <a:xfrm rot="5400000" flipH="1">
            <a:off x="7930367" y="1822415"/>
            <a:ext cx="1613548" cy="2929972"/>
          </a:xfrm>
          <a:prstGeom prst="roundRect">
            <a:avLst>
              <a:gd name="adj" fmla="val 16438"/>
            </a:avLst>
          </a:prstGeom>
          <a:solidFill>
            <a:schemeClr val="tx2">
              <a:lumMod val="50000"/>
              <a:alpha val="52157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ECE21554-42D1-C669-DCB6-CE516535A9A5}"/>
              </a:ext>
            </a:extLst>
          </p:cNvPr>
          <p:cNvSpPr/>
          <p:nvPr/>
        </p:nvSpPr>
        <p:spPr>
          <a:xfrm>
            <a:off x="1812152" y="3103316"/>
            <a:ext cx="2948333" cy="1882830"/>
          </a:xfrm>
          <a:prstGeom prst="roundRect">
            <a:avLst>
              <a:gd name="adj" fmla="val 12511"/>
            </a:avLst>
          </a:prstGeom>
          <a:solidFill>
            <a:schemeClr val="bg1"/>
          </a:solidFill>
          <a:ln>
            <a:noFill/>
          </a:ln>
          <a:effectLst>
            <a:outerShdw blurRad="398253" dist="38100" dir="2700000" algn="tl" rotWithShape="0">
              <a:prstClr val="black">
                <a:alpha val="15426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1200" cap="none" spc="0" normalizeH="0" baseline="0" noProof="0">
                <a:ln>
                  <a:noFill/>
                </a:ln>
                <a:solidFill>
                  <a:srgbClr val="28A357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Fixed amount per </a:t>
            </a:r>
            <a:b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en-CH" sz="1600" b="1" i="0" u="none" strike="noStrike" kern="1200" cap="none" spc="0" normalizeH="0" baseline="0" noProof="0">
                <a:ln>
                  <a:noFill/>
                </a:ln>
                <a:solidFill>
                  <a:srgbClr val="28A357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player per WC qualification game 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28A357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600" b="1" i="0" u="none" strike="noStrike" kern="1200" cap="none" spc="0" normalizeH="0" baseline="0" noProof="0">
              <a:ln>
                <a:noFill/>
              </a:ln>
              <a:solidFill>
                <a:srgbClr val="28A357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0" i="0" u="none" strike="noStrike" kern="1200" cap="none" spc="0" normalizeH="0" baseline="0" noProof="0">
                <a:ln>
                  <a:noFill/>
                </a:ln>
                <a:solidFill>
                  <a:srgbClr val="28A357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~$2'350 per player per gam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8A357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(all players on match sheet)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28A357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1C62C81C-CBC8-B54C-34B1-9A22BA337A3F}"/>
              </a:ext>
            </a:extLst>
          </p:cNvPr>
          <p:cNvSpPr/>
          <p:nvPr/>
        </p:nvSpPr>
        <p:spPr>
          <a:xfrm>
            <a:off x="7262975" y="3103316"/>
            <a:ext cx="2948333" cy="1963512"/>
          </a:xfrm>
          <a:prstGeom prst="roundRect">
            <a:avLst>
              <a:gd name="adj" fmla="val 12511"/>
            </a:avLst>
          </a:prstGeom>
          <a:solidFill>
            <a:schemeClr val="tx1"/>
          </a:solidFill>
          <a:ln>
            <a:noFill/>
          </a:ln>
          <a:effectLst>
            <a:outerShdw blurRad="398253" dist="38100" dir="2700000" algn="tl" rotWithShape="0">
              <a:prstClr val="black">
                <a:alpha val="15426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Fixed amount per </a:t>
            </a:r>
            <a:b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en-CH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player per day to clubs releasing players to WC</a:t>
            </a:r>
            <a:endParaRPr kumimoji="0" lang="en-CH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H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Est. amount per player per day: $6'600 (26 players per squad). 23 players: $7'500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81E3876E-647B-C406-F826-15066CB48EC5}"/>
              </a:ext>
            </a:extLst>
          </p:cNvPr>
          <p:cNvSpPr/>
          <p:nvPr/>
        </p:nvSpPr>
        <p:spPr>
          <a:xfrm>
            <a:off x="1611175" y="5540496"/>
            <a:ext cx="8969649" cy="69149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</a:schemeClr>
          </a:solidFill>
          <a:ln w="28575">
            <a:solidFill>
              <a:schemeClr val="bg1"/>
            </a:solidFill>
          </a:ln>
          <a:effectLst>
            <a:outerShdw blurRad="398253" dist="38100" dir="2700000" algn="tl" rotWithShape="0">
              <a:prstClr val="black">
                <a:alpha val="15426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Split between qualification phase and final tournamen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(+ $5m as buffer for club-related projects / operational costs)</a:t>
            </a:r>
            <a:endParaRPr kumimoji="0" lang="en-CH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675A385-AEA7-72F4-A292-7AD9D64C579E}"/>
              </a:ext>
            </a:extLst>
          </p:cNvPr>
          <p:cNvSpPr txBox="1"/>
          <p:nvPr/>
        </p:nvSpPr>
        <p:spPr>
          <a:xfrm>
            <a:off x="1937075" y="2604432"/>
            <a:ext cx="2735973" cy="348429"/>
          </a:xfrm>
          <a:prstGeom prst="rect">
            <a:avLst/>
          </a:prstGeom>
          <a:noFill/>
        </p:spPr>
        <p:txBody>
          <a:bodyPr wrap="square" lIns="0" tIns="45720" rIns="91440" bIns="45720" anchor="t">
            <a:spAutoFit/>
          </a:bodyPr>
          <a:lstStyle/>
          <a:p>
            <a:pPr marL="48895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Qualification phase</a:t>
            </a:r>
            <a:r>
              <a:rPr kumimoji="0" lang="en-CH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: </a:t>
            </a:r>
            <a:r>
              <a:rPr kumimoji="0" lang="en-CH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$100m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C468377-4F68-7412-C122-445F8B9CE9C0}"/>
              </a:ext>
            </a:extLst>
          </p:cNvPr>
          <p:cNvSpPr txBox="1"/>
          <p:nvPr/>
        </p:nvSpPr>
        <p:spPr>
          <a:xfrm>
            <a:off x="7395662" y="2592233"/>
            <a:ext cx="2735973" cy="348429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49213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inal Tournament</a:t>
            </a:r>
            <a:r>
              <a:rPr kumimoji="0" lang="en-CH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: </a:t>
            </a:r>
            <a:r>
              <a:rPr kumimoji="0" lang="en-CH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$250m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F7A2F24-8BDF-7E5D-62BD-88D85366CCF6}"/>
              </a:ext>
            </a:extLst>
          </p:cNvPr>
          <p:cNvGrpSpPr/>
          <p:nvPr/>
        </p:nvGrpSpPr>
        <p:grpSpPr>
          <a:xfrm>
            <a:off x="10233652" y="291314"/>
            <a:ext cx="1373893" cy="752560"/>
            <a:chOff x="10506211" y="315080"/>
            <a:chExt cx="1223334" cy="67009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9200E66A-3A38-DE29-26CE-FD880D0135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-8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54553" y="838547"/>
              <a:ext cx="882870" cy="45719"/>
            </a:xfrm>
            <a:prstGeom prst="rect">
              <a:avLst/>
            </a:prstGeom>
          </p:spPr>
        </p:pic>
        <p:pic>
          <p:nvPicPr>
            <p:cNvPr id="17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8F2EF47F-37E1-53E4-2393-3D3E4E1E104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6211" y="315080"/>
              <a:ext cx="1223334" cy="670090"/>
            </a:xfrm>
            <a:prstGeom prst="rect">
              <a:avLst/>
            </a:prstGeom>
          </p:spPr>
        </p:pic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4A359CA2-7C00-0614-EE0E-EE3D434A911B}"/>
              </a:ext>
            </a:extLst>
          </p:cNvPr>
          <p:cNvSpPr txBox="1"/>
          <p:nvPr/>
        </p:nvSpPr>
        <p:spPr>
          <a:xfrm>
            <a:off x="-1833" y="2251338"/>
            <a:ext cx="1947235" cy="2250519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Min. increase of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350%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 of clubs to benefits vs FIFA World Cup Qatar 2022 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29A457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5" name="Plus Sign 24">
            <a:extLst>
              <a:ext uri="{FF2B5EF4-FFF2-40B4-BE49-F238E27FC236}">
                <a16:creationId xmlns:a16="http://schemas.microsoft.com/office/drawing/2014/main" id="{CE5E6453-3237-F5EC-D62E-EE3D7BBC9D02}"/>
              </a:ext>
            </a:extLst>
          </p:cNvPr>
          <p:cNvSpPr/>
          <p:nvPr/>
        </p:nvSpPr>
        <p:spPr>
          <a:xfrm>
            <a:off x="5437908" y="3517900"/>
            <a:ext cx="1316182" cy="1119908"/>
          </a:xfrm>
          <a:prstGeom prst="mathPlus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6" name="Rounded Rectangle 13">
            <a:extLst>
              <a:ext uri="{FF2B5EF4-FFF2-40B4-BE49-F238E27FC236}">
                <a16:creationId xmlns:a16="http://schemas.microsoft.com/office/drawing/2014/main" id="{1C1B1944-3347-C2F2-DA29-E70257EA8C39}"/>
              </a:ext>
            </a:extLst>
          </p:cNvPr>
          <p:cNvSpPr/>
          <p:nvPr/>
        </p:nvSpPr>
        <p:spPr>
          <a:xfrm flipH="1">
            <a:off x="2867684" y="1620367"/>
            <a:ext cx="6451093" cy="747880"/>
          </a:xfrm>
          <a:prstGeom prst="roundRect">
            <a:avLst>
              <a:gd name="adj" fmla="val 16438"/>
            </a:avLst>
          </a:prstGeom>
          <a:solidFill>
            <a:schemeClr val="tx2">
              <a:lumMod val="50000"/>
              <a:alpha val="52157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$355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+70%</a:t>
            </a: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vs FIFA World Cup Qatar 2022</a:t>
            </a:r>
          </a:p>
        </p:txBody>
      </p:sp>
    </p:spTree>
    <p:extLst>
      <p:ext uri="{BB962C8B-B14F-4D97-AF65-F5344CB8AC3E}">
        <p14:creationId xmlns:p14="http://schemas.microsoft.com/office/powerpoint/2010/main" val="31207526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B13D3EF-9A1B-1094-911A-15F47283F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99D49-E9B0-4648-A2A0-22D531008F3A}" type="slidenum">
              <a:rPr kumimoji="0" lang="pl-PL" sz="1200" b="1" i="1" u="none" strike="noStrike" kern="1200" cap="none" spc="0" normalizeH="0" baseline="0" noProof="0" smtClean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pl-PL" sz="1200" b="1" i="1" u="none" strike="noStrike" kern="1200" cap="none" spc="0" normalizeH="0" baseline="0" noProof="0">
              <a:ln>
                <a:noFill/>
              </a:ln>
              <a:solidFill>
                <a:srgbClr val="29A457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" name="Tytuł 1">
            <a:extLst>
              <a:ext uri="{FF2B5EF4-FFF2-40B4-BE49-F238E27FC236}">
                <a16:creationId xmlns:a16="http://schemas.microsoft.com/office/drawing/2014/main" id="{619522F9-54A7-76E8-DC39-0B4783FBA4FD}"/>
              </a:ext>
            </a:extLst>
          </p:cNvPr>
          <p:cNvSpPr txBox="1">
            <a:spLocks/>
          </p:cNvSpPr>
          <p:nvPr/>
        </p:nvSpPr>
        <p:spPr>
          <a:xfrm>
            <a:off x="846361" y="886858"/>
            <a:ext cx="7470922" cy="285476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16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Partnership formally renewed through new MOU to 203</a:t>
            </a:r>
            <a:r>
              <a:rPr kumimoji="0" lang="en-CH" sz="1600" b="1" i="0" u="none" strike="noStrike" kern="1200" cap="none" spc="0" normalizeH="0" baseline="0" noProof="0" dirty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3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Open Sans SemiBold" panose="020B0606030504020204" pitchFamily="34" charset="0"/>
              <a:ea typeface="Open Sans SemiBold" panose="020B0606030504020204" pitchFamily="34" charset="0"/>
              <a:cs typeface="Open Sans SemiBold" panose="020B0606030504020204" pitchFamily="34" charset="0"/>
            </a:endParaRPr>
          </a:p>
        </p:txBody>
      </p:sp>
      <p:sp>
        <p:nvSpPr>
          <p:cNvPr id="6" name="Rounded Rectangle 2">
            <a:extLst>
              <a:ext uri="{FF2B5EF4-FFF2-40B4-BE49-F238E27FC236}">
                <a16:creationId xmlns:a16="http://schemas.microsoft.com/office/drawing/2014/main" id="{12D82551-4E8C-DA1C-AAFD-6E450ED46977}"/>
              </a:ext>
            </a:extLst>
          </p:cNvPr>
          <p:cNvSpPr/>
          <p:nvPr/>
        </p:nvSpPr>
        <p:spPr>
          <a:xfrm>
            <a:off x="6870289" y="1928195"/>
            <a:ext cx="4913828" cy="437804"/>
          </a:xfrm>
          <a:prstGeom prst="roundRect">
            <a:avLst>
              <a:gd name="adj" fmla="val 32542"/>
            </a:avLst>
          </a:prstGeom>
          <a:gradFill>
            <a:gsLst>
              <a:gs pos="0">
                <a:srgbClr val="24A558"/>
              </a:gs>
              <a:gs pos="59000">
                <a:srgbClr val="066137">
                  <a:lumMod val="100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40449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Mutual recognition</a:t>
            </a:r>
            <a:r>
              <a:rPr kumimoji="0" lang="en-CH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t European level – ECA sole body representing clubs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  <p:sp>
        <p:nvSpPr>
          <p:cNvPr id="10" name="Rounded Rectangle 2">
            <a:extLst>
              <a:ext uri="{FF2B5EF4-FFF2-40B4-BE49-F238E27FC236}">
                <a16:creationId xmlns:a16="http://schemas.microsoft.com/office/drawing/2014/main" id="{44199C02-2017-753C-716B-99F426504B6E}"/>
              </a:ext>
            </a:extLst>
          </p:cNvPr>
          <p:cNvSpPr/>
          <p:nvPr/>
        </p:nvSpPr>
        <p:spPr>
          <a:xfrm>
            <a:off x="6879360" y="2514866"/>
            <a:ext cx="4913828" cy="437804"/>
          </a:xfrm>
          <a:prstGeom prst="roundRect">
            <a:avLst>
              <a:gd name="adj" fmla="val 32542"/>
            </a:avLst>
          </a:prstGeom>
          <a:gradFill>
            <a:gsLst>
              <a:gs pos="0">
                <a:srgbClr val="24A558"/>
              </a:gs>
              <a:gs pos="59000">
                <a:srgbClr val="066137">
                  <a:lumMod val="100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048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rotection of the 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uropean Sports Model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governed </a:t>
            </a:r>
            <a:b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y UEFA</a:t>
            </a:r>
          </a:p>
        </p:txBody>
      </p:sp>
      <p:sp>
        <p:nvSpPr>
          <p:cNvPr id="14" name="Rounded Rectangle 2">
            <a:extLst>
              <a:ext uri="{FF2B5EF4-FFF2-40B4-BE49-F238E27FC236}">
                <a16:creationId xmlns:a16="http://schemas.microsoft.com/office/drawing/2014/main" id="{B2C11768-2E38-E55B-144A-A327549CDCD0}"/>
              </a:ext>
            </a:extLst>
          </p:cNvPr>
          <p:cNvSpPr/>
          <p:nvPr/>
        </p:nvSpPr>
        <p:spPr>
          <a:xfrm>
            <a:off x="6871196" y="3120797"/>
            <a:ext cx="4913828" cy="437804"/>
          </a:xfrm>
          <a:prstGeom prst="roundRect">
            <a:avLst>
              <a:gd name="adj" fmla="val 32542"/>
            </a:avLst>
          </a:prstGeom>
          <a:gradFill>
            <a:gsLst>
              <a:gs pos="0">
                <a:srgbClr val="24A558"/>
              </a:gs>
              <a:gs pos="59000">
                <a:srgbClr val="066137">
                  <a:lumMod val="100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40449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presentation</a:t>
            </a:r>
            <a:r>
              <a:rPr kumimoji="0" lang="en-CH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f ECA in UEFA bodies 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8" name="Rounded Rectangle 2">
            <a:extLst>
              <a:ext uri="{FF2B5EF4-FFF2-40B4-BE49-F238E27FC236}">
                <a16:creationId xmlns:a16="http://schemas.microsoft.com/office/drawing/2014/main" id="{85A9C129-5EEE-84CE-7E46-3DB8B74010A1}"/>
              </a:ext>
            </a:extLst>
          </p:cNvPr>
          <p:cNvSpPr/>
          <p:nvPr/>
        </p:nvSpPr>
        <p:spPr>
          <a:xfrm>
            <a:off x="6901132" y="3704997"/>
            <a:ext cx="4913828" cy="437804"/>
          </a:xfrm>
          <a:prstGeom prst="roundRect">
            <a:avLst>
              <a:gd name="adj" fmla="val 32542"/>
            </a:avLst>
          </a:prstGeom>
          <a:gradFill>
            <a:gsLst>
              <a:gs pos="0">
                <a:srgbClr val="24A558"/>
              </a:gs>
              <a:gs pos="59000">
                <a:srgbClr val="066137">
                  <a:lumMod val="100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048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UCC 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ormat, Access, Distribution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2" name="Rounded Rectangle 2">
            <a:extLst>
              <a:ext uri="{FF2B5EF4-FFF2-40B4-BE49-F238E27FC236}">
                <a16:creationId xmlns:a16="http://schemas.microsoft.com/office/drawing/2014/main" id="{2192787B-DC0B-8713-E1D4-958C9D6EFAC8}"/>
              </a:ext>
            </a:extLst>
          </p:cNvPr>
          <p:cNvSpPr/>
          <p:nvPr/>
        </p:nvSpPr>
        <p:spPr>
          <a:xfrm>
            <a:off x="6871196" y="4307872"/>
            <a:ext cx="4913828" cy="437804"/>
          </a:xfrm>
          <a:prstGeom prst="roundRect">
            <a:avLst>
              <a:gd name="adj" fmla="val 32542"/>
            </a:avLst>
          </a:prstGeom>
          <a:gradFill>
            <a:gsLst>
              <a:gs pos="0">
                <a:srgbClr val="24A558"/>
              </a:gs>
              <a:gs pos="59000">
                <a:srgbClr val="066137">
                  <a:lumMod val="100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0449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inancial Sustainability Rules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  <p:sp>
        <p:nvSpPr>
          <p:cNvPr id="26" name="Rounded Rectangle 2">
            <a:extLst>
              <a:ext uri="{FF2B5EF4-FFF2-40B4-BE49-F238E27FC236}">
                <a16:creationId xmlns:a16="http://schemas.microsoft.com/office/drawing/2014/main" id="{149CD71E-70C4-6E55-AD58-13E2C7963818}"/>
              </a:ext>
            </a:extLst>
          </p:cNvPr>
          <p:cNvSpPr/>
          <p:nvPr/>
        </p:nvSpPr>
        <p:spPr>
          <a:xfrm>
            <a:off x="6871196" y="4889322"/>
            <a:ext cx="4913828" cy="437804"/>
          </a:xfrm>
          <a:prstGeom prst="roundRect">
            <a:avLst>
              <a:gd name="adj" fmla="val 32542"/>
            </a:avLst>
          </a:prstGeom>
          <a:gradFill>
            <a:gsLst>
              <a:gs pos="0">
                <a:srgbClr val="24A558"/>
              </a:gs>
              <a:gs pos="59000">
                <a:srgbClr val="066137">
                  <a:lumMod val="100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048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Joint Venture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or business matters</a:t>
            </a:r>
          </a:p>
        </p:txBody>
      </p:sp>
      <p:sp>
        <p:nvSpPr>
          <p:cNvPr id="30" name="Rounded Rectangle 2">
            <a:extLst>
              <a:ext uri="{FF2B5EF4-FFF2-40B4-BE49-F238E27FC236}">
                <a16:creationId xmlns:a16="http://schemas.microsoft.com/office/drawing/2014/main" id="{D291F729-606E-5D94-259E-0AEF82B4A9B4}"/>
              </a:ext>
            </a:extLst>
          </p:cNvPr>
          <p:cNvSpPr/>
          <p:nvPr/>
        </p:nvSpPr>
        <p:spPr>
          <a:xfrm>
            <a:off x="6871196" y="5495253"/>
            <a:ext cx="4913828" cy="437804"/>
          </a:xfrm>
          <a:prstGeom prst="roundRect">
            <a:avLst>
              <a:gd name="adj" fmla="val 32542"/>
            </a:avLst>
          </a:prstGeom>
          <a:gradFill>
            <a:gsLst>
              <a:gs pos="0">
                <a:srgbClr val="24A558"/>
              </a:gs>
              <a:gs pos="59000">
                <a:srgbClr val="066137">
                  <a:lumMod val="100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048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lubs and National Teams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ollaboration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with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lub Benefits and Protection</a:t>
            </a:r>
            <a:r>
              <a:rPr kumimoji="0" lang="en-CH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D602B22D-1386-73E2-00F7-C034F7DD5E8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" y="1440722"/>
            <a:ext cx="7065252" cy="4688451"/>
          </a:xfrm>
          <a:prstGeom prst="round2DiagRect">
            <a:avLst>
              <a:gd name="adj1" fmla="val 0"/>
              <a:gd name="adj2" fmla="val 16873"/>
            </a:avLst>
          </a:prstGeom>
        </p:spPr>
      </p:pic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278FFF66-5DD6-2B1B-E3D9-25BDA2208F74}"/>
              </a:ext>
            </a:extLst>
          </p:cNvPr>
          <p:cNvSpPr txBox="1">
            <a:spLocks/>
          </p:cNvSpPr>
          <p:nvPr/>
        </p:nvSpPr>
        <p:spPr>
          <a:xfrm>
            <a:off x="846361" y="360120"/>
            <a:ext cx="11202204" cy="62858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0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2168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704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1312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kumimoji="0" lang="en-GB" sz="2800" b="1" i="0" u="none" strike="noStrike" kern="1200" cap="none" spc="-150" normalizeH="0" baseline="0" noProof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trengthening the UEFA and ECA Partnership</a:t>
            </a:r>
            <a:endParaRPr kumimoji="0" lang="en-CH" sz="2800" b="1" i="0" u="none" strike="noStrike" kern="1200" cap="none" spc="-150" normalizeH="0" baseline="0" noProof="0">
              <a:ln>
                <a:noFill/>
              </a:ln>
              <a:solidFill>
                <a:srgbClr val="29A457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D7E86D-26B9-4DB4-E356-1A7A5FE0C71A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01070" y="516554"/>
            <a:ext cx="584992" cy="584992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932CEC7F-77A2-1BFF-A040-B65D97C2DF9E}"/>
              </a:ext>
            </a:extLst>
          </p:cNvPr>
          <p:cNvGrpSpPr/>
          <p:nvPr/>
        </p:nvGrpSpPr>
        <p:grpSpPr>
          <a:xfrm>
            <a:off x="10233652" y="291314"/>
            <a:ext cx="1373893" cy="752560"/>
            <a:chOff x="10506211" y="315080"/>
            <a:chExt cx="1223334" cy="67009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A99A5AA-94E0-DD76-FD4A-69569D71C6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8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54553" y="838547"/>
              <a:ext cx="882870" cy="45719"/>
            </a:xfrm>
            <a:prstGeom prst="rect">
              <a:avLst/>
            </a:prstGeom>
          </p:spPr>
        </p:pic>
        <p:pic>
          <p:nvPicPr>
            <p:cNvPr id="11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FE6EFD81-2336-F592-CCE2-7EDA53BD2A3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6211" y="315080"/>
              <a:ext cx="1223334" cy="6700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719043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ound Same Side Corner Rectangle 126">
            <a:extLst>
              <a:ext uri="{FF2B5EF4-FFF2-40B4-BE49-F238E27FC236}">
                <a16:creationId xmlns:a16="http://schemas.microsoft.com/office/drawing/2014/main" id="{22633A8F-E50D-EA30-7016-7D40C56C4FBC}"/>
              </a:ext>
            </a:extLst>
          </p:cNvPr>
          <p:cNvSpPr/>
          <p:nvPr/>
        </p:nvSpPr>
        <p:spPr>
          <a:xfrm rot="16200000">
            <a:off x="2432383" y="2736137"/>
            <a:ext cx="830997" cy="219032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223420" dist="38100" dir="2700000" algn="tl" rotWithShape="0">
              <a:prstClr val="black">
                <a:alpha val="16885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8" name="Arrow: Pentagon 25">
            <a:extLst>
              <a:ext uri="{FF2B5EF4-FFF2-40B4-BE49-F238E27FC236}">
                <a16:creationId xmlns:a16="http://schemas.microsoft.com/office/drawing/2014/main" id="{CD6474E2-33C3-FF7F-3647-0BFE0087CF68}"/>
              </a:ext>
            </a:extLst>
          </p:cNvPr>
          <p:cNvSpPr/>
          <p:nvPr/>
        </p:nvSpPr>
        <p:spPr>
          <a:xfrm>
            <a:off x="9955197" y="1351475"/>
            <a:ext cx="2271667" cy="809456"/>
          </a:xfrm>
          <a:prstGeom prst="rect">
            <a:avLst/>
          </a:prstGeom>
          <a:gradFill flip="none" rotWithShape="1">
            <a:gsLst>
              <a:gs pos="99000">
                <a:schemeClr val="tx1"/>
              </a:gs>
              <a:gs pos="44000">
                <a:schemeClr val="tx1">
                  <a:alpha val="83972"/>
                </a:schemeClr>
              </a:gs>
              <a:gs pos="11000">
                <a:srgbClr val="1D753E">
                  <a:alpha val="24085"/>
                </a:srgbClr>
              </a:gs>
              <a:gs pos="0">
                <a:srgbClr val="114625">
                  <a:alpha val="0"/>
                </a:srgbClr>
              </a:gs>
            </a:gsLst>
            <a:lin ang="108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E47E4CA3-B7AD-D3B6-EE36-553DFC26DD0F}"/>
              </a:ext>
            </a:extLst>
          </p:cNvPr>
          <p:cNvSpPr/>
          <p:nvPr/>
        </p:nvSpPr>
        <p:spPr>
          <a:xfrm>
            <a:off x="9429818" y="1350290"/>
            <a:ext cx="801973" cy="801973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tx1"/>
            </a:solidFill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60" name="Graphic 59">
            <a:extLst>
              <a:ext uri="{FF2B5EF4-FFF2-40B4-BE49-F238E27FC236}">
                <a16:creationId xmlns:a16="http://schemas.microsoft.com/office/drawing/2014/main" id="{A1DDB7B4-CF77-D3A6-0894-02241CABDC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19434" y="1561741"/>
            <a:ext cx="392276" cy="392276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0C6571C-5E03-B2EE-82FC-4B9A6A7F85C8}"/>
              </a:ext>
            </a:extLst>
          </p:cNvPr>
          <p:cNvSpPr txBox="1">
            <a:spLocks/>
          </p:cNvSpPr>
          <p:nvPr/>
        </p:nvSpPr>
        <p:spPr>
          <a:xfrm>
            <a:off x="846361" y="351762"/>
            <a:ext cx="11202204" cy="62858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0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2168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704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1312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kumimoji="0" lang="en-GB" sz="2800" b="1" i="0" u="none" strike="noStrike" kern="1200" cap="none" spc="-150" normalizeH="0" baseline="0" noProof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UEFA Club Benefits Programme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AB8060-9CD8-3917-7866-B7E3939C08FD}"/>
              </a:ext>
            </a:extLst>
          </p:cNvPr>
          <p:cNvSpPr txBox="1">
            <a:spLocks/>
          </p:cNvSpPr>
          <p:nvPr/>
        </p:nvSpPr>
        <p:spPr>
          <a:xfrm>
            <a:off x="846358" y="885305"/>
            <a:ext cx="8166342" cy="31665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UEFA Nations League </a:t>
            </a:r>
            <a:r>
              <a:rPr kumimoji="0" lang="en-CH" sz="1800" b="1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t>2021 + 2022/23 editions + EURO 2024 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Open Sans SemiBold" pitchFamily="2" charset="0"/>
              <a:ea typeface="Open Sans SemiBold" pitchFamily="2" charset="0"/>
              <a:cs typeface="Open Sans SemiBold" pitchFamily="2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FB2A37A-C505-63D7-7DE8-EF4908F3D01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76558" y="388538"/>
            <a:ext cx="584992" cy="584992"/>
          </a:xfrm>
          <a:prstGeom prst="rect">
            <a:avLst/>
          </a:prstGeom>
        </p:spPr>
      </p:pic>
      <p:sp>
        <p:nvSpPr>
          <p:cNvPr id="6" name="Round Same Side Corner Rectangle 126">
            <a:extLst>
              <a:ext uri="{FF2B5EF4-FFF2-40B4-BE49-F238E27FC236}">
                <a16:creationId xmlns:a16="http://schemas.microsoft.com/office/drawing/2014/main" id="{319DBFB1-ED9C-D0EE-4506-B79689B84340}"/>
              </a:ext>
            </a:extLst>
          </p:cNvPr>
          <p:cNvSpPr/>
          <p:nvPr/>
        </p:nvSpPr>
        <p:spPr>
          <a:xfrm rot="16200000">
            <a:off x="3571890" y="2627"/>
            <a:ext cx="734982" cy="365760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223420" dist="38100" dir="2700000" algn="tl" rotWithShape="0">
              <a:prstClr val="black">
                <a:alpha val="16885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7" name="Round Same Side Corner Rectangle 130">
            <a:extLst>
              <a:ext uri="{FF2B5EF4-FFF2-40B4-BE49-F238E27FC236}">
                <a16:creationId xmlns:a16="http://schemas.microsoft.com/office/drawing/2014/main" id="{7D6DB5EB-0AFD-59FA-7C07-576803ABF39B}"/>
              </a:ext>
            </a:extLst>
          </p:cNvPr>
          <p:cNvSpPr/>
          <p:nvPr/>
        </p:nvSpPr>
        <p:spPr>
          <a:xfrm rot="5400000" flipH="1">
            <a:off x="8848072" y="2131874"/>
            <a:ext cx="770101" cy="3398847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223420" dist="38100" dir="2700000" algn="tl" rotWithShape="0">
              <a:prstClr val="black">
                <a:alpha val="16885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B73C9A-2CD9-6E5E-7DCA-910FABFC4F99}"/>
              </a:ext>
            </a:extLst>
          </p:cNvPr>
          <p:cNvSpPr/>
          <p:nvPr/>
        </p:nvSpPr>
        <p:spPr>
          <a:xfrm>
            <a:off x="8076518" y="3508132"/>
            <a:ext cx="308200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otal amount to be paid to clubs releasing players to EURO 2024 final tournament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3" name="Round Same Side Corner Rectangle 12">
            <a:extLst>
              <a:ext uri="{FF2B5EF4-FFF2-40B4-BE49-F238E27FC236}">
                <a16:creationId xmlns:a16="http://schemas.microsoft.com/office/drawing/2014/main" id="{AE3C34E2-145B-4818-EA28-756CC6E96A34}"/>
              </a:ext>
            </a:extLst>
          </p:cNvPr>
          <p:cNvSpPr/>
          <p:nvPr/>
        </p:nvSpPr>
        <p:spPr>
          <a:xfrm rot="16200000" flipH="1">
            <a:off x="3571890" y="4024210"/>
            <a:ext cx="734984" cy="3657604"/>
          </a:xfrm>
          <a:prstGeom prst="round2SameRect">
            <a:avLst>
              <a:gd name="adj1" fmla="val 42084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223420" dist="38100" dir="2700000" algn="tl" rotWithShape="0">
              <a:prstClr val="black">
                <a:alpha val="16885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30D030B4-E14A-8519-3290-F8BF8DDD379A}"/>
              </a:ext>
            </a:extLst>
          </p:cNvPr>
          <p:cNvSpPr>
            <a:spLocks noGrp="1"/>
          </p:cNvSpPr>
          <p:nvPr/>
        </p:nvSpPr>
        <p:spPr bwMode="gray">
          <a:xfrm>
            <a:off x="3752970" y="1816087"/>
            <a:ext cx="4030420" cy="4030420"/>
          </a:xfrm>
          <a:prstGeom prst="ellipse">
            <a:avLst/>
          </a:prstGeom>
          <a:gradFill>
            <a:gsLst>
              <a:gs pos="0">
                <a:srgbClr val="29A456"/>
              </a:gs>
              <a:gs pos="100000">
                <a:srgbClr val="014727"/>
              </a:gs>
            </a:gsLst>
            <a:lin ang="7200000" scaled="0"/>
          </a:gradFill>
          <a:ln w="381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43106" tIns="43106" rIns="43106" bIns="43106" anchor="ctr"/>
          <a:lstStyle/>
          <a:p>
            <a:pPr marL="0" marR="0" lvl="0" indent="0" algn="ctr" defTabSz="980781" rtl="0" eaLnBrk="0" fontAlgn="base" latinLnBrk="0" hangingPunct="0">
              <a:lnSpc>
                <a:spcPct val="120000"/>
              </a:lnSpc>
              <a:spcBef>
                <a:spcPct val="4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383C45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0135968-481B-AEA3-43E1-E2963715AD19}"/>
              </a:ext>
            </a:extLst>
          </p:cNvPr>
          <p:cNvSpPr/>
          <p:nvPr/>
        </p:nvSpPr>
        <p:spPr bwMode="gray">
          <a:xfrm>
            <a:off x="4450112" y="2535729"/>
            <a:ext cx="2591135" cy="2591135"/>
          </a:xfrm>
          <a:prstGeom prst="ellipse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80781" rtl="0" eaLnBrk="0" fontAlgn="base" latinLnBrk="0" hangingPunct="0">
              <a:lnSpc>
                <a:spcPct val="120000"/>
              </a:lnSpc>
              <a:spcBef>
                <a:spcPct val="4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383C45"/>
              </a:solidFill>
              <a:effectLst/>
              <a:uLnTx/>
              <a:uFillTx/>
              <a:latin typeface="Open Sans" panose="020B0606030504020204" pitchFamily="34" charset="0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B45ADAC-C67B-6810-4389-260DC6DFEC5C}"/>
              </a:ext>
            </a:extLst>
          </p:cNvPr>
          <p:cNvGrpSpPr/>
          <p:nvPr/>
        </p:nvGrpSpPr>
        <p:grpSpPr>
          <a:xfrm>
            <a:off x="3434210" y="3444744"/>
            <a:ext cx="773107" cy="773107"/>
            <a:chOff x="6773020" y="1788287"/>
            <a:chExt cx="1388962" cy="1388962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EA0C16AC-66F5-6B13-6852-EF53B23CAFCA}"/>
                </a:ext>
              </a:extLst>
            </p:cNvPr>
            <p:cNvSpPr/>
            <p:nvPr/>
          </p:nvSpPr>
          <p:spPr bwMode="gray">
            <a:xfrm>
              <a:off x="6773020" y="1788287"/>
              <a:ext cx="1388962" cy="1388962"/>
            </a:xfrm>
            <a:prstGeom prst="ellipse">
              <a:avLst/>
            </a:prstGeom>
            <a:solidFill>
              <a:srgbClr val="014727">
                <a:alpha val="50196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2222678-DDF2-BE6B-2732-55790238679D}"/>
                </a:ext>
              </a:extLst>
            </p:cNvPr>
            <p:cNvSpPr/>
            <p:nvPr/>
          </p:nvSpPr>
          <p:spPr bwMode="gray">
            <a:xfrm>
              <a:off x="6919391" y="1934657"/>
              <a:ext cx="1096223" cy="1096223"/>
            </a:xfrm>
            <a:prstGeom prst="ellipse">
              <a:avLst/>
            </a:prstGeom>
            <a:solidFill>
              <a:srgbClr val="014727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6B05465-1E74-9B70-AC21-AC2D5791EA61}"/>
              </a:ext>
            </a:extLst>
          </p:cNvPr>
          <p:cNvGrpSpPr/>
          <p:nvPr/>
        </p:nvGrpSpPr>
        <p:grpSpPr>
          <a:xfrm>
            <a:off x="7316882" y="3444744"/>
            <a:ext cx="773107" cy="773107"/>
            <a:chOff x="6773020" y="1788287"/>
            <a:chExt cx="1388962" cy="1388962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FBA2E45-C6F6-F71B-46E1-5C5430F46B6D}"/>
                </a:ext>
              </a:extLst>
            </p:cNvPr>
            <p:cNvSpPr/>
            <p:nvPr/>
          </p:nvSpPr>
          <p:spPr bwMode="gray">
            <a:xfrm>
              <a:off x="6773020" y="1788287"/>
              <a:ext cx="1388962" cy="1388962"/>
            </a:xfrm>
            <a:prstGeom prst="ellipse">
              <a:avLst/>
            </a:prstGeom>
            <a:solidFill>
              <a:srgbClr val="014727">
                <a:alpha val="50196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F78C5263-F038-4443-EDF6-FB70319743DC}"/>
                </a:ext>
              </a:extLst>
            </p:cNvPr>
            <p:cNvSpPr/>
            <p:nvPr/>
          </p:nvSpPr>
          <p:spPr bwMode="gray">
            <a:xfrm>
              <a:off x="6919391" y="1934657"/>
              <a:ext cx="1096223" cy="1096223"/>
            </a:xfrm>
            <a:prstGeom prst="ellipse">
              <a:avLst/>
            </a:prstGeom>
            <a:solidFill>
              <a:srgbClr val="014727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6E7553C-D4D2-B894-F1C7-828A4D69E3AA}"/>
              </a:ext>
            </a:extLst>
          </p:cNvPr>
          <p:cNvGrpSpPr/>
          <p:nvPr/>
        </p:nvGrpSpPr>
        <p:grpSpPr>
          <a:xfrm>
            <a:off x="5422534" y="5463674"/>
            <a:ext cx="773107" cy="773107"/>
            <a:chOff x="6773020" y="1788287"/>
            <a:chExt cx="1388962" cy="1388962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BF130512-55FF-4365-645C-D21D5A78EE9D}"/>
                </a:ext>
              </a:extLst>
            </p:cNvPr>
            <p:cNvSpPr/>
            <p:nvPr/>
          </p:nvSpPr>
          <p:spPr bwMode="gray">
            <a:xfrm>
              <a:off x="6773020" y="1788287"/>
              <a:ext cx="1388962" cy="1388962"/>
            </a:xfrm>
            <a:prstGeom prst="ellipse">
              <a:avLst/>
            </a:prstGeom>
            <a:solidFill>
              <a:srgbClr val="014727">
                <a:alpha val="50196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E6014FE-04EE-CC0E-CA87-70A82D24E1E3}"/>
                </a:ext>
              </a:extLst>
            </p:cNvPr>
            <p:cNvSpPr/>
            <p:nvPr/>
          </p:nvSpPr>
          <p:spPr bwMode="gray">
            <a:xfrm>
              <a:off x="6919391" y="1934657"/>
              <a:ext cx="1096223" cy="1096223"/>
            </a:xfrm>
            <a:prstGeom prst="ellipse">
              <a:avLst/>
            </a:prstGeom>
            <a:solidFill>
              <a:srgbClr val="014727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C1BEB38A-BC66-0F11-3C0F-D21885380487}"/>
              </a:ext>
            </a:extLst>
          </p:cNvPr>
          <p:cNvSpPr/>
          <p:nvPr/>
        </p:nvSpPr>
        <p:spPr>
          <a:xfrm>
            <a:off x="2337852" y="5535268"/>
            <a:ext cx="296582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Latest</a:t>
            </a: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ayments to your </a:t>
            </a:r>
            <a:b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National Associations performed </a:t>
            </a:r>
            <a:b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n 4</a:t>
            </a:r>
            <a:r>
              <a:rPr kumimoji="0" lang="en-GB" sz="1200" b="0" i="0" u="none" strike="noStrike" kern="1200" cap="none" spc="0" normalizeH="0" baseline="3000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h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April 2024 (cf. next slide)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300AC0A-A4E1-C7B8-98F0-70EE388A79B2}"/>
              </a:ext>
            </a:extLst>
          </p:cNvPr>
          <p:cNvSpPr/>
          <p:nvPr/>
        </p:nvSpPr>
        <p:spPr>
          <a:xfrm>
            <a:off x="1896821" y="3508132"/>
            <a:ext cx="15862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otal amount to be paid</a:t>
            </a: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for UNL and EURO qualifiers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5E45F9D3-14C3-7068-90E5-C6EACFFC24B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33462" y="5685235"/>
            <a:ext cx="317500" cy="317500"/>
          </a:xfrm>
          <a:prstGeom prst="rect">
            <a:avLst/>
          </a:prstGeom>
        </p:spPr>
      </p:pic>
      <p:pic>
        <p:nvPicPr>
          <p:cNvPr id="32" name="Picture 4" descr="UEFA Nations League | UEFA.com">
            <a:extLst>
              <a:ext uri="{FF2B5EF4-FFF2-40B4-BE49-F238E27FC236}">
                <a16:creationId xmlns:a16="http://schemas.microsoft.com/office/drawing/2014/main" id="{53EA4BBF-CE8B-6B86-9F79-A16A4875EC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47146" y="3311417"/>
            <a:ext cx="665014" cy="1039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047DCBF2-5621-C50B-7385-40267C2ECDEF}"/>
              </a:ext>
            </a:extLst>
          </p:cNvPr>
          <p:cNvSpPr/>
          <p:nvPr/>
        </p:nvSpPr>
        <p:spPr>
          <a:xfrm>
            <a:off x="3450529" y="3556863"/>
            <a:ext cx="773107" cy="5488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U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CH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100m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1ABED30-A21B-82B5-2636-97F684B7B85A}"/>
              </a:ext>
            </a:extLst>
          </p:cNvPr>
          <p:cNvGrpSpPr/>
          <p:nvPr/>
        </p:nvGrpSpPr>
        <p:grpSpPr>
          <a:xfrm>
            <a:off x="5351406" y="1440187"/>
            <a:ext cx="773107" cy="773107"/>
            <a:chOff x="6773020" y="1788287"/>
            <a:chExt cx="1388962" cy="1388962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A0D626DF-F641-640E-FF76-39F49293142B}"/>
                </a:ext>
              </a:extLst>
            </p:cNvPr>
            <p:cNvSpPr/>
            <p:nvPr/>
          </p:nvSpPr>
          <p:spPr bwMode="gray">
            <a:xfrm>
              <a:off x="6773020" y="1788287"/>
              <a:ext cx="1388962" cy="1388962"/>
            </a:xfrm>
            <a:prstGeom prst="ellipse">
              <a:avLst/>
            </a:prstGeom>
            <a:solidFill>
              <a:srgbClr val="014727">
                <a:alpha val="50196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383E767B-3088-E5EE-BA6C-D1071810C5AE}"/>
                </a:ext>
              </a:extLst>
            </p:cNvPr>
            <p:cNvSpPr/>
            <p:nvPr/>
          </p:nvSpPr>
          <p:spPr bwMode="gray">
            <a:xfrm>
              <a:off x="6919391" y="1934657"/>
              <a:ext cx="1096223" cy="1096223"/>
            </a:xfrm>
            <a:prstGeom prst="ellipse">
              <a:avLst/>
            </a:prstGeom>
            <a:solidFill>
              <a:srgbClr val="014727"/>
            </a:solidFill>
            <a:ln w="31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463918A5-518B-47B8-47FA-A51E805C6486}"/>
              </a:ext>
            </a:extLst>
          </p:cNvPr>
          <p:cNvSpPr/>
          <p:nvPr/>
        </p:nvSpPr>
        <p:spPr>
          <a:xfrm>
            <a:off x="2297569" y="1576178"/>
            <a:ext cx="2701276" cy="487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mount per player per game</a:t>
            </a:r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or UNL and EURO 2024 qualifiers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147A278-5346-6F94-FF0A-9A166935EB90}"/>
              </a:ext>
            </a:extLst>
          </p:cNvPr>
          <p:cNvSpPr/>
          <p:nvPr/>
        </p:nvSpPr>
        <p:spPr>
          <a:xfrm>
            <a:off x="5422120" y="1554173"/>
            <a:ext cx="692051" cy="5488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U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3.6k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31565DA-5152-D960-AFB0-72DF62A525BF}"/>
              </a:ext>
            </a:extLst>
          </p:cNvPr>
          <p:cNvSpPr txBox="1"/>
          <p:nvPr/>
        </p:nvSpPr>
        <p:spPr>
          <a:xfrm>
            <a:off x="10295353" y="1422241"/>
            <a:ext cx="1451730" cy="2244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S PE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FE2CB1A-D010-80B8-B2EA-D17A30B483EB}"/>
              </a:ext>
            </a:extLst>
          </p:cNvPr>
          <p:cNvSpPr txBox="1"/>
          <p:nvPr/>
        </p:nvSpPr>
        <p:spPr>
          <a:xfrm>
            <a:off x="10279360" y="1630120"/>
            <a:ext cx="199253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UEFA/ECA MO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€240m total/cycle</a:t>
            </a:r>
          </a:p>
        </p:txBody>
      </p:sp>
      <p:sp>
        <p:nvSpPr>
          <p:cNvPr id="56" name="Slide Number Placeholder 1">
            <a:extLst>
              <a:ext uri="{FF2B5EF4-FFF2-40B4-BE49-F238E27FC236}">
                <a16:creationId xmlns:a16="http://schemas.microsoft.com/office/drawing/2014/main" id="{222620DA-B394-AA6F-FE56-615EF6461A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8342" y="6312807"/>
            <a:ext cx="1050472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99D49-E9B0-4648-A2A0-22D531008F3A}" type="slidenum">
              <a:rPr kumimoji="0" lang="pl-PL" sz="1200" b="1" i="1" u="none" strike="noStrike" kern="1200" cap="none" spc="0" normalizeH="0" baseline="0" noProof="0" smtClean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pl-PL" sz="1200" b="1" i="1" u="none" strike="noStrike" kern="1200" cap="none" spc="0" normalizeH="0" baseline="0" noProof="0">
              <a:ln>
                <a:noFill/>
              </a:ln>
              <a:solidFill>
                <a:srgbClr val="29A457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9" name="Picture 8" descr="A logo of a football ball&#10;&#10;Description automatically generated">
            <a:extLst>
              <a:ext uri="{FF2B5EF4-FFF2-40B4-BE49-F238E27FC236}">
                <a16:creationId xmlns:a16="http://schemas.microsoft.com/office/drawing/2014/main" id="{E84E65FD-3001-BD78-7766-ACEE8A865D8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91734" y="3311417"/>
            <a:ext cx="807813" cy="103976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2089059A-555A-021A-2028-F818B9239E7C}"/>
              </a:ext>
            </a:extLst>
          </p:cNvPr>
          <p:cNvSpPr/>
          <p:nvPr/>
        </p:nvSpPr>
        <p:spPr>
          <a:xfrm>
            <a:off x="7310000" y="3556863"/>
            <a:ext cx="773107" cy="5488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U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r>
              <a:rPr kumimoji="0" lang="en-CH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140m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33D5B15-70D9-9132-817F-AA382FD93D86}"/>
              </a:ext>
            </a:extLst>
          </p:cNvPr>
          <p:cNvGrpSpPr/>
          <p:nvPr/>
        </p:nvGrpSpPr>
        <p:grpSpPr>
          <a:xfrm>
            <a:off x="10233652" y="291314"/>
            <a:ext cx="1373893" cy="752560"/>
            <a:chOff x="10506211" y="315080"/>
            <a:chExt cx="1223334" cy="67009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8D16F6C-6584-2D76-6972-8EC19ABBE9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-8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54553" y="838547"/>
              <a:ext cx="882870" cy="45719"/>
            </a:xfrm>
            <a:prstGeom prst="rect">
              <a:avLst/>
            </a:prstGeom>
          </p:spPr>
        </p:pic>
        <p:pic>
          <p:nvPicPr>
            <p:cNvPr id="12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C95801E3-D378-6C9E-9301-1A8C80A1F7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6211" y="315080"/>
              <a:ext cx="1223334" cy="6700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91260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ame Side Corner Rectangle 126">
            <a:extLst>
              <a:ext uri="{FF2B5EF4-FFF2-40B4-BE49-F238E27FC236}">
                <a16:creationId xmlns:a16="http://schemas.microsoft.com/office/drawing/2014/main" id="{8355E365-FAAA-9CFF-B385-51BD44D61C58}"/>
              </a:ext>
            </a:extLst>
          </p:cNvPr>
          <p:cNvSpPr/>
          <p:nvPr/>
        </p:nvSpPr>
        <p:spPr>
          <a:xfrm rot="16200000">
            <a:off x="5311781" y="-685813"/>
            <a:ext cx="1590751" cy="1219200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23420" dist="38100" dir="2700000" algn="tl" rotWithShape="0">
              <a:prstClr val="black">
                <a:alpha val="16885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7" name="Round Same Side Corner Rectangle 126">
            <a:extLst>
              <a:ext uri="{FF2B5EF4-FFF2-40B4-BE49-F238E27FC236}">
                <a16:creationId xmlns:a16="http://schemas.microsoft.com/office/drawing/2014/main" id="{7ECB1E1D-9A14-528A-4DBF-7E75CE69532D}"/>
              </a:ext>
            </a:extLst>
          </p:cNvPr>
          <p:cNvSpPr/>
          <p:nvPr/>
        </p:nvSpPr>
        <p:spPr>
          <a:xfrm rot="16200000">
            <a:off x="5300626" y="-4054187"/>
            <a:ext cx="1590751" cy="1219200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23420" dist="38100" dir="2700000" algn="tl" rotWithShape="0">
              <a:prstClr val="black">
                <a:alpha val="16885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C5279F3-00F5-8056-5146-99CA58B8CA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99D49-E9B0-4648-A2A0-22D531008F3A}" type="slidenum">
              <a:rPr kumimoji="0" lang="pl-PL" sz="1200" b="1" i="1" u="none" strike="noStrike" kern="1200" cap="none" spc="0" normalizeH="0" baseline="0" noProof="0" smtClean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pl-PL" sz="1200" b="1" i="1" u="none" strike="noStrike" kern="1200" cap="none" spc="0" normalizeH="0" baseline="0" noProof="0">
              <a:ln>
                <a:noFill/>
              </a:ln>
              <a:solidFill>
                <a:srgbClr val="29A457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5A13516-B880-1436-CF48-44CCE42F8728}"/>
              </a:ext>
            </a:extLst>
          </p:cNvPr>
          <p:cNvSpPr txBox="1">
            <a:spLocks/>
          </p:cNvSpPr>
          <p:nvPr/>
        </p:nvSpPr>
        <p:spPr>
          <a:xfrm>
            <a:off x="846361" y="394626"/>
            <a:ext cx="11202204" cy="62858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0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2168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704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1312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kumimoji="0" lang="en-GB" sz="2800" b="1" i="0" u="none" strike="noStrike" kern="1200" cap="none" spc="-150" normalizeH="0" baseline="0" noProof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verview of ECA Membership Service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411C5A5-0615-C053-2EF2-FBA2D7E6AF3C}"/>
              </a:ext>
            </a:extLst>
          </p:cNvPr>
          <p:cNvGrpSpPr/>
          <p:nvPr/>
        </p:nvGrpSpPr>
        <p:grpSpPr>
          <a:xfrm>
            <a:off x="-26966" y="1575108"/>
            <a:ext cx="2167884" cy="4306143"/>
            <a:chOff x="-26966" y="1575108"/>
            <a:chExt cx="2167884" cy="4306143"/>
          </a:xfrm>
          <a:gradFill>
            <a:gsLst>
              <a:gs pos="0">
                <a:schemeClr val="tx1"/>
              </a:gs>
              <a:gs pos="50000">
                <a:srgbClr val="1C6D38"/>
              </a:gs>
              <a:gs pos="100000">
                <a:srgbClr val="0E3519"/>
              </a:gs>
            </a:gsLst>
            <a:lin ang="4200000" scaled="0"/>
          </a:gradFill>
        </p:grpSpPr>
        <p:sp>
          <p:nvSpPr>
            <p:cNvPr id="14" name="Arrow: Pentagon 25">
              <a:extLst>
                <a:ext uri="{FF2B5EF4-FFF2-40B4-BE49-F238E27FC236}">
                  <a16:creationId xmlns:a16="http://schemas.microsoft.com/office/drawing/2014/main" id="{0399A4A6-75F2-6154-39A5-945E447DB010}"/>
                </a:ext>
              </a:extLst>
            </p:cNvPr>
            <p:cNvSpPr/>
            <p:nvPr/>
          </p:nvSpPr>
          <p:spPr>
            <a:xfrm rot="5400000">
              <a:off x="554096" y="994046"/>
              <a:ext cx="978795" cy="2140919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>
              <a:outerShdw blurRad="290848" dist="38100" dir="2700000" algn="tl" rotWithShape="0">
                <a:prstClr val="black">
                  <a:alpha val="21433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5" name="Arrow: Pentagon 25">
              <a:extLst>
                <a:ext uri="{FF2B5EF4-FFF2-40B4-BE49-F238E27FC236}">
                  <a16:creationId xmlns:a16="http://schemas.microsoft.com/office/drawing/2014/main" id="{F3E50E7D-83DC-BC1D-66BC-67B5A2982623}"/>
                </a:ext>
              </a:extLst>
            </p:cNvPr>
            <p:cNvSpPr/>
            <p:nvPr/>
          </p:nvSpPr>
          <p:spPr>
            <a:xfrm rot="5400000">
              <a:off x="546208" y="2693563"/>
              <a:ext cx="1048502" cy="2140919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>
              <a:outerShdw blurRad="290848" dist="38100" dir="2700000" algn="tl" rotWithShape="0">
                <a:prstClr val="black">
                  <a:alpha val="21433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6" name="Arrow: Pentagon 25">
              <a:extLst>
                <a:ext uri="{FF2B5EF4-FFF2-40B4-BE49-F238E27FC236}">
                  <a16:creationId xmlns:a16="http://schemas.microsoft.com/office/drawing/2014/main" id="{66C1E29D-10A5-6B65-87C5-1BA84513F770}"/>
                </a:ext>
              </a:extLst>
            </p:cNvPr>
            <p:cNvSpPr/>
            <p:nvPr/>
          </p:nvSpPr>
          <p:spPr>
            <a:xfrm rot="5400000">
              <a:off x="560878" y="4341577"/>
              <a:ext cx="978795" cy="2100553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>
              <a:outerShdw blurRad="290848" dist="38100" dir="2700000" algn="tl" rotWithShape="0">
                <a:prstClr val="black">
                  <a:alpha val="21433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06B9EDA5-3787-9B98-B010-80D8EFEE8BBE}"/>
              </a:ext>
            </a:extLst>
          </p:cNvPr>
          <p:cNvSpPr txBox="1"/>
          <p:nvPr/>
        </p:nvSpPr>
        <p:spPr>
          <a:xfrm>
            <a:off x="753402" y="1833562"/>
            <a:ext cx="829834" cy="3558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llar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353DF06-1BD9-BCD4-7D39-E035A26E723F}"/>
              </a:ext>
            </a:extLst>
          </p:cNvPr>
          <p:cNvSpPr txBox="1"/>
          <p:nvPr/>
        </p:nvSpPr>
        <p:spPr>
          <a:xfrm>
            <a:off x="749960" y="5185230"/>
            <a:ext cx="1087135" cy="3558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duc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2D6B742-4091-C103-1229-2B17DE38537E}"/>
              </a:ext>
            </a:extLst>
          </p:cNvPr>
          <p:cNvSpPr txBox="1"/>
          <p:nvPr/>
        </p:nvSpPr>
        <p:spPr>
          <a:xfrm>
            <a:off x="751155" y="3611008"/>
            <a:ext cx="829834" cy="3558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opic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62DDF41-0F41-918F-56FF-770CF6BBFB78}"/>
              </a:ext>
            </a:extLst>
          </p:cNvPr>
          <p:cNvCxnSpPr>
            <a:cxnSpLocks/>
          </p:cNvCxnSpPr>
          <p:nvPr/>
        </p:nvCxnSpPr>
        <p:spPr>
          <a:xfrm flipH="1">
            <a:off x="2111707" y="5363164"/>
            <a:ext cx="8886851" cy="0"/>
          </a:xfrm>
          <a:prstGeom prst="line">
            <a:avLst/>
          </a:prstGeom>
          <a:ln w="12700">
            <a:solidFill>
              <a:srgbClr val="0E35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20">
            <a:extLst>
              <a:ext uri="{FF2B5EF4-FFF2-40B4-BE49-F238E27FC236}">
                <a16:creationId xmlns:a16="http://schemas.microsoft.com/office/drawing/2014/main" id="{40F2F31F-174E-2D51-DB32-F18863EF5A4C}"/>
              </a:ext>
            </a:extLst>
          </p:cNvPr>
          <p:cNvSpPr/>
          <p:nvPr/>
        </p:nvSpPr>
        <p:spPr>
          <a:xfrm>
            <a:off x="2471399" y="4911120"/>
            <a:ext cx="929381" cy="929381"/>
          </a:xfrm>
          <a:prstGeom prst="ellipse">
            <a:avLst/>
          </a:prstGeom>
          <a:solidFill>
            <a:srgbClr val="0E35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ase studies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5759CC3-C5E3-EF2B-529C-A5F8E8F486BA}"/>
              </a:ext>
            </a:extLst>
          </p:cNvPr>
          <p:cNvSpPr/>
          <p:nvPr/>
        </p:nvSpPr>
        <p:spPr>
          <a:xfrm>
            <a:off x="3561572" y="4911120"/>
            <a:ext cx="929380" cy="929380"/>
          </a:xfrm>
          <a:prstGeom prst="ellipse">
            <a:avLst/>
          </a:prstGeom>
          <a:solidFill>
            <a:srgbClr val="0E35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elpdesk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26AC67C-1C1B-2EF2-F4FC-7D638EF84E79}"/>
              </a:ext>
            </a:extLst>
          </p:cNvPr>
          <p:cNvSpPr/>
          <p:nvPr/>
        </p:nvSpPr>
        <p:spPr>
          <a:xfrm>
            <a:off x="4651744" y="4911120"/>
            <a:ext cx="929381" cy="929381"/>
          </a:xfrm>
          <a:prstGeom prst="ellipse">
            <a:avLst/>
          </a:prstGeom>
          <a:solidFill>
            <a:srgbClr val="0E35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ublications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2835989B-D051-EBBA-8143-EA991F4ECFAE}"/>
              </a:ext>
            </a:extLst>
          </p:cNvPr>
          <p:cNvSpPr/>
          <p:nvPr/>
        </p:nvSpPr>
        <p:spPr>
          <a:xfrm>
            <a:off x="5741917" y="4911120"/>
            <a:ext cx="929381" cy="929381"/>
          </a:xfrm>
          <a:prstGeom prst="ellipse">
            <a:avLst/>
          </a:prstGeom>
          <a:solidFill>
            <a:srgbClr val="0E35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ourses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33A94A4-461B-CE3F-F768-5193A52D40C6}"/>
              </a:ext>
            </a:extLst>
          </p:cNvPr>
          <p:cNvSpPr/>
          <p:nvPr/>
        </p:nvSpPr>
        <p:spPr>
          <a:xfrm>
            <a:off x="6832090" y="4911119"/>
            <a:ext cx="929381" cy="929381"/>
          </a:xfrm>
          <a:prstGeom prst="ellipse">
            <a:avLst/>
          </a:prstGeom>
          <a:solidFill>
            <a:srgbClr val="0E35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Webinar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9D88876-5F40-B22D-006A-9AADABB0C2FD}"/>
              </a:ext>
            </a:extLst>
          </p:cNvPr>
          <p:cNvSpPr/>
          <p:nvPr/>
        </p:nvSpPr>
        <p:spPr>
          <a:xfrm>
            <a:off x="7922263" y="4911119"/>
            <a:ext cx="929380" cy="929380"/>
          </a:xfrm>
          <a:prstGeom prst="ellipse">
            <a:avLst/>
          </a:prstGeom>
          <a:solidFill>
            <a:srgbClr val="0E35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Newsletters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A675C43C-8ED4-72D7-E5FD-9C50760C0C78}"/>
              </a:ext>
            </a:extLst>
          </p:cNvPr>
          <p:cNvSpPr/>
          <p:nvPr/>
        </p:nvSpPr>
        <p:spPr>
          <a:xfrm>
            <a:off x="9012435" y="4911119"/>
            <a:ext cx="929381" cy="929381"/>
          </a:xfrm>
          <a:prstGeom prst="ellipse">
            <a:avLst/>
          </a:prstGeom>
          <a:solidFill>
            <a:srgbClr val="0E35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oad</a:t>
            </a:r>
            <a:b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hows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EBF936D4-D74E-764B-8780-501190520210}"/>
              </a:ext>
            </a:extLst>
          </p:cNvPr>
          <p:cNvSpPr/>
          <p:nvPr/>
        </p:nvSpPr>
        <p:spPr>
          <a:xfrm>
            <a:off x="10102606" y="4911119"/>
            <a:ext cx="929381" cy="929381"/>
          </a:xfrm>
          <a:prstGeom prst="ellipse">
            <a:avLst/>
          </a:prstGeom>
          <a:solidFill>
            <a:srgbClr val="0E35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Workshops</a:t>
            </a:r>
          </a:p>
        </p:txBody>
      </p:sp>
      <p:graphicFrame>
        <p:nvGraphicFramePr>
          <p:cNvPr id="29" name="Table 41">
            <a:extLst>
              <a:ext uri="{FF2B5EF4-FFF2-40B4-BE49-F238E27FC236}">
                <a16:creationId xmlns:a16="http://schemas.microsoft.com/office/drawing/2014/main" id="{F5DCCD1B-ACAB-2EAE-CF08-7B585BE0A626}"/>
              </a:ext>
            </a:extLst>
          </p:cNvPr>
          <p:cNvGraphicFramePr>
            <a:graphicFrameLocks noGrp="1"/>
          </p:cNvGraphicFramePr>
          <p:nvPr/>
        </p:nvGraphicFramePr>
        <p:xfrm>
          <a:off x="2327854" y="1332441"/>
          <a:ext cx="8929917" cy="13151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639">
                  <a:extLst>
                    <a:ext uri="{9D8B030D-6E8A-4147-A177-3AD203B41FA5}">
                      <a16:colId xmlns:a16="http://schemas.microsoft.com/office/drawing/2014/main" val="707659948"/>
                    </a:ext>
                  </a:extLst>
                </a:gridCol>
                <a:gridCol w="2976639">
                  <a:extLst>
                    <a:ext uri="{9D8B030D-6E8A-4147-A177-3AD203B41FA5}">
                      <a16:colId xmlns:a16="http://schemas.microsoft.com/office/drawing/2014/main" val="1285356634"/>
                    </a:ext>
                  </a:extLst>
                </a:gridCol>
                <a:gridCol w="2976639">
                  <a:extLst>
                    <a:ext uri="{9D8B030D-6E8A-4147-A177-3AD203B41FA5}">
                      <a16:colId xmlns:a16="http://schemas.microsoft.com/office/drawing/2014/main" val="2147046409"/>
                    </a:ext>
                  </a:extLst>
                </a:gridCol>
              </a:tblGrid>
              <a:tr h="131519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8162513"/>
                  </a:ext>
                </a:extLst>
              </a:tr>
            </a:tbl>
          </a:graphicData>
        </a:graphic>
      </p:graphicFrame>
      <p:sp>
        <p:nvSpPr>
          <p:cNvPr id="30" name="object 3">
            <a:extLst>
              <a:ext uri="{FF2B5EF4-FFF2-40B4-BE49-F238E27FC236}">
                <a16:creationId xmlns:a16="http://schemas.microsoft.com/office/drawing/2014/main" id="{C2D5FE7D-61DE-A7F9-C664-1BB71864B550}"/>
              </a:ext>
            </a:extLst>
          </p:cNvPr>
          <p:cNvSpPr txBox="1"/>
          <p:nvPr/>
        </p:nvSpPr>
        <p:spPr>
          <a:xfrm>
            <a:off x="2488917" y="1710553"/>
            <a:ext cx="2558774" cy="991090"/>
          </a:xfrm>
          <a:prstGeom prst="rect">
            <a:avLst/>
          </a:prstGeom>
        </p:spPr>
        <p:txBody>
          <a:bodyPr vert="horz" wrap="square" lIns="0" tIns="5827" rIns="0" bIns="0" rtlCol="0">
            <a:spAutoFit/>
          </a:bodyPr>
          <a:lstStyle/>
          <a:p>
            <a:pPr marL="6134" marR="2454" lvl="0" indent="0" algn="l" defTabSz="914400" rtl="0" eaLnBrk="1" fontAlgn="auto" latinLnBrk="0" hangingPunct="1">
              <a:lnSpc>
                <a:spcPct val="117500"/>
              </a:lnSpc>
              <a:spcBef>
                <a:spcPts val="4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CA's in-house experts are available for clubs to consult on a  wide range of issues, where you can get bespoke, individual advice in a conﬁdential and professional way, usually for free.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1" name="object 3">
            <a:extLst>
              <a:ext uri="{FF2B5EF4-FFF2-40B4-BE49-F238E27FC236}">
                <a16:creationId xmlns:a16="http://schemas.microsoft.com/office/drawing/2014/main" id="{4CF9B9A4-EBE8-EA14-0725-B27ED7A1F833}"/>
              </a:ext>
            </a:extLst>
          </p:cNvPr>
          <p:cNvSpPr txBox="1"/>
          <p:nvPr/>
        </p:nvSpPr>
        <p:spPr>
          <a:xfrm>
            <a:off x="5513425" y="1710552"/>
            <a:ext cx="2558774" cy="791355"/>
          </a:xfrm>
          <a:prstGeom prst="rect">
            <a:avLst/>
          </a:prstGeom>
        </p:spPr>
        <p:txBody>
          <a:bodyPr vert="horz" wrap="square" lIns="0" tIns="5827" rIns="0" bIns="0" rtlCol="0">
            <a:spAutoFit/>
          </a:bodyPr>
          <a:lstStyle/>
          <a:p>
            <a:pPr marL="6134" marR="2454" lvl="0" indent="0" algn="l" defTabSz="914400" rtl="0" eaLnBrk="1" fontAlgn="auto" latinLnBrk="0" hangingPunct="1">
              <a:lnSpc>
                <a:spcPct val="117500"/>
              </a:lnSpc>
              <a:spcBef>
                <a:spcPts val="4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CA facilitates and ampliﬁes the sharing of tangible knowledge, expertise and insights on how best to manage and develop clubs of all sizes.</a:t>
            </a:r>
          </a:p>
        </p:txBody>
      </p:sp>
      <p:sp>
        <p:nvSpPr>
          <p:cNvPr id="32" name="object 3">
            <a:extLst>
              <a:ext uri="{FF2B5EF4-FFF2-40B4-BE49-F238E27FC236}">
                <a16:creationId xmlns:a16="http://schemas.microsoft.com/office/drawing/2014/main" id="{766D1075-8BBD-C0B9-D080-C1D9BAC58847}"/>
              </a:ext>
            </a:extLst>
          </p:cNvPr>
          <p:cNvSpPr txBox="1"/>
          <p:nvPr/>
        </p:nvSpPr>
        <p:spPr>
          <a:xfrm>
            <a:off x="8448205" y="1708115"/>
            <a:ext cx="2934901" cy="1190824"/>
          </a:xfrm>
          <a:prstGeom prst="rect">
            <a:avLst/>
          </a:prstGeom>
        </p:spPr>
        <p:txBody>
          <a:bodyPr vert="horz" wrap="square" lIns="0" tIns="5827" rIns="0" bIns="0" rtlCol="0">
            <a:spAutoFit/>
          </a:bodyPr>
          <a:lstStyle/>
          <a:p>
            <a:pPr marL="6134" marR="2454" lvl="0" indent="0" algn="l" defTabSz="914400" rtl="0" eaLnBrk="1" fontAlgn="auto" latinLnBrk="0" hangingPunct="1">
              <a:lnSpc>
                <a:spcPct val="117500"/>
              </a:lnSpc>
              <a:spcBef>
                <a:spcPts val="4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ECA collaborates with industry leaders,  academics and consultancies to analyse  </a:t>
            </a:r>
          </a:p>
          <a:p>
            <a:pPr marL="6134" marR="2454" lvl="0" indent="0" algn="l" defTabSz="914400" rtl="0" eaLnBrk="1" fontAlgn="auto" latinLnBrk="0" hangingPunct="1">
              <a:lnSpc>
                <a:spcPct val="117500"/>
              </a:lnSpc>
              <a:spcBef>
                <a:spcPts val="4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the European football industry and  provide unique perspectives on how  best to operate a club in fast moving and  volatile times.</a:t>
            </a:r>
          </a:p>
          <a:p>
            <a:pPr marL="6134" marR="2454" lvl="0" indent="0" algn="l" defTabSz="914400" rtl="0" eaLnBrk="1" fontAlgn="auto" latinLnBrk="0" hangingPunct="1">
              <a:lnSpc>
                <a:spcPct val="117500"/>
              </a:lnSpc>
              <a:spcBef>
                <a:spcPts val="4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100" b="0" i="0" u="none" strike="noStrike" kern="1200" cap="none" spc="0" normalizeH="0" baseline="0" noProof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CA7CB7B-C4EC-7F31-E374-B48D7B930FCA}"/>
              </a:ext>
            </a:extLst>
          </p:cNvPr>
          <p:cNvSpPr txBox="1"/>
          <p:nvPr/>
        </p:nvSpPr>
        <p:spPr>
          <a:xfrm>
            <a:off x="2457051" y="1401856"/>
            <a:ext cx="1801066" cy="23057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pert Advisory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E63D476-CBD4-57F5-CE19-84F59C03D68C}"/>
              </a:ext>
            </a:extLst>
          </p:cNvPr>
          <p:cNvSpPr txBox="1"/>
          <p:nvPr/>
        </p:nvSpPr>
        <p:spPr>
          <a:xfrm>
            <a:off x="5508174" y="1401856"/>
            <a:ext cx="2785089" cy="23057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ducation &amp; Knowledg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6EA310A-7983-5B0C-A05B-54BD9C4084A2}"/>
              </a:ext>
            </a:extLst>
          </p:cNvPr>
          <p:cNvSpPr txBox="1"/>
          <p:nvPr/>
        </p:nvSpPr>
        <p:spPr>
          <a:xfrm>
            <a:off x="8448205" y="1403273"/>
            <a:ext cx="2785089" cy="23057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search &amp; Insights</a:t>
            </a:r>
          </a:p>
        </p:txBody>
      </p:sp>
      <p:sp>
        <p:nvSpPr>
          <p:cNvPr id="36" name="Rounded Rectangle 72">
            <a:extLst>
              <a:ext uri="{FF2B5EF4-FFF2-40B4-BE49-F238E27FC236}">
                <a16:creationId xmlns:a16="http://schemas.microsoft.com/office/drawing/2014/main" id="{C34D07E0-351D-A34C-6E9B-621577AB646D}"/>
              </a:ext>
            </a:extLst>
          </p:cNvPr>
          <p:cNvSpPr/>
          <p:nvPr/>
        </p:nvSpPr>
        <p:spPr>
          <a:xfrm>
            <a:off x="2468451" y="3229838"/>
            <a:ext cx="2140919" cy="45814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12700">
            <a:noFill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 pitchFamily="2" charset="0"/>
                <a:ea typeface="Open Sans" pitchFamily="2" charset="0"/>
                <a:cs typeface="Open Sans" pitchFamily="2" charset="0"/>
              </a:rPr>
              <a:t>Legal</a:t>
            </a:r>
          </a:p>
        </p:txBody>
      </p:sp>
      <p:sp>
        <p:nvSpPr>
          <p:cNvPr id="37" name="Rounded Rectangle 73">
            <a:extLst>
              <a:ext uri="{FF2B5EF4-FFF2-40B4-BE49-F238E27FC236}">
                <a16:creationId xmlns:a16="http://schemas.microsoft.com/office/drawing/2014/main" id="{E01F5705-AC49-163F-28E8-51125927B0FC}"/>
              </a:ext>
            </a:extLst>
          </p:cNvPr>
          <p:cNvSpPr/>
          <p:nvPr/>
        </p:nvSpPr>
        <p:spPr>
          <a:xfrm>
            <a:off x="2457051" y="3872071"/>
            <a:ext cx="2140918" cy="45814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12700">
            <a:noFill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 pitchFamily="2" charset="0"/>
                <a:ea typeface="Open Sans" pitchFamily="2" charset="0"/>
                <a:cs typeface="Open Sans" pitchFamily="2" charset="0"/>
              </a:rPr>
              <a:t>Competitions &amp; operations</a:t>
            </a:r>
          </a:p>
        </p:txBody>
      </p:sp>
      <p:sp>
        <p:nvSpPr>
          <p:cNvPr id="38" name="Rounded Rectangle 74">
            <a:extLst>
              <a:ext uri="{FF2B5EF4-FFF2-40B4-BE49-F238E27FC236}">
                <a16:creationId xmlns:a16="http://schemas.microsoft.com/office/drawing/2014/main" id="{0FAB2CAE-551C-11C4-C0F7-A554A9BA5CB2}"/>
              </a:ext>
            </a:extLst>
          </p:cNvPr>
          <p:cNvSpPr/>
          <p:nvPr/>
        </p:nvSpPr>
        <p:spPr>
          <a:xfrm>
            <a:off x="4684585" y="3229838"/>
            <a:ext cx="2140919" cy="45814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12700">
            <a:noFill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 pitchFamily="2" charset="0"/>
                <a:ea typeface="Open Sans" pitchFamily="2" charset="0"/>
                <a:cs typeface="Open Sans" pitchFamily="2" charset="0"/>
              </a:rPr>
              <a:t>Finance</a:t>
            </a:r>
          </a:p>
        </p:txBody>
      </p:sp>
      <p:sp>
        <p:nvSpPr>
          <p:cNvPr id="39" name="Rounded Rectangle 75">
            <a:extLst>
              <a:ext uri="{FF2B5EF4-FFF2-40B4-BE49-F238E27FC236}">
                <a16:creationId xmlns:a16="http://schemas.microsoft.com/office/drawing/2014/main" id="{10767684-C6CC-A11E-DEF9-E4801E4B852C}"/>
              </a:ext>
            </a:extLst>
          </p:cNvPr>
          <p:cNvSpPr/>
          <p:nvPr/>
        </p:nvSpPr>
        <p:spPr>
          <a:xfrm>
            <a:off x="4681361" y="3872071"/>
            <a:ext cx="2140918" cy="45814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12700">
            <a:noFill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 pitchFamily="2" charset="0"/>
                <a:ea typeface="Open Sans" pitchFamily="2" charset="0"/>
                <a:cs typeface="Open Sans" pitchFamily="2" charset="0"/>
              </a:rPr>
              <a:t>Women’s football</a:t>
            </a:r>
          </a:p>
        </p:txBody>
      </p:sp>
      <p:sp>
        <p:nvSpPr>
          <p:cNvPr id="40" name="Rounded Rectangle 76">
            <a:extLst>
              <a:ext uri="{FF2B5EF4-FFF2-40B4-BE49-F238E27FC236}">
                <a16:creationId xmlns:a16="http://schemas.microsoft.com/office/drawing/2014/main" id="{426B89A3-6053-C8C0-8B94-1E14867AFA36}"/>
              </a:ext>
            </a:extLst>
          </p:cNvPr>
          <p:cNvSpPr/>
          <p:nvPr/>
        </p:nvSpPr>
        <p:spPr>
          <a:xfrm>
            <a:off x="6900719" y="3229838"/>
            <a:ext cx="2140918" cy="45814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12700">
            <a:noFill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 pitchFamily="2" charset="0"/>
                <a:ea typeface="Open Sans" pitchFamily="2" charset="0"/>
                <a:cs typeface="Open Sans" pitchFamily="2" charset="0"/>
              </a:rPr>
              <a:t>Commercial</a:t>
            </a:r>
          </a:p>
        </p:txBody>
      </p:sp>
      <p:sp>
        <p:nvSpPr>
          <p:cNvPr id="41" name="Rounded Rectangle 77">
            <a:extLst>
              <a:ext uri="{FF2B5EF4-FFF2-40B4-BE49-F238E27FC236}">
                <a16:creationId xmlns:a16="http://schemas.microsoft.com/office/drawing/2014/main" id="{C4D7A1D7-5533-5C25-DC5C-332D34E40D4E}"/>
              </a:ext>
            </a:extLst>
          </p:cNvPr>
          <p:cNvSpPr/>
          <p:nvPr/>
        </p:nvSpPr>
        <p:spPr>
          <a:xfrm>
            <a:off x="6905671" y="3872071"/>
            <a:ext cx="2140918" cy="45814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12700">
            <a:noFill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 pitchFamily="2" charset="0"/>
                <a:ea typeface="Open Sans" pitchFamily="2" charset="0"/>
                <a:cs typeface="Open Sans" pitchFamily="2" charset="0"/>
              </a:rPr>
              <a:t>Youth football</a:t>
            </a:r>
          </a:p>
        </p:txBody>
      </p:sp>
      <p:sp>
        <p:nvSpPr>
          <p:cNvPr id="3" name="Rounded Rectangle 72">
            <a:extLst>
              <a:ext uri="{FF2B5EF4-FFF2-40B4-BE49-F238E27FC236}">
                <a16:creationId xmlns:a16="http://schemas.microsoft.com/office/drawing/2014/main" id="{E6248C85-AF4A-416D-F4B5-F4DD57A3DE72}"/>
              </a:ext>
            </a:extLst>
          </p:cNvPr>
          <p:cNvSpPr/>
          <p:nvPr/>
        </p:nvSpPr>
        <p:spPr>
          <a:xfrm>
            <a:off x="9129980" y="3872071"/>
            <a:ext cx="2140919" cy="45814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12700">
            <a:noFill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 pitchFamily="2" charset="0"/>
                <a:ea typeface="Open Sans" pitchFamily="2" charset="0"/>
                <a:cs typeface="Open Sans" pitchFamily="2" charset="0"/>
              </a:rPr>
              <a:t>Club Management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4" name="Rounded Rectangle 72">
            <a:extLst>
              <a:ext uri="{FF2B5EF4-FFF2-40B4-BE49-F238E27FC236}">
                <a16:creationId xmlns:a16="http://schemas.microsoft.com/office/drawing/2014/main" id="{4D180D78-5C46-F385-069E-DEAA430A3534}"/>
              </a:ext>
            </a:extLst>
          </p:cNvPr>
          <p:cNvSpPr/>
          <p:nvPr/>
        </p:nvSpPr>
        <p:spPr>
          <a:xfrm>
            <a:off x="9116851" y="3229838"/>
            <a:ext cx="2140919" cy="45814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 w="12700">
            <a:noFill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 pitchFamily="2" charset="0"/>
                <a:ea typeface="Open Sans" pitchFamily="2" charset="0"/>
                <a:cs typeface="Open Sans" pitchFamily="2" charset="0"/>
              </a:rPr>
              <a:t>Sustainability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C06A741-7F96-8D41-68CF-A033A85FC42D}"/>
              </a:ext>
            </a:extLst>
          </p:cNvPr>
          <p:cNvGrpSpPr/>
          <p:nvPr/>
        </p:nvGrpSpPr>
        <p:grpSpPr>
          <a:xfrm>
            <a:off x="10233652" y="291314"/>
            <a:ext cx="1373893" cy="752560"/>
            <a:chOff x="10506211" y="315080"/>
            <a:chExt cx="1223334" cy="67009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11C6189-3CE5-A26A-FB48-6DF43D4A6E0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8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54553" y="838547"/>
              <a:ext cx="882870" cy="45719"/>
            </a:xfrm>
            <a:prstGeom prst="rect">
              <a:avLst/>
            </a:prstGeom>
          </p:spPr>
        </p:pic>
        <p:pic>
          <p:nvPicPr>
            <p:cNvPr id="12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D94DD522-94DC-98E8-AECA-C2682B15215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6211" y="315080"/>
              <a:ext cx="1223334" cy="6700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311282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412840F-B94D-E4FB-7EDB-C41D6FAB2AF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33FD94-EC0A-9D71-20D5-87A1B24EAEAA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/>
        <p:txBody>
          <a:bodyPr>
            <a:normAutofit fontScale="92500" lnSpcReduction="10000"/>
          </a:bodyPr>
          <a:lstStyle/>
          <a:p>
            <a:endParaRPr lang="en-CH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505CA4F-5176-16E1-09CB-6B6CDA0B7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5" name="Online Media 4" title="ECA Strategy Review 2024">
            <a:hlinkClick r:id="" action="ppaction://media"/>
            <a:extLst>
              <a:ext uri="{FF2B5EF4-FFF2-40B4-BE49-F238E27FC236}">
                <a16:creationId xmlns:a16="http://schemas.microsoft.com/office/drawing/2014/main" id="{DFEE6F2B-3DC0-2B1F-03DB-94A894891534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0" y="-15240"/>
            <a:ext cx="12192000" cy="688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103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218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5ADF49-51DC-A1DA-AC75-81592B5164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5BFC776-BC50-1932-632F-27C73BF24DA5}"/>
              </a:ext>
            </a:extLst>
          </p:cNvPr>
          <p:cNvSpPr txBox="1">
            <a:spLocks/>
          </p:cNvSpPr>
          <p:nvPr/>
        </p:nvSpPr>
        <p:spPr>
          <a:xfrm>
            <a:off x="348342" y="6312806"/>
            <a:ext cx="27432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defPPr>
              <a:defRPr lang="en-P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6CC22B9-932E-6E42-8488-14772F8F6244}" type="slidenum">
              <a:rPr kumimoji="0" lang="en-GB" sz="1200" b="1" i="1" u="none" strike="noStrike" kern="1200" cap="none" spc="0" normalizeH="0" baseline="0" noProof="0" smtClean="0">
                <a:ln>
                  <a:noFill/>
                </a:ln>
                <a:solidFill>
                  <a:srgbClr val="28A357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1" i="1" u="none" strike="noStrike" kern="1200" cap="none" spc="0" normalizeH="0" baseline="0" noProof="0">
              <a:ln>
                <a:noFill/>
              </a:ln>
              <a:solidFill>
                <a:srgbClr val="28A357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B229829-ADA8-7009-7FC7-AFD171744132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77" r="77"/>
          <a:stretch/>
        </p:blipFill>
        <p:spPr>
          <a:xfrm>
            <a:off x="1646063" y="1222872"/>
            <a:ext cx="8899873" cy="524899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A9F42019-3443-2591-42E3-25B78A9A5C96}"/>
              </a:ext>
            </a:extLst>
          </p:cNvPr>
          <p:cNvSpPr/>
          <p:nvPr/>
        </p:nvSpPr>
        <p:spPr>
          <a:xfrm>
            <a:off x="3091542" y="1762699"/>
            <a:ext cx="6107542" cy="3872429"/>
          </a:xfrm>
          <a:prstGeom prst="rect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ECA Video">
            <a:hlinkClick r:id="" action="ppaction://media"/>
            <a:extLst>
              <a:ext uri="{FF2B5EF4-FFF2-40B4-BE49-F238E27FC236}">
                <a16:creationId xmlns:a16="http://schemas.microsoft.com/office/drawing/2014/main" id="{34F251B5-FFC8-FEAE-2A32-B3EABBC1765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3091542" y="1981166"/>
            <a:ext cx="6107542" cy="343549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FDD0C29-9B4E-2851-66AF-7D81A33BA0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81382" y="1838741"/>
            <a:ext cx="6194698" cy="357791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7E00852-BF07-CD9B-EA06-A58FBA277B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139090" y="381244"/>
            <a:ext cx="1876425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17532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1067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"/>
          <p:cNvSpPr/>
          <p:nvPr/>
        </p:nvSpPr>
        <p:spPr>
          <a:xfrm rot="21180000">
            <a:off x="-315960" y="2452847"/>
            <a:ext cx="14128112" cy="3256002"/>
          </a:xfrm>
          <a:prstGeom prst="rect">
            <a:avLst/>
          </a:prstGeom>
          <a:solidFill>
            <a:srgbClr val="C8C9C9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7" name="Line"/>
          <p:cNvSpPr/>
          <p:nvPr/>
        </p:nvSpPr>
        <p:spPr>
          <a:xfrm flipV="1">
            <a:off x="767868" y="1529581"/>
            <a:ext cx="10655001" cy="1292090"/>
          </a:xfrm>
          <a:prstGeom prst="line">
            <a:avLst/>
          </a:prstGeom>
          <a:ln w="88900">
            <a:solidFill>
              <a:srgbClr val="A7A7A7"/>
            </a:solidFill>
            <a:custDash>
              <a:ds d="600000" sp="600000"/>
            </a:custDash>
            <a:miter lim="400000"/>
            <a:tailEnd type="triangle"/>
          </a:ln>
        </p:spPr>
        <p:txBody>
          <a:bodyPr lIns="22859" tIns="22859" rIns="22859" bIns="2285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29A457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38" name="Screenshot 2019-05-09 at 14.50.01.png" descr="Screenshot 2019-05-09 at 14.50.0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8800" y="3211635"/>
            <a:ext cx="972546" cy="2126499"/>
          </a:xfrm>
          <a:prstGeom prst="rect">
            <a:avLst/>
          </a:prstGeom>
          <a:ln w="12700">
            <a:miter lim="400000"/>
          </a:ln>
        </p:spPr>
      </p:pic>
      <p:pic>
        <p:nvPicPr>
          <p:cNvPr id="39" name="Screenshot 2019-05-09 at 14.50.05.png" descr="Screenshot 2019-05-09 at 14.50.05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26291" y="2976195"/>
            <a:ext cx="1186103" cy="2209306"/>
          </a:xfrm>
          <a:prstGeom prst="rect">
            <a:avLst/>
          </a:prstGeom>
          <a:ln w="12700">
            <a:miter lim="400000"/>
          </a:ln>
        </p:spPr>
      </p:pic>
      <p:pic>
        <p:nvPicPr>
          <p:cNvPr id="40" name="Screenshot 2019-05-09 at 14.50.10.png" descr="Screenshot 2019-05-09 at 14.50.10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68152" y="2627459"/>
            <a:ext cx="996071" cy="2500446"/>
          </a:xfrm>
          <a:prstGeom prst="rect">
            <a:avLst/>
          </a:prstGeom>
          <a:ln w="12700">
            <a:miter lim="400000"/>
          </a:ln>
        </p:spPr>
      </p:pic>
      <p:pic>
        <p:nvPicPr>
          <p:cNvPr id="41" name="Screenshot 2019-05-09 at 14.49.55.png" descr="Screenshot 2019-05-09 at 14.49.55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2014" y="3238383"/>
            <a:ext cx="1335468" cy="2876391"/>
          </a:xfrm>
          <a:prstGeom prst="rect">
            <a:avLst/>
          </a:prstGeom>
          <a:ln w="12700">
            <a:miter lim="400000"/>
          </a:ln>
        </p:spPr>
      </p:pic>
      <p:sp>
        <p:nvSpPr>
          <p:cNvPr id="42" name="Before…"/>
          <p:cNvSpPr txBox="1"/>
          <p:nvPr/>
        </p:nvSpPr>
        <p:spPr>
          <a:xfrm>
            <a:off x="1353417" y="2476708"/>
            <a:ext cx="592661" cy="419472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2859" tIns="22859" rIns="22859" bIns="22859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00" b="1">
                <a:solidFill>
                  <a:srgbClr val="4A4A4A">
                    <a:lumOff val="-3333"/>
                  </a:srgbClr>
                </a:solidFill>
                <a:latin typeface="Open Sans"/>
                <a:ea typeface="Open Sans"/>
                <a:cs typeface="Open Sans"/>
                <a:sym typeface="Open Sans"/>
              </a:defRPr>
            </a:pPr>
            <a:r>
              <a:rPr kumimoji="0" sz="1300" b="1" i="0" u="none" strike="noStrike" kern="1200" cap="none" spc="0" normalizeH="0" baseline="0" noProof="0" dirty="0">
                <a:ln>
                  <a:noFill/>
                </a:ln>
                <a:solidFill>
                  <a:srgbClr val="4A4A4A">
                    <a:lumOff val="-3333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Before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400" b="1">
                <a:solidFill>
                  <a:srgbClr val="4A4A4A">
                    <a:lumOff val="-3333"/>
                  </a:srgbClr>
                </a:solidFill>
                <a:latin typeface="Open Sans"/>
                <a:ea typeface="Open Sans"/>
                <a:cs typeface="Open Sans"/>
                <a:sym typeface="Open Sans"/>
              </a:defRPr>
            </a:pPr>
            <a:r>
              <a:rPr kumimoji="0" sz="1700" b="1" i="0" u="none" strike="noStrike" kern="1200" cap="none" spc="0" normalizeH="0" baseline="0" noProof="0" dirty="0">
                <a:ln>
                  <a:noFill/>
                </a:ln>
                <a:solidFill>
                  <a:srgbClr val="4A4A4A">
                    <a:lumOff val="-3333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2000</a:t>
            </a:r>
          </a:p>
        </p:txBody>
      </p:sp>
      <p:sp>
        <p:nvSpPr>
          <p:cNvPr id="43" name="Triangle"/>
          <p:cNvSpPr/>
          <p:nvPr/>
        </p:nvSpPr>
        <p:spPr>
          <a:xfrm rot="4980000">
            <a:off x="6213401" y="2062701"/>
            <a:ext cx="173568" cy="1735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A7A7A7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29A457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4" name="Triangle"/>
          <p:cNvSpPr/>
          <p:nvPr/>
        </p:nvSpPr>
        <p:spPr>
          <a:xfrm rot="4980000">
            <a:off x="915427" y="2699734"/>
            <a:ext cx="173568" cy="1735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A7A7A7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29A457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5" name="Rectangle"/>
          <p:cNvSpPr/>
          <p:nvPr/>
        </p:nvSpPr>
        <p:spPr>
          <a:xfrm>
            <a:off x="6304804" y="4024172"/>
            <a:ext cx="1322768" cy="1160947"/>
          </a:xfrm>
          <a:prstGeom prst="rect">
            <a:avLst/>
          </a:prstGeom>
          <a:solidFill>
            <a:srgbClr val="C8C9C9"/>
          </a:solidFill>
          <a:ln w="12700">
            <a:miter lim="400000"/>
          </a:ln>
        </p:spPr>
        <p:txBody>
          <a:bodyPr lIns="22859" tIns="22859" rIns="22859" bIns="22859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</a:defRPr>
            </a:pP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46" name="ECA RGB_for digital.png" descr="ECA RGB_for digital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06741" y="4146482"/>
            <a:ext cx="1718894" cy="916326"/>
          </a:xfrm>
          <a:prstGeom prst="rect">
            <a:avLst/>
          </a:prstGeom>
          <a:ln w="12700">
            <a:miter lim="400000"/>
          </a:ln>
        </p:spPr>
      </p:pic>
      <p:sp>
        <p:nvSpPr>
          <p:cNvPr id="47" name="2000"/>
          <p:cNvSpPr txBox="1"/>
          <p:nvPr/>
        </p:nvSpPr>
        <p:spPr>
          <a:xfrm>
            <a:off x="3281922" y="2322995"/>
            <a:ext cx="546302" cy="25942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2859" tIns="22859" rIns="22859" bIns="22859">
            <a:spAutoFit/>
          </a:bodyPr>
          <a:lstStyle>
            <a:lvl1pPr algn="ctr">
              <a:lnSpc>
                <a:spcPct val="80000"/>
              </a:lnSpc>
              <a:defRPr sz="3400" b="1">
                <a:solidFill>
                  <a:schemeClr val="accent2">
                    <a:lumOff val="-3333"/>
                  </a:schemeClr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700" b="1" i="0" u="none" strike="noStrike" kern="1200" cap="none" spc="0" normalizeH="0" baseline="0" noProof="0" dirty="0">
                <a:ln>
                  <a:noFill/>
                </a:ln>
                <a:solidFill>
                  <a:srgbClr val="4A4A4A">
                    <a:lumOff val="-3333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2000</a:t>
            </a:r>
          </a:p>
        </p:txBody>
      </p:sp>
      <p:sp>
        <p:nvSpPr>
          <p:cNvPr id="48" name="2002"/>
          <p:cNvSpPr txBox="1"/>
          <p:nvPr/>
        </p:nvSpPr>
        <p:spPr>
          <a:xfrm>
            <a:off x="4997347" y="2111263"/>
            <a:ext cx="546302" cy="25942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2859" tIns="22859" rIns="22859" bIns="22859">
            <a:spAutoFit/>
          </a:bodyPr>
          <a:lstStyle>
            <a:lvl1pPr algn="ctr">
              <a:lnSpc>
                <a:spcPct val="80000"/>
              </a:lnSpc>
              <a:defRPr sz="3400" b="1">
                <a:solidFill>
                  <a:schemeClr val="accent2">
                    <a:lumOff val="-3333"/>
                  </a:schemeClr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700" b="1" i="0" u="none" strike="noStrike" kern="1200" cap="none" spc="0" normalizeH="0" baseline="0" noProof="0" dirty="0">
                <a:ln>
                  <a:noFill/>
                </a:ln>
                <a:solidFill>
                  <a:srgbClr val="4A4A4A">
                    <a:lumOff val="-3333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2002</a:t>
            </a:r>
          </a:p>
        </p:txBody>
      </p:sp>
      <p:sp>
        <p:nvSpPr>
          <p:cNvPr id="49" name="2008"/>
          <p:cNvSpPr txBox="1"/>
          <p:nvPr/>
        </p:nvSpPr>
        <p:spPr>
          <a:xfrm>
            <a:off x="6693037" y="1906279"/>
            <a:ext cx="546302" cy="25942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2859" tIns="22859" rIns="22859" bIns="22859">
            <a:spAutoFit/>
          </a:bodyPr>
          <a:lstStyle>
            <a:lvl1pPr algn="ctr">
              <a:lnSpc>
                <a:spcPct val="80000"/>
              </a:lnSpc>
              <a:defRPr sz="3400" b="1">
                <a:solidFill>
                  <a:schemeClr val="accent2">
                    <a:lumOff val="-3333"/>
                  </a:schemeClr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700" b="1" i="0" u="none" strike="noStrike" kern="1200" cap="none" spc="0" normalizeH="0" baseline="0" noProof="0" dirty="0">
                <a:ln>
                  <a:noFill/>
                </a:ln>
                <a:solidFill>
                  <a:srgbClr val="4A4A4A">
                    <a:lumOff val="-3333"/>
                  </a:srgbClr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2008</a:t>
            </a:r>
          </a:p>
        </p:txBody>
      </p:sp>
      <p:sp>
        <p:nvSpPr>
          <p:cNvPr id="50" name="Budapest, 17 May"/>
          <p:cNvSpPr txBox="1"/>
          <p:nvPr/>
        </p:nvSpPr>
        <p:spPr>
          <a:xfrm>
            <a:off x="8619378" y="3066656"/>
            <a:ext cx="2990174" cy="11387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60928" tIns="60928" rIns="60928" bIns="60928">
            <a:spAutoFit/>
          </a:bodyPr>
          <a:lstStyle>
            <a:lvl1pPr defTabSz="2438400">
              <a:defRPr sz="3500" b="1" spc="-68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marL="0" marR="0" lvl="0" indent="0" algn="l" defTabSz="243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200" b="0" i="0" u="none" strike="noStrike" kern="1200" cap="none" spc="-6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ECA started with 137 Members from 52 European countries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814F8B9B-583C-1FB5-376D-25486AB34F10}"/>
              </a:ext>
            </a:extLst>
          </p:cNvPr>
          <p:cNvSpPr txBox="1">
            <a:spLocks/>
          </p:cNvSpPr>
          <p:nvPr/>
        </p:nvSpPr>
        <p:spPr>
          <a:xfrm>
            <a:off x="234694" y="-13641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3600" spc="-15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CA’s creation story</a:t>
            </a:r>
            <a:endParaRPr lang="LID4096" sz="3600" spc="-15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EF02FE8-2BAE-0349-BB2C-29ECD3F81FCD}"/>
              </a:ext>
            </a:extLst>
          </p:cNvPr>
          <p:cNvGrpSpPr/>
          <p:nvPr/>
        </p:nvGrpSpPr>
        <p:grpSpPr>
          <a:xfrm>
            <a:off x="10233652" y="291314"/>
            <a:ext cx="1373893" cy="752560"/>
            <a:chOff x="10506211" y="315080"/>
            <a:chExt cx="1223334" cy="67009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60AC743-DF95-B132-B34A-7E0A4BE760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-8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54553" y="838547"/>
              <a:ext cx="882870" cy="45719"/>
            </a:xfrm>
            <a:prstGeom prst="rect">
              <a:avLst/>
            </a:prstGeom>
          </p:spPr>
        </p:pic>
        <p:pic>
          <p:nvPicPr>
            <p:cNvPr id="4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01B29EB1-C142-77F2-36D8-1FD7D227543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6211" y="315080"/>
              <a:ext cx="1223334" cy="6700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548049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 advAuto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5F51FC9E-05F9-4CAC-801E-42B2542F5D5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44" r="14644"/>
          <a:stretch/>
        </p:blipFill>
        <p:spPr>
          <a:xfrm>
            <a:off x="4894601" y="0"/>
            <a:ext cx="7295812" cy="6858000"/>
          </a:xfrm>
        </p:spPr>
      </p:pic>
      <p:sp>
        <p:nvSpPr>
          <p:cNvPr id="26" name="Title 25">
            <a:extLst>
              <a:ext uri="{FF2B5EF4-FFF2-40B4-BE49-F238E27FC236}">
                <a16:creationId xmlns:a16="http://schemas.microsoft.com/office/drawing/2014/main" id="{B63E6371-CA95-E84C-B8F5-1E65E72CB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610" y="13727"/>
            <a:ext cx="5384867" cy="1180898"/>
          </a:xfrm>
        </p:spPr>
        <p:txBody>
          <a:bodyPr>
            <a:normAutofit/>
          </a:bodyPr>
          <a:lstStyle/>
          <a:p>
            <a:r>
              <a:rPr lang="en-GB" sz="3600" b="1" dirty="0"/>
              <a:t>ECA today</a:t>
            </a:r>
          </a:p>
        </p:txBody>
      </p:sp>
      <p:sp>
        <p:nvSpPr>
          <p:cNvPr id="63" name="Parallelogram 62">
            <a:extLst>
              <a:ext uri="{FF2B5EF4-FFF2-40B4-BE49-F238E27FC236}">
                <a16:creationId xmlns:a16="http://schemas.microsoft.com/office/drawing/2014/main" id="{CE3EE04E-F2B8-9642-80E0-55F02517B994}"/>
              </a:ext>
            </a:extLst>
          </p:cNvPr>
          <p:cNvSpPr/>
          <p:nvPr/>
        </p:nvSpPr>
        <p:spPr>
          <a:xfrm>
            <a:off x="-344283" y="2371902"/>
            <a:ext cx="7954985" cy="1152000"/>
          </a:xfrm>
          <a:prstGeom prst="parallelogram">
            <a:avLst>
              <a:gd name="adj" fmla="val 25000"/>
            </a:avLst>
          </a:prstGeom>
          <a:gradFill flip="none" rotWithShape="1">
            <a:gsLst>
              <a:gs pos="0">
                <a:schemeClr val="accent4"/>
              </a:gs>
              <a:gs pos="100000">
                <a:schemeClr val="accent3">
                  <a:lumMod val="60000"/>
                  <a:lumOff val="4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04800" cap="rnd">
            <a:gradFill flip="none" rotWithShape="1">
              <a:gsLst>
                <a:gs pos="0">
                  <a:schemeClr val="accent4"/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1677D87A-0791-B549-AA27-2AFD976EF055}"/>
              </a:ext>
            </a:extLst>
          </p:cNvPr>
          <p:cNvSpPr/>
          <p:nvPr/>
        </p:nvSpPr>
        <p:spPr>
          <a:xfrm>
            <a:off x="1278042" y="2440071"/>
            <a:ext cx="6232903" cy="101566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CA is the sole independent body directly representing football clubs at European level and recognised by UEFA and FIFA </a:t>
            </a:r>
          </a:p>
        </p:txBody>
      </p:sp>
      <p:grpSp>
        <p:nvGrpSpPr>
          <p:cNvPr id="64" name="Graphic 87">
            <a:extLst>
              <a:ext uri="{FF2B5EF4-FFF2-40B4-BE49-F238E27FC236}">
                <a16:creationId xmlns:a16="http://schemas.microsoft.com/office/drawing/2014/main" id="{2BA345B3-F6FF-D14F-9DCE-49DC566BFA46}"/>
              </a:ext>
            </a:extLst>
          </p:cNvPr>
          <p:cNvGrpSpPr/>
          <p:nvPr/>
        </p:nvGrpSpPr>
        <p:grpSpPr>
          <a:xfrm>
            <a:off x="240827" y="2645956"/>
            <a:ext cx="603892" cy="603892"/>
            <a:chOff x="9750425" y="4419600"/>
            <a:chExt cx="4876800" cy="4876800"/>
          </a:xfrm>
          <a:solidFill>
            <a:schemeClr val="bg2"/>
          </a:solidFill>
        </p:grpSpPr>
        <p:sp>
          <p:nvSpPr>
            <p:cNvPr id="65" name="Freeform: Shape 384">
              <a:extLst>
                <a:ext uri="{FF2B5EF4-FFF2-40B4-BE49-F238E27FC236}">
                  <a16:creationId xmlns:a16="http://schemas.microsoft.com/office/drawing/2014/main" id="{F6AB3BF8-11C1-1C41-B0CC-2DF3F7C3218E}"/>
                </a:ext>
              </a:extLst>
            </p:cNvPr>
            <p:cNvSpPr/>
            <p:nvPr/>
          </p:nvSpPr>
          <p:spPr>
            <a:xfrm>
              <a:off x="10976759" y="6465103"/>
              <a:ext cx="2419350" cy="2419350"/>
            </a:xfrm>
            <a:custGeom>
              <a:avLst/>
              <a:gdLst>
                <a:gd name="connsiteX0" fmla="*/ 1212066 w 2419350"/>
                <a:gd name="connsiteY0" fmla="*/ 7144 h 2419350"/>
                <a:gd name="connsiteX1" fmla="*/ 7144 w 2419350"/>
                <a:gd name="connsiteY1" fmla="*/ 1212075 h 2419350"/>
                <a:gd name="connsiteX2" fmla="*/ 1212066 w 2419350"/>
                <a:gd name="connsiteY2" fmla="*/ 2416997 h 2419350"/>
                <a:gd name="connsiteX3" fmla="*/ 2416988 w 2419350"/>
                <a:gd name="connsiteY3" fmla="*/ 1212075 h 2419350"/>
                <a:gd name="connsiteX4" fmla="*/ 1212066 w 2419350"/>
                <a:gd name="connsiteY4" fmla="*/ 7144 h 2419350"/>
                <a:gd name="connsiteX5" fmla="*/ 1212075 w 2419350"/>
                <a:gd name="connsiteY5" fmla="*/ 2226488 h 2419350"/>
                <a:gd name="connsiteX6" fmla="*/ 197644 w 2419350"/>
                <a:gd name="connsiteY6" fmla="*/ 1212066 h 2419350"/>
                <a:gd name="connsiteX7" fmla="*/ 1212066 w 2419350"/>
                <a:gd name="connsiteY7" fmla="*/ 197634 h 2419350"/>
                <a:gd name="connsiteX8" fmla="*/ 2226498 w 2419350"/>
                <a:gd name="connsiteY8" fmla="*/ 1212066 h 2419350"/>
                <a:gd name="connsiteX9" fmla="*/ 1212075 w 2419350"/>
                <a:gd name="connsiteY9" fmla="*/ 2226488 h 2419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19350" h="2419350">
                  <a:moveTo>
                    <a:pt x="1212066" y="7144"/>
                  </a:moveTo>
                  <a:cubicBezTo>
                    <a:pt x="547678" y="7144"/>
                    <a:pt x="7144" y="547668"/>
                    <a:pt x="7144" y="1212075"/>
                  </a:cubicBezTo>
                  <a:cubicBezTo>
                    <a:pt x="7144" y="1876463"/>
                    <a:pt x="547668" y="2416997"/>
                    <a:pt x="1212066" y="2416997"/>
                  </a:cubicBezTo>
                  <a:cubicBezTo>
                    <a:pt x="1876463" y="2416997"/>
                    <a:pt x="2416988" y="1876473"/>
                    <a:pt x="2416988" y="1212075"/>
                  </a:cubicBezTo>
                  <a:cubicBezTo>
                    <a:pt x="2416988" y="547668"/>
                    <a:pt x="1876454" y="7144"/>
                    <a:pt x="1212066" y="7144"/>
                  </a:cubicBezTo>
                  <a:close/>
                  <a:moveTo>
                    <a:pt x="1212075" y="2226488"/>
                  </a:moveTo>
                  <a:cubicBezTo>
                    <a:pt x="652729" y="2226488"/>
                    <a:pt x="197644" y="1771412"/>
                    <a:pt x="197644" y="1212066"/>
                  </a:cubicBezTo>
                  <a:cubicBezTo>
                    <a:pt x="197644" y="652720"/>
                    <a:pt x="652720" y="197634"/>
                    <a:pt x="1212066" y="197634"/>
                  </a:cubicBezTo>
                  <a:cubicBezTo>
                    <a:pt x="1771412" y="197634"/>
                    <a:pt x="2226498" y="652701"/>
                    <a:pt x="2226498" y="1212066"/>
                  </a:cubicBezTo>
                  <a:cubicBezTo>
                    <a:pt x="2226498" y="1771431"/>
                    <a:pt x="1771422" y="2226488"/>
                    <a:pt x="1212075" y="22264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3757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6" name="Freeform: Shape 385">
              <a:extLst>
                <a:ext uri="{FF2B5EF4-FFF2-40B4-BE49-F238E27FC236}">
                  <a16:creationId xmlns:a16="http://schemas.microsoft.com/office/drawing/2014/main" id="{8D951CD4-7568-9546-A633-7168C50CFF14}"/>
                </a:ext>
              </a:extLst>
            </p:cNvPr>
            <p:cNvSpPr/>
            <p:nvPr/>
          </p:nvSpPr>
          <p:spPr>
            <a:xfrm>
              <a:off x="9743293" y="4412459"/>
              <a:ext cx="1419225" cy="1419225"/>
            </a:xfrm>
            <a:custGeom>
              <a:avLst/>
              <a:gdLst>
                <a:gd name="connsiteX0" fmla="*/ 1385742 w 1419225"/>
                <a:gd name="connsiteY0" fmla="*/ 1251030 h 1419225"/>
                <a:gd name="connsiteX1" fmla="*/ 169752 w 1419225"/>
                <a:gd name="connsiteY1" fmla="*/ 35040 h 1419225"/>
                <a:gd name="connsiteX2" fmla="*/ 35040 w 1419225"/>
                <a:gd name="connsiteY2" fmla="*/ 35040 h 1419225"/>
                <a:gd name="connsiteX3" fmla="*/ 35040 w 1419225"/>
                <a:gd name="connsiteY3" fmla="*/ 169752 h 1419225"/>
                <a:gd name="connsiteX4" fmla="*/ 1251040 w 1419225"/>
                <a:gd name="connsiteY4" fmla="*/ 1385752 h 1419225"/>
                <a:gd name="connsiteX5" fmla="*/ 1318391 w 1419225"/>
                <a:gd name="connsiteY5" fmla="*/ 1413641 h 1419225"/>
                <a:gd name="connsiteX6" fmla="*/ 1385742 w 1419225"/>
                <a:gd name="connsiteY6" fmla="*/ 1385742 h 1419225"/>
                <a:gd name="connsiteX7" fmla="*/ 1385742 w 1419225"/>
                <a:gd name="connsiteY7" fmla="*/ 1251030 h 1419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19225" h="1419225">
                  <a:moveTo>
                    <a:pt x="1385742" y="1251030"/>
                  </a:moveTo>
                  <a:lnTo>
                    <a:pt x="169752" y="35040"/>
                  </a:lnTo>
                  <a:cubicBezTo>
                    <a:pt x="132557" y="-2155"/>
                    <a:pt x="72245" y="-2155"/>
                    <a:pt x="35040" y="35040"/>
                  </a:cubicBezTo>
                  <a:cubicBezTo>
                    <a:pt x="-2155" y="72235"/>
                    <a:pt x="-2155" y="132548"/>
                    <a:pt x="35040" y="169752"/>
                  </a:cubicBezTo>
                  <a:lnTo>
                    <a:pt x="1251040" y="1385752"/>
                  </a:lnTo>
                  <a:cubicBezTo>
                    <a:pt x="1269642" y="1404345"/>
                    <a:pt x="1294017" y="1413641"/>
                    <a:pt x="1318391" y="1413641"/>
                  </a:cubicBezTo>
                  <a:cubicBezTo>
                    <a:pt x="1342765" y="1413641"/>
                    <a:pt x="1367149" y="1404345"/>
                    <a:pt x="1385742" y="1385742"/>
                  </a:cubicBezTo>
                  <a:cubicBezTo>
                    <a:pt x="1422937" y="1348538"/>
                    <a:pt x="1422937" y="1288225"/>
                    <a:pt x="1385742" y="125103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3757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7" name="Freeform: Shape 386">
              <a:extLst>
                <a:ext uri="{FF2B5EF4-FFF2-40B4-BE49-F238E27FC236}">
                  <a16:creationId xmlns:a16="http://schemas.microsoft.com/office/drawing/2014/main" id="{6FF3773F-7A1F-FD43-A4AB-FC56CAAB4229}"/>
                </a:ext>
              </a:extLst>
            </p:cNvPr>
            <p:cNvSpPr/>
            <p:nvPr/>
          </p:nvSpPr>
          <p:spPr>
            <a:xfrm>
              <a:off x="12572197" y="4412472"/>
              <a:ext cx="838200" cy="838200"/>
            </a:xfrm>
            <a:custGeom>
              <a:avLst/>
              <a:gdLst>
                <a:gd name="connsiteX0" fmla="*/ 807930 w 838200"/>
                <a:gd name="connsiteY0" fmla="*/ 35037 h 838200"/>
                <a:gd name="connsiteX1" fmla="*/ 673227 w 838200"/>
                <a:gd name="connsiteY1" fmla="*/ 35037 h 838200"/>
                <a:gd name="connsiteX2" fmla="*/ 35043 w 838200"/>
                <a:gd name="connsiteY2" fmla="*/ 673202 h 838200"/>
                <a:gd name="connsiteX3" fmla="*/ 7144 w 838200"/>
                <a:gd name="connsiteY3" fmla="*/ 740553 h 838200"/>
                <a:gd name="connsiteX4" fmla="*/ 35043 w 838200"/>
                <a:gd name="connsiteY4" fmla="*/ 807905 h 838200"/>
                <a:gd name="connsiteX5" fmla="*/ 102394 w 838200"/>
                <a:gd name="connsiteY5" fmla="*/ 835813 h 838200"/>
                <a:gd name="connsiteX6" fmla="*/ 169745 w 838200"/>
                <a:gd name="connsiteY6" fmla="*/ 807914 h 838200"/>
                <a:gd name="connsiteX7" fmla="*/ 807930 w 838200"/>
                <a:gd name="connsiteY7" fmla="*/ 169739 h 838200"/>
                <a:gd name="connsiteX8" fmla="*/ 835828 w 838200"/>
                <a:gd name="connsiteY8" fmla="*/ 102388 h 838200"/>
                <a:gd name="connsiteX9" fmla="*/ 807930 w 838200"/>
                <a:gd name="connsiteY9" fmla="*/ 35037 h 83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38200" h="838200">
                  <a:moveTo>
                    <a:pt x="807930" y="35037"/>
                  </a:moveTo>
                  <a:cubicBezTo>
                    <a:pt x="770725" y="-2159"/>
                    <a:pt x="710422" y="-2149"/>
                    <a:pt x="673227" y="35037"/>
                  </a:cubicBezTo>
                  <a:lnTo>
                    <a:pt x="35043" y="673202"/>
                  </a:lnTo>
                  <a:cubicBezTo>
                    <a:pt x="16450" y="691804"/>
                    <a:pt x="7144" y="716179"/>
                    <a:pt x="7144" y="740553"/>
                  </a:cubicBezTo>
                  <a:cubicBezTo>
                    <a:pt x="7144" y="764928"/>
                    <a:pt x="16440" y="789312"/>
                    <a:pt x="35043" y="807905"/>
                  </a:cubicBezTo>
                  <a:cubicBezTo>
                    <a:pt x="53645" y="826516"/>
                    <a:pt x="78019" y="835813"/>
                    <a:pt x="102394" y="835813"/>
                  </a:cubicBezTo>
                  <a:cubicBezTo>
                    <a:pt x="126768" y="835813"/>
                    <a:pt x="151152" y="826507"/>
                    <a:pt x="169745" y="807914"/>
                  </a:cubicBezTo>
                  <a:lnTo>
                    <a:pt x="807930" y="169739"/>
                  </a:lnTo>
                  <a:cubicBezTo>
                    <a:pt x="826523" y="151137"/>
                    <a:pt x="835828" y="126762"/>
                    <a:pt x="835828" y="102388"/>
                  </a:cubicBezTo>
                  <a:cubicBezTo>
                    <a:pt x="835828" y="78013"/>
                    <a:pt x="826523" y="53629"/>
                    <a:pt x="807930" y="350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3757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8" name="Freeform: Shape 387">
              <a:extLst>
                <a:ext uri="{FF2B5EF4-FFF2-40B4-BE49-F238E27FC236}">
                  <a16:creationId xmlns:a16="http://schemas.microsoft.com/office/drawing/2014/main" id="{F073C083-4C40-8841-8A21-785BA7D1DFF8}"/>
                </a:ext>
              </a:extLst>
            </p:cNvPr>
            <p:cNvSpPr/>
            <p:nvPr/>
          </p:nvSpPr>
          <p:spPr>
            <a:xfrm>
              <a:off x="10354414" y="4412459"/>
              <a:ext cx="4276725" cy="4886325"/>
            </a:xfrm>
            <a:custGeom>
              <a:avLst/>
              <a:gdLst>
                <a:gd name="connsiteX0" fmla="*/ 4244903 w 4276725"/>
                <a:gd name="connsiteY0" fmla="*/ 35040 h 4886325"/>
                <a:gd name="connsiteX1" fmla="*/ 4110191 w 4276725"/>
                <a:gd name="connsiteY1" fmla="*/ 35040 h 4886325"/>
                <a:gd name="connsiteX2" fmla="*/ 2443973 w 4276725"/>
                <a:gd name="connsiteY2" fmla="*/ 1701258 h 4886325"/>
                <a:gd name="connsiteX3" fmla="*/ 2443364 w 4276725"/>
                <a:gd name="connsiteY3" fmla="*/ 1700582 h 4886325"/>
                <a:gd name="connsiteX4" fmla="*/ 2288345 w 4276725"/>
                <a:gd name="connsiteY4" fmla="*/ 1545562 h 4886325"/>
                <a:gd name="connsiteX5" fmla="*/ 3664164 w 4276725"/>
                <a:gd name="connsiteY5" fmla="*/ 169752 h 4886325"/>
                <a:gd name="connsiteX6" fmla="*/ 3664164 w 4276725"/>
                <a:gd name="connsiteY6" fmla="*/ 35040 h 4886325"/>
                <a:gd name="connsiteX7" fmla="*/ 3529452 w 4276725"/>
                <a:gd name="connsiteY7" fmla="*/ 35040 h 4886325"/>
                <a:gd name="connsiteX8" fmla="*/ 2153632 w 4276725"/>
                <a:gd name="connsiteY8" fmla="*/ 1410860 h 4886325"/>
                <a:gd name="connsiteX9" fmla="*/ 777822 w 4276725"/>
                <a:gd name="connsiteY9" fmla="*/ 35040 h 4886325"/>
                <a:gd name="connsiteX10" fmla="*/ 643110 w 4276725"/>
                <a:gd name="connsiteY10" fmla="*/ 35040 h 4886325"/>
                <a:gd name="connsiteX11" fmla="*/ 643110 w 4276725"/>
                <a:gd name="connsiteY11" fmla="*/ 169752 h 4886325"/>
                <a:gd name="connsiteX12" fmla="*/ 2149756 w 4276725"/>
                <a:gd name="connsiteY12" fmla="*/ 1676398 h 4886325"/>
                <a:gd name="connsiteX13" fmla="*/ 1834402 w 4276725"/>
                <a:gd name="connsiteY13" fmla="*/ 1645470 h 4886325"/>
                <a:gd name="connsiteX14" fmla="*/ 1781148 w 4276725"/>
                <a:gd name="connsiteY14" fmla="*/ 1646442 h 4886325"/>
                <a:gd name="connsiteX15" fmla="*/ 1781090 w 4276725"/>
                <a:gd name="connsiteY15" fmla="*/ 1646375 h 4886325"/>
                <a:gd name="connsiteX16" fmla="*/ 169756 w 4276725"/>
                <a:gd name="connsiteY16" fmla="*/ 35040 h 4886325"/>
                <a:gd name="connsiteX17" fmla="*/ 35044 w 4276725"/>
                <a:gd name="connsiteY17" fmla="*/ 35040 h 4886325"/>
                <a:gd name="connsiteX18" fmla="*/ 35044 w 4276725"/>
                <a:gd name="connsiteY18" fmla="*/ 169752 h 4886325"/>
                <a:gd name="connsiteX19" fmla="*/ 1538041 w 4276725"/>
                <a:gd name="connsiteY19" fmla="*/ 1672750 h 4886325"/>
                <a:gd name="connsiteX20" fmla="*/ 215161 w 4276725"/>
                <a:gd name="connsiteY20" fmla="*/ 3264711 h 4886325"/>
                <a:gd name="connsiteX21" fmla="*/ 1834402 w 4276725"/>
                <a:gd name="connsiteY21" fmla="*/ 4883942 h 4886325"/>
                <a:gd name="connsiteX22" fmla="*/ 3453633 w 4276725"/>
                <a:gd name="connsiteY22" fmla="*/ 3264720 h 4886325"/>
                <a:gd name="connsiteX23" fmla="*/ 2584553 w 4276725"/>
                <a:gd name="connsiteY23" fmla="*/ 1830084 h 4886325"/>
                <a:gd name="connsiteX24" fmla="*/ 4244903 w 4276725"/>
                <a:gd name="connsiteY24" fmla="*/ 169752 h 4886325"/>
                <a:gd name="connsiteX25" fmla="*/ 4244903 w 4276725"/>
                <a:gd name="connsiteY25" fmla="*/ 35040 h 4886325"/>
                <a:gd name="connsiteX26" fmla="*/ 3263152 w 4276725"/>
                <a:gd name="connsiteY26" fmla="*/ 3264711 h 4886325"/>
                <a:gd name="connsiteX27" fmla="*/ 1834421 w 4276725"/>
                <a:gd name="connsiteY27" fmla="*/ 4693442 h 4886325"/>
                <a:gd name="connsiteX28" fmla="*/ 405680 w 4276725"/>
                <a:gd name="connsiteY28" fmla="*/ 3264720 h 4886325"/>
                <a:gd name="connsiteX29" fmla="*/ 1834421 w 4276725"/>
                <a:gd name="connsiteY29" fmla="*/ 1835980 h 4886325"/>
                <a:gd name="connsiteX30" fmla="*/ 3263152 w 4276725"/>
                <a:gd name="connsiteY30" fmla="*/ 3264711 h 4886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276725" h="4886325">
                  <a:moveTo>
                    <a:pt x="4244903" y="35040"/>
                  </a:moveTo>
                  <a:cubicBezTo>
                    <a:pt x="4207708" y="-2146"/>
                    <a:pt x="4147396" y="-2146"/>
                    <a:pt x="4110191" y="35040"/>
                  </a:cubicBezTo>
                  <a:lnTo>
                    <a:pt x="2443973" y="1701258"/>
                  </a:lnTo>
                  <a:cubicBezTo>
                    <a:pt x="2443764" y="1701039"/>
                    <a:pt x="2443583" y="1700801"/>
                    <a:pt x="2443364" y="1700582"/>
                  </a:cubicBezTo>
                  <a:lnTo>
                    <a:pt x="2288345" y="1545562"/>
                  </a:lnTo>
                  <a:lnTo>
                    <a:pt x="3664164" y="169752"/>
                  </a:lnTo>
                  <a:cubicBezTo>
                    <a:pt x="3701359" y="132557"/>
                    <a:pt x="3701359" y="72245"/>
                    <a:pt x="3664164" y="35040"/>
                  </a:cubicBezTo>
                  <a:cubicBezTo>
                    <a:pt x="3626969" y="-2155"/>
                    <a:pt x="3566657" y="-2155"/>
                    <a:pt x="3529452" y="35040"/>
                  </a:cubicBezTo>
                  <a:lnTo>
                    <a:pt x="2153632" y="1410860"/>
                  </a:lnTo>
                  <a:lnTo>
                    <a:pt x="777822" y="35040"/>
                  </a:lnTo>
                  <a:cubicBezTo>
                    <a:pt x="740627" y="-2155"/>
                    <a:pt x="680315" y="-2155"/>
                    <a:pt x="643110" y="35040"/>
                  </a:cubicBezTo>
                  <a:cubicBezTo>
                    <a:pt x="605915" y="72235"/>
                    <a:pt x="605915" y="132548"/>
                    <a:pt x="643110" y="169752"/>
                  </a:cubicBezTo>
                  <a:lnTo>
                    <a:pt x="2149756" y="1676398"/>
                  </a:lnTo>
                  <a:cubicBezTo>
                    <a:pt x="2047714" y="1656176"/>
                    <a:pt x="1942292" y="1645470"/>
                    <a:pt x="1834402" y="1645470"/>
                  </a:cubicBezTo>
                  <a:cubicBezTo>
                    <a:pt x="1816571" y="1645470"/>
                    <a:pt x="1798836" y="1645861"/>
                    <a:pt x="1781148" y="1646442"/>
                  </a:cubicBezTo>
                  <a:cubicBezTo>
                    <a:pt x="1781129" y="1646422"/>
                    <a:pt x="1781110" y="1646394"/>
                    <a:pt x="1781090" y="1646375"/>
                  </a:cubicBezTo>
                  <a:lnTo>
                    <a:pt x="169756" y="35040"/>
                  </a:lnTo>
                  <a:cubicBezTo>
                    <a:pt x="132561" y="-2155"/>
                    <a:pt x="72248" y="-2155"/>
                    <a:pt x="35044" y="35040"/>
                  </a:cubicBezTo>
                  <a:cubicBezTo>
                    <a:pt x="-2161" y="72235"/>
                    <a:pt x="-2151" y="132548"/>
                    <a:pt x="35044" y="169752"/>
                  </a:cubicBezTo>
                  <a:lnTo>
                    <a:pt x="1538041" y="1672750"/>
                  </a:lnTo>
                  <a:cubicBezTo>
                    <a:pt x="786242" y="1812377"/>
                    <a:pt x="215161" y="2473069"/>
                    <a:pt x="215161" y="3264711"/>
                  </a:cubicBezTo>
                  <a:cubicBezTo>
                    <a:pt x="215161" y="4157546"/>
                    <a:pt x="941557" y="4883942"/>
                    <a:pt x="1834402" y="4883942"/>
                  </a:cubicBezTo>
                  <a:cubicBezTo>
                    <a:pt x="2727247" y="4883942"/>
                    <a:pt x="3453633" y="4157556"/>
                    <a:pt x="3453633" y="3264720"/>
                  </a:cubicBezTo>
                  <a:cubicBezTo>
                    <a:pt x="3453633" y="2642423"/>
                    <a:pt x="3100703" y="2101079"/>
                    <a:pt x="2584553" y="1830084"/>
                  </a:cubicBezTo>
                  <a:lnTo>
                    <a:pt x="4244903" y="169752"/>
                  </a:lnTo>
                  <a:cubicBezTo>
                    <a:pt x="4282089" y="132548"/>
                    <a:pt x="4282089" y="72235"/>
                    <a:pt x="4244903" y="35040"/>
                  </a:cubicBezTo>
                  <a:close/>
                  <a:moveTo>
                    <a:pt x="3263152" y="3264711"/>
                  </a:moveTo>
                  <a:cubicBezTo>
                    <a:pt x="3263152" y="4052523"/>
                    <a:pt x="2622224" y="4693442"/>
                    <a:pt x="1834421" y="4693442"/>
                  </a:cubicBezTo>
                  <a:cubicBezTo>
                    <a:pt x="1046618" y="4693442"/>
                    <a:pt x="405680" y="4052523"/>
                    <a:pt x="405680" y="3264720"/>
                  </a:cubicBezTo>
                  <a:cubicBezTo>
                    <a:pt x="405680" y="2476907"/>
                    <a:pt x="1046608" y="1835980"/>
                    <a:pt x="1834421" y="1835980"/>
                  </a:cubicBezTo>
                  <a:cubicBezTo>
                    <a:pt x="2622234" y="1835980"/>
                    <a:pt x="3263152" y="2476898"/>
                    <a:pt x="3263152" y="326471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3757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9" name="Freeform: Shape 388">
              <a:extLst>
                <a:ext uri="{FF2B5EF4-FFF2-40B4-BE49-F238E27FC236}">
                  <a16:creationId xmlns:a16="http://schemas.microsoft.com/office/drawing/2014/main" id="{9DE47969-93ED-AD46-9607-475DA420923F}"/>
                </a:ext>
              </a:extLst>
            </p:cNvPr>
            <p:cNvSpPr/>
            <p:nvPr/>
          </p:nvSpPr>
          <p:spPr>
            <a:xfrm>
              <a:off x="11225095" y="5891308"/>
              <a:ext cx="200025" cy="200025"/>
            </a:xfrm>
            <a:custGeom>
              <a:avLst/>
              <a:gdLst>
                <a:gd name="connsiteX0" fmla="*/ 169736 w 200025"/>
                <a:gd name="connsiteY0" fmla="*/ 35052 h 200025"/>
                <a:gd name="connsiteX1" fmla="*/ 102394 w 200025"/>
                <a:gd name="connsiteY1" fmla="*/ 7144 h 200025"/>
                <a:gd name="connsiteX2" fmla="*/ 35052 w 200025"/>
                <a:gd name="connsiteY2" fmla="*/ 35052 h 200025"/>
                <a:gd name="connsiteX3" fmla="*/ 7144 w 200025"/>
                <a:gd name="connsiteY3" fmla="*/ 102394 h 200025"/>
                <a:gd name="connsiteX4" fmla="*/ 35052 w 200025"/>
                <a:gd name="connsiteY4" fmla="*/ 169736 h 200025"/>
                <a:gd name="connsiteX5" fmla="*/ 102394 w 200025"/>
                <a:gd name="connsiteY5" fmla="*/ 197644 h 200025"/>
                <a:gd name="connsiteX6" fmla="*/ 169736 w 200025"/>
                <a:gd name="connsiteY6" fmla="*/ 169736 h 200025"/>
                <a:gd name="connsiteX7" fmla="*/ 197644 w 200025"/>
                <a:gd name="connsiteY7" fmla="*/ 102394 h 200025"/>
                <a:gd name="connsiteX8" fmla="*/ 169736 w 200025"/>
                <a:gd name="connsiteY8" fmla="*/ 35052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0025" h="200025">
                  <a:moveTo>
                    <a:pt x="169736" y="35052"/>
                  </a:moveTo>
                  <a:cubicBezTo>
                    <a:pt x="152019" y="17336"/>
                    <a:pt x="127445" y="7144"/>
                    <a:pt x="102394" y="7144"/>
                  </a:cubicBezTo>
                  <a:cubicBezTo>
                    <a:pt x="77343" y="7144"/>
                    <a:pt x="52768" y="17336"/>
                    <a:pt x="35052" y="35052"/>
                  </a:cubicBezTo>
                  <a:cubicBezTo>
                    <a:pt x="17336" y="52769"/>
                    <a:pt x="7144" y="77343"/>
                    <a:pt x="7144" y="102394"/>
                  </a:cubicBezTo>
                  <a:cubicBezTo>
                    <a:pt x="7144" y="127445"/>
                    <a:pt x="17336" y="152019"/>
                    <a:pt x="35052" y="169736"/>
                  </a:cubicBezTo>
                  <a:cubicBezTo>
                    <a:pt x="52768" y="187452"/>
                    <a:pt x="77343" y="197644"/>
                    <a:pt x="102394" y="197644"/>
                  </a:cubicBezTo>
                  <a:cubicBezTo>
                    <a:pt x="127445" y="197644"/>
                    <a:pt x="152019" y="187462"/>
                    <a:pt x="169736" y="169736"/>
                  </a:cubicBezTo>
                  <a:cubicBezTo>
                    <a:pt x="187452" y="152019"/>
                    <a:pt x="197644" y="127445"/>
                    <a:pt x="197644" y="102394"/>
                  </a:cubicBezTo>
                  <a:cubicBezTo>
                    <a:pt x="197644" y="77343"/>
                    <a:pt x="187452" y="52769"/>
                    <a:pt x="169736" y="3505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3757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0" name="Freeform: Shape 389">
              <a:extLst>
                <a:ext uri="{FF2B5EF4-FFF2-40B4-BE49-F238E27FC236}">
                  <a16:creationId xmlns:a16="http://schemas.microsoft.com/office/drawing/2014/main" id="{02B8B5A6-E494-6043-9C4D-1BA23A633777}"/>
                </a:ext>
              </a:extLst>
            </p:cNvPr>
            <p:cNvSpPr/>
            <p:nvPr/>
          </p:nvSpPr>
          <p:spPr>
            <a:xfrm>
              <a:off x="12330929" y="5295157"/>
              <a:ext cx="200025" cy="200025"/>
            </a:xfrm>
            <a:custGeom>
              <a:avLst/>
              <a:gdLst>
                <a:gd name="connsiteX0" fmla="*/ 169736 w 200025"/>
                <a:gd name="connsiteY0" fmla="*/ 34957 h 200025"/>
                <a:gd name="connsiteX1" fmla="*/ 102394 w 200025"/>
                <a:gd name="connsiteY1" fmla="*/ 7144 h 200025"/>
                <a:gd name="connsiteX2" fmla="*/ 35052 w 200025"/>
                <a:gd name="connsiteY2" fmla="*/ 34957 h 200025"/>
                <a:gd name="connsiteX3" fmla="*/ 7144 w 200025"/>
                <a:gd name="connsiteY3" fmla="*/ 102394 h 200025"/>
                <a:gd name="connsiteX4" fmla="*/ 35052 w 200025"/>
                <a:gd name="connsiteY4" fmla="*/ 169736 h 200025"/>
                <a:gd name="connsiteX5" fmla="*/ 102394 w 200025"/>
                <a:gd name="connsiteY5" fmla="*/ 197644 h 200025"/>
                <a:gd name="connsiteX6" fmla="*/ 169736 w 200025"/>
                <a:gd name="connsiteY6" fmla="*/ 169736 h 200025"/>
                <a:gd name="connsiteX7" fmla="*/ 197644 w 200025"/>
                <a:gd name="connsiteY7" fmla="*/ 102394 h 200025"/>
                <a:gd name="connsiteX8" fmla="*/ 169736 w 200025"/>
                <a:gd name="connsiteY8" fmla="*/ 34957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0025" h="200025">
                  <a:moveTo>
                    <a:pt x="169736" y="34957"/>
                  </a:moveTo>
                  <a:cubicBezTo>
                    <a:pt x="152019" y="17240"/>
                    <a:pt x="127445" y="7144"/>
                    <a:pt x="102394" y="7144"/>
                  </a:cubicBezTo>
                  <a:cubicBezTo>
                    <a:pt x="77248" y="7144"/>
                    <a:pt x="52769" y="17240"/>
                    <a:pt x="35052" y="34957"/>
                  </a:cubicBezTo>
                  <a:cubicBezTo>
                    <a:pt x="17240" y="52769"/>
                    <a:pt x="7144" y="77248"/>
                    <a:pt x="7144" y="102394"/>
                  </a:cubicBezTo>
                  <a:cubicBezTo>
                    <a:pt x="7144" y="127445"/>
                    <a:pt x="17240" y="152019"/>
                    <a:pt x="35052" y="169736"/>
                  </a:cubicBezTo>
                  <a:cubicBezTo>
                    <a:pt x="52769" y="187442"/>
                    <a:pt x="77343" y="197644"/>
                    <a:pt x="102394" y="197644"/>
                  </a:cubicBezTo>
                  <a:cubicBezTo>
                    <a:pt x="127445" y="197644"/>
                    <a:pt x="152019" y="187452"/>
                    <a:pt x="169736" y="169736"/>
                  </a:cubicBezTo>
                  <a:cubicBezTo>
                    <a:pt x="187452" y="152019"/>
                    <a:pt x="197644" y="127445"/>
                    <a:pt x="197644" y="102394"/>
                  </a:cubicBezTo>
                  <a:cubicBezTo>
                    <a:pt x="197644" y="77343"/>
                    <a:pt x="187452" y="52769"/>
                    <a:pt x="169736" y="3495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3757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71" name="Freeform: Shape 390">
              <a:extLst>
                <a:ext uri="{FF2B5EF4-FFF2-40B4-BE49-F238E27FC236}">
                  <a16:creationId xmlns:a16="http://schemas.microsoft.com/office/drawing/2014/main" id="{E817D4B4-AC21-5449-A41C-208164D768F5}"/>
                </a:ext>
              </a:extLst>
            </p:cNvPr>
            <p:cNvSpPr/>
            <p:nvPr/>
          </p:nvSpPr>
          <p:spPr>
            <a:xfrm>
              <a:off x="11744134" y="6995528"/>
              <a:ext cx="857250" cy="1247775"/>
            </a:xfrm>
            <a:custGeom>
              <a:avLst/>
              <a:gdLst>
                <a:gd name="connsiteX0" fmla="*/ 761236 w 857250"/>
                <a:gd name="connsiteY0" fmla="*/ 1053088 h 1247775"/>
                <a:gd name="connsiteX1" fmla="*/ 575060 w 857250"/>
                <a:gd name="connsiteY1" fmla="*/ 1053088 h 1247775"/>
                <a:gd name="connsiteX2" fmla="*/ 575060 w 857250"/>
                <a:gd name="connsiteY2" fmla="*/ 102388 h 1247775"/>
                <a:gd name="connsiteX3" fmla="*/ 516262 w 857250"/>
                <a:gd name="connsiteY3" fmla="*/ 14387 h 1247775"/>
                <a:gd name="connsiteX4" fmla="*/ 412459 w 857250"/>
                <a:gd name="connsiteY4" fmla="*/ 35037 h 1247775"/>
                <a:gd name="connsiteX5" fmla="*/ 35040 w 857250"/>
                <a:gd name="connsiteY5" fmla="*/ 412455 h 1247775"/>
                <a:gd name="connsiteX6" fmla="*/ 35040 w 857250"/>
                <a:gd name="connsiteY6" fmla="*/ 547167 h 1247775"/>
                <a:gd name="connsiteX7" fmla="*/ 169743 w 857250"/>
                <a:gd name="connsiteY7" fmla="*/ 547167 h 1247775"/>
                <a:gd name="connsiteX8" fmla="*/ 384550 w 857250"/>
                <a:gd name="connsiteY8" fmla="*/ 332350 h 1247775"/>
                <a:gd name="connsiteX9" fmla="*/ 384550 w 857250"/>
                <a:gd name="connsiteY9" fmla="*/ 1053088 h 1247775"/>
                <a:gd name="connsiteX10" fmla="*/ 198375 w 857250"/>
                <a:gd name="connsiteY10" fmla="*/ 1053088 h 1247775"/>
                <a:gd name="connsiteX11" fmla="*/ 103125 w 857250"/>
                <a:gd name="connsiteY11" fmla="*/ 1148338 h 1247775"/>
                <a:gd name="connsiteX12" fmla="*/ 198375 w 857250"/>
                <a:gd name="connsiteY12" fmla="*/ 1243588 h 1247775"/>
                <a:gd name="connsiteX13" fmla="*/ 761226 w 857250"/>
                <a:gd name="connsiteY13" fmla="*/ 1243588 h 1247775"/>
                <a:gd name="connsiteX14" fmla="*/ 856476 w 857250"/>
                <a:gd name="connsiteY14" fmla="*/ 1148338 h 1247775"/>
                <a:gd name="connsiteX15" fmla="*/ 761236 w 857250"/>
                <a:gd name="connsiteY15" fmla="*/ 1053088 h 124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57250" h="1247775">
                  <a:moveTo>
                    <a:pt x="761236" y="1053088"/>
                  </a:moveTo>
                  <a:lnTo>
                    <a:pt x="575060" y="1053088"/>
                  </a:lnTo>
                  <a:lnTo>
                    <a:pt x="575060" y="102388"/>
                  </a:lnTo>
                  <a:cubicBezTo>
                    <a:pt x="575060" y="63859"/>
                    <a:pt x="551848" y="29131"/>
                    <a:pt x="516262" y="14387"/>
                  </a:cubicBezTo>
                  <a:cubicBezTo>
                    <a:pt x="480667" y="-339"/>
                    <a:pt x="439700" y="7805"/>
                    <a:pt x="412459" y="35037"/>
                  </a:cubicBezTo>
                  <a:lnTo>
                    <a:pt x="35040" y="412455"/>
                  </a:lnTo>
                  <a:cubicBezTo>
                    <a:pt x="-2155" y="449650"/>
                    <a:pt x="-2155" y="509963"/>
                    <a:pt x="35040" y="547167"/>
                  </a:cubicBezTo>
                  <a:cubicBezTo>
                    <a:pt x="72235" y="584353"/>
                    <a:pt x="132548" y="584353"/>
                    <a:pt x="169743" y="547167"/>
                  </a:cubicBezTo>
                  <a:lnTo>
                    <a:pt x="384550" y="332350"/>
                  </a:lnTo>
                  <a:lnTo>
                    <a:pt x="384550" y="1053088"/>
                  </a:lnTo>
                  <a:lnTo>
                    <a:pt x="198375" y="1053088"/>
                  </a:lnTo>
                  <a:cubicBezTo>
                    <a:pt x="145768" y="1053088"/>
                    <a:pt x="103125" y="1095741"/>
                    <a:pt x="103125" y="1148338"/>
                  </a:cubicBezTo>
                  <a:cubicBezTo>
                    <a:pt x="103125" y="1200935"/>
                    <a:pt x="145768" y="1243588"/>
                    <a:pt x="198375" y="1243588"/>
                  </a:cubicBezTo>
                  <a:lnTo>
                    <a:pt x="761226" y="1243588"/>
                  </a:lnTo>
                  <a:cubicBezTo>
                    <a:pt x="813833" y="1243588"/>
                    <a:pt x="856476" y="1200935"/>
                    <a:pt x="856476" y="1148338"/>
                  </a:cubicBezTo>
                  <a:cubicBezTo>
                    <a:pt x="856486" y="1095741"/>
                    <a:pt x="813842" y="1053088"/>
                    <a:pt x="761236" y="10530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3757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72" name="Parallelogram 71">
            <a:extLst>
              <a:ext uri="{FF2B5EF4-FFF2-40B4-BE49-F238E27FC236}">
                <a16:creationId xmlns:a16="http://schemas.microsoft.com/office/drawing/2014/main" id="{C1CC3CC3-6DFD-A945-B4FE-05D588C2F727}"/>
              </a:ext>
            </a:extLst>
          </p:cNvPr>
          <p:cNvSpPr/>
          <p:nvPr/>
        </p:nvSpPr>
        <p:spPr>
          <a:xfrm>
            <a:off x="-344283" y="3850600"/>
            <a:ext cx="7579427" cy="1152000"/>
          </a:xfrm>
          <a:prstGeom prst="parallelogram">
            <a:avLst>
              <a:gd name="adj" fmla="val 25000"/>
            </a:avLst>
          </a:prstGeom>
          <a:gradFill flip="none" rotWithShape="1">
            <a:gsLst>
              <a:gs pos="0">
                <a:schemeClr val="accent4"/>
              </a:gs>
              <a:gs pos="100000">
                <a:schemeClr val="accent3">
                  <a:lumMod val="60000"/>
                  <a:lumOff val="4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04800" cap="rnd">
            <a:gradFill flip="none" rotWithShape="1">
              <a:gsLst>
                <a:gs pos="0">
                  <a:schemeClr val="accent4"/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8CA0608E-7ADA-7A44-912F-10EC71CF58BA}"/>
              </a:ext>
            </a:extLst>
          </p:cNvPr>
          <p:cNvSpPr/>
          <p:nvPr/>
        </p:nvSpPr>
        <p:spPr>
          <a:xfrm>
            <a:off x="1278042" y="4072657"/>
            <a:ext cx="5717865" cy="707886"/>
          </a:xfrm>
          <a:prstGeom prst="rect">
            <a:avLst/>
          </a:prstGeom>
        </p:spPr>
        <p:txBody>
          <a:bodyPr wrap="square" lIns="91440" tIns="45720" rIns="91440" bIns="45720" anchor="ctr">
            <a:sp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CA exists to place </a:t>
            </a:r>
            <a:r>
              <a:rPr kumimoji="0" lang="en-CH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he voice of </a:t>
            </a: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lubs at the </a:t>
            </a: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eart of Football</a:t>
            </a:r>
          </a:p>
        </p:txBody>
      </p:sp>
      <p:sp>
        <p:nvSpPr>
          <p:cNvPr id="74" name="Parallelogram 73">
            <a:extLst>
              <a:ext uri="{FF2B5EF4-FFF2-40B4-BE49-F238E27FC236}">
                <a16:creationId xmlns:a16="http://schemas.microsoft.com/office/drawing/2014/main" id="{5F2F1BE9-FCEF-834B-ACD3-F688B2E02AA3}"/>
              </a:ext>
            </a:extLst>
          </p:cNvPr>
          <p:cNvSpPr/>
          <p:nvPr/>
        </p:nvSpPr>
        <p:spPr>
          <a:xfrm>
            <a:off x="-344283" y="5329298"/>
            <a:ext cx="7236000" cy="1152000"/>
          </a:xfrm>
          <a:prstGeom prst="parallelogram">
            <a:avLst>
              <a:gd name="adj" fmla="val 25000"/>
            </a:avLst>
          </a:prstGeom>
          <a:gradFill flip="none" rotWithShape="1">
            <a:gsLst>
              <a:gs pos="0">
                <a:schemeClr val="accent4"/>
              </a:gs>
              <a:gs pos="100000">
                <a:schemeClr val="accent3">
                  <a:lumMod val="60000"/>
                  <a:lumOff val="4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304800" cap="rnd">
            <a:gradFill flip="none" rotWithShape="1">
              <a:gsLst>
                <a:gs pos="0">
                  <a:schemeClr val="accent4"/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231EF327-D0AE-A941-8925-607DDC529672}"/>
              </a:ext>
            </a:extLst>
          </p:cNvPr>
          <p:cNvSpPr/>
          <p:nvPr/>
        </p:nvSpPr>
        <p:spPr>
          <a:xfrm>
            <a:off x="1278042" y="5551355"/>
            <a:ext cx="4772240" cy="70788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CA Member Clubs from 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55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National Associations across Europe</a:t>
            </a:r>
          </a:p>
        </p:txBody>
      </p:sp>
      <p:grpSp>
        <p:nvGrpSpPr>
          <p:cNvPr id="78" name="Graphic 25">
            <a:extLst>
              <a:ext uri="{FF2B5EF4-FFF2-40B4-BE49-F238E27FC236}">
                <a16:creationId xmlns:a16="http://schemas.microsoft.com/office/drawing/2014/main" id="{8CC7D373-DEF6-7540-A5FB-0E6D70BB419A}"/>
              </a:ext>
            </a:extLst>
          </p:cNvPr>
          <p:cNvGrpSpPr/>
          <p:nvPr/>
        </p:nvGrpSpPr>
        <p:grpSpPr>
          <a:xfrm>
            <a:off x="302146" y="4165967"/>
            <a:ext cx="516447" cy="516447"/>
            <a:chOff x="9750425" y="4419600"/>
            <a:chExt cx="4876800" cy="4876800"/>
          </a:xfrm>
          <a:solidFill>
            <a:schemeClr val="bg1"/>
          </a:solidFill>
        </p:grpSpPr>
        <p:sp>
          <p:nvSpPr>
            <p:cNvPr id="79" name="Freeform: Shape 179">
              <a:extLst>
                <a:ext uri="{FF2B5EF4-FFF2-40B4-BE49-F238E27FC236}">
                  <a16:creationId xmlns:a16="http://schemas.microsoft.com/office/drawing/2014/main" id="{2E7EC26A-ED89-DA47-A14E-6C0915C7B9D8}"/>
                </a:ext>
              </a:extLst>
            </p:cNvPr>
            <p:cNvSpPr/>
            <p:nvPr/>
          </p:nvSpPr>
          <p:spPr>
            <a:xfrm>
              <a:off x="9743281" y="4414533"/>
              <a:ext cx="4886325" cy="3248025"/>
            </a:xfrm>
            <a:custGeom>
              <a:avLst/>
              <a:gdLst>
                <a:gd name="connsiteX0" fmla="*/ 4388025 w 4886325"/>
                <a:gd name="connsiteY0" fmla="*/ 7144 h 3248025"/>
                <a:gd name="connsiteX1" fmla="*/ 503053 w 4886325"/>
                <a:gd name="connsiteY1" fmla="*/ 7144 h 3248025"/>
                <a:gd name="connsiteX2" fmla="*/ 7144 w 4886325"/>
                <a:gd name="connsiteY2" fmla="*/ 503053 h 3248025"/>
                <a:gd name="connsiteX3" fmla="*/ 7144 w 4886325"/>
                <a:gd name="connsiteY3" fmla="*/ 3147736 h 3248025"/>
                <a:gd name="connsiteX4" fmla="*/ 102318 w 4886325"/>
                <a:gd name="connsiteY4" fmla="*/ 3242910 h 3248025"/>
                <a:gd name="connsiteX5" fmla="*/ 486728 w 4886325"/>
                <a:gd name="connsiteY5" fmla="*/ 3242910 h 3248025"/>
                <a:gd name="connsiteX6" fmla="*/ 487032 w 4886325"/>
                <a:gd name="connsiteY6" fmla="*/ 3242929 h 3248025"/>
                <a:gd name="connsiteX7" fmla="*/ 487309 w 4886325"/>
                <a:gd name="connsiteY7" fmla="*/ 3242910 h 3248025"/>
                <a:gd name="connsiteX8" fmla="*/ 1255605 w 4886325"/>
                <a:gd name="connsiteY8" fmla="*/ 3242910 h 3248025"/>
                <a:gd name="connsiteX9" fmla="*/ 1350778 w 4886325"/>
                <a:gd name="connsiteY9" fmla="*/ 3147736 h 3248025"/>
                <a:gd name="connsiteX10" fmla="*/ 1255605 w 4886325"/>
                <a:gd name="connsiteY10" fmla="*/ 3052563 h 3248025"/>
                <a:gd name="connsiteX11" fmla="*/ 646843 w 4886325"/>
                <a:gd name="connsiteY11" fmla="*/ 3052563 h 3248025"/>
                <a:gd name="connsiteX12" fmla="*/ 1141324 w 4886325"/>
                <a:gd name="connsiteY12" fmla="*/ 2138934 h 3248025"/>
                <a:gd name="connsiteX13" fmla="*/ 1179595 w 4886325"/>
                <a:gd name="connsiteY13" fmla="*/ 2138934 h 3248025"/>
                <a:gd name="connsiteX14" fmla="*/ 1179795 w 4886325"/>
                <a:gd name="connsiteY14" fmla="*/ 2138944 h 3248025"/>
                <a:gd name="connsiteX15" fmla="*/ 1179995 w 4886325"/>
                <a:gd name="connsiteY15" fmla="*/ 2138934 h 3248025"/>
                <a:gd name="connsiteX16" fmla="*/ 2078965 w 4886325"/>
                <a:gd name="connsiteY16" fmla="*/ 2138934 h 3248025"/>
                <a:gd name="connsiteX17" fmla="*/ 2079165 w 4886325"/>
                <a:gd name="connsiteY17" fmla="*/ 2138944 h 3248025"/>
                <a:gd name="connsiteX18" fmla="*/ 2079365 w 4886325"/>
                <a:gd name="connsiteY18" fmla="*/ 2138934 h 3248025"/>
                <a:gd name="connsiteX19" fmla="*/ 2811761 w 4886325"/>
                <a:gd name="connsiteY19" fmla="*/ 2138934 h 3248025"/>
                <a:gd name="connsiteX20" fmla="*/ 2811961 w 4886325"/>
                <a:gd name="connsiteY20" fmla="*/ 2138944 h 3248025"/>
                <a:gd name="connsiteX21" fmla="*/ 2812161 w 4886325"/>
                <a:gd name="connsiteY21" fmla="*/ 2138934 h 3248025"/>
                <a:gd name="connsiteX22" fmla="*/ 3711131 w 4886325"/>
                <a:gd name="connsiteY22" fmla="*/ 2138934 h 3248025"/>
                <a:gd name="connsiteX23" fmla="*/ 3711331 w 4886325"/>
                <a:gd name="connsiteY23" fmla="*/ 2138944 h 3248025"/>
                <a:gd name="connsiteX24" fmla="*/ 3711531 w 4886325"/>
                <a:gd name="connsiteY24" fmla="*/ 2138934 h 3248025"/>
                <a:gd name="connsiteX25" fmla="*/ 3749802 w 4886325"/>
                <a:gd name="connsiteY25" fmla="*/ 2138934 h 3248025"/>
                <a:gd name="connsiteX26" fmla="*/ 4244283 w 4886325"/>
                <a:gd name="connsiteY26" fmla="*/ 3052563 h 3248025"/>
                <a:gd name="connsiteX27" fmla="*/ 3635521 w 4886325"/>
                <a:gd name="connsiteY27" fmla="*/ 3052563 h 3248025"/>
                <a:gd name="connsiteX28" fmla="*/ 3540347 w 4886325"/>
                <a:gd name="connsiteY28" fmla="*/ 3147736 h 3248025"/>
                <a:gd name="connsiteX29" fmla="*/ 3635521 w 4886325"/>
                <a:gd name="connsiteY29" fmla="*/ 3242910 h 3248025"/>
                <a:gd name="connsiteX30" fmla="*/ 4403817 w 4886325"/>
                <a:gd name="connsiteY30" fmla="*/ 3242910 h 3248025"/>
                <a:gd name="connsiteX31" fmla="*/ 4404094 w 4886325"/>
                <a:gd name="connsiteY31" fmla="*/ 3242929 h 3248025"/>
                <a:gd name="connsiteX32" fmla="*/ 4404398 w 4886325"/>
                <a:gd name="connsiteY32" fmla="*/ 3242910 h 3248025"/>
                <a:gd name="connsiteX33" fmla="*/ 4788818 w 4886325"/>
                <a:gd name="connsiteY33" fmla="*/ 3242910 h 3248025"/>
                <a:gd name="connsiteX34" fmla="*/ 4799829 w 4886325"/>
                <a:gd name="connsiteY34" fmla="*/ 3242224 h 3248025"/>
                <a:gd name="connsiteX35" fmla="*/ 4883992 w 4886325"/>
                <a:gd name="connsiteY35" fmla="*/ 3147736 h 3248025"/>
                <a:gd name="connsiteX36" fmla="*/ 4883992 w 4886325"/>
                <a:gd name="connsiteY36" fmla="*/ 503053 h 3248025"/>
                <a:gd name="connsiteX37" fmla="*/ 4388025 w 4886325"/>
                <a:gd name="connsiteY37" fmla="*/ 7144 h 3248025"/>
                <a:gd name="connsiteX38" fmla="*/ 989457 w 4886325"/>
                <a:gd name="connsiteY38" fmla="*/ 1265558 h 3248025"/>
                <a:gd name="connsiteX39" fmla="*/ 989457 w 4886325"/>
                <a:gd name="connsiteY39" fmla="*/ 1265653 h 3248025"/>
                <a:gd name="connsiteX40" fmla="*/ 989457 w 4886325"/>
                <a:gd name="connsiteY40" fmla="*/ 1268482 h 3248025"/>
                <a:gd name="connsiteX41" fmla="*/ 989457 w 4886325"/>
                <a:gd name="connsiteY41" fmla="*/ 1268578 h 3248025"/>
                <a:gd name="connsiteX42" fmla="*/ 989457 w 4886325"/>
                <a:gd name="connsiteY42" fmla="*/ 2019653 h 3248025"/>
                <a:gd name="connsiteX43" fmla="*/ 582292 w 4886325"/>
                <a:gd name="connsiteY43" fmla="*/ 2771937 h 3248025"/>
                <a:gd name="connsiteX44" fmla="*/ 582292 w 4886325"/>
                <a:gd name="connsiteY44" fmla="*/ 582273 h 3248025"/>
                <a:gd name="connsiteX45" fmla="*/ 989457 w 4886325"/>
                <a:gd name="connsiteY45" fmla="*/ 582273 h 3248025"/>
                <a:gd name="connsiteX46" fmla="*/ 989457 w 4886325"/>
                <a:gd name="connsiteY46" fmla="*/ 1265558 h 3248025"/>
                <a:gd name="connsiteX47" fmla="*/ 1179795 w 4886325"/>
                <a:gd name="connsiteY47" fmla="*/ 1909182 h 3248025"/>
                <a:gd name="connsiteX48" fmla="*/ 1179795 w 4886325"/>
                <a:gd name="connsiteY48" fmla="*/ 1498302 h 3248025"/>
                <a:gd name="connsiteX49" fmla="*/ 1385240 w 4886325"/>
                <a:gd name="connsiteY49" fmla="*/ 1703746 h 3248025"/>
                <a:gd name="connsiteX50" fmla="*/ 1179795 w 4886325"/>
                <a:gd name="connsiteY50" fmla="*/ 1909182 h 3248025"/>
                <a:gd name="connsiteX51" fmla="*/ 1559204 w 4886325"/>
                <a:gd name="connsiteY51" fmla="*/ 925621 h 3248025"/>
                <a:gd name="connsiteX52" fmla="*/ 1861271 w 4886325"/>
                <a:gd name="connsiteY52" fmla="*/ 1227696 h 3248025"/>
                <a:gd name="connsiteX53" fmla="*/ 1519819 w 4886325"/>
                <a:gd name="connsiteY53" fmla="*/ 1569148 h 3248025"/>
                <a:gd name="connsiteX54" fmla="*/ 1217752 w 4886325"/>
                <a:gd name="connsiteY54" fmla="*/ 1267073 h 3248025"/>
                <a:gd name="connsiteX55" fmla="*/ 1559204 w 4886325"/>
                <a:gd name="connsiteY55" fmla="*/ 925621 h 3248025"/>
                <a:gd name="connsiteX56" fmla="*/ 1485024 w 4886325"/>
                <a:gd name="connsiteY56" fmla="*/ 582273 h 3248025"/>
                <a:gd name="connsiteX57" fmla="*/ 1633347 w 4886325"/>
                <a:gd name="connsiteY57" fmla="*/ 582273 h 3248025"/>
                <a:gd name="connsiteX58" fmla="*/ 1559195 w 4886325"/>
                <a:gd name="connsiteY58" fmla="*/ 656434 h 3248025"/>
                <a:gd name="connsiteX59" fmla="*/ 1485024 w 4886325"/>
                <a:gd name="connsiteY59" fmla="*/ 582273 h 3248025"/>
                <a:gd name="connsiteX60" fmla="*/ 2445544 w 4886325"/>
                <a:gd name="connsiteY60" fmla="*/ 912609 h 3248025"/>
                <a:gd name="connsiteX61" fmla="*/ 2760631 w 4886325"/>
                <a:gd name="connsiteY61" fmla="*/ 1227696 h 3248025"/>
                <a:gd name="connsiteX62" fmla="*/ 2445544 w 4886325"/>
                <a:gd name="connsiteY62" fmla="*/ 1542783 h 3248025"/>
                <a:gd name="connsiteX63" fmla="*/ 2130457 w 4886325"/>
                <a:gd name="connsiteY63" fmla="*/ 1227696 h 3248025"/>
                <a:gd name="connsiteX64" fmla="*/ 2445544 w 4886325"/>
                <a:gd name="connsiteY64" fmla="*/ 912609 h 3248025"/>
                <a:gd name="connsiteX65" fmla="*/ 2384393 w 4886325"/>
                <a:gd name="connsiteY65" fmla="*/ 582282 h 3248025"/>
                <a:gd name="connsiteX66" fmla="*/ 2506695 w 4886325"/>
                <a:gd name="connsiteY66" fmla="*/ 582282 h 3248025"/>
                <a:gd name="connsiteX67" fmla="*/ 2445544 w 4886325"/>
                <a:gd name="connsiteY67" fmla="*/ 643423 h 3248025"/>
                <a:gd name="connsiteX68" fmla="*/ 2384393 w 4886325"/>
                <a:gd name="connsiteY68" fmla="*/ 582282 h 3248025"/>
                <a:gd name="connsiteX69" fmla="*/ 3331874 w 4886325"/>
                <a:gd name="connsiteY69" fmla="*/ 925621 h 3248025"/>
                <a:gd name="connsiteX70" fmla="*/ 3673326 w 4886325"/>
                <a:gd name="connsiteY70" fmla="*/ 1267073 h 3248025"/>
                <a:gd name="connsiteX71" fmla="*/ 3371259 w 4886325"/>
                <a:gd name="connsiteY71" fmla="*/ 1569148 h 3248025"/>
                <a:gd name="connsiteX72" fmla="*/ 3029807 w 4886325"/>
                <a:gd name="connsiteY72" fmla="*/ 1227696 h 3248025"/>
                <a:gd name="connsiteX73" fmla="*/ 3331874 w 4886325"/>
                <a:gd name="connsiteY73" fmla="*/ 925621 h 3248025"/>
                <a:gd name="connsiteX74" fmla="*/ 3257731 w 4886325"/>
                <a:gd name="connsiteY74" fmla="*/ 582273 h 3248025"/>
                <a:gd name="connsiteX75" fmla="*/ 3406054 w 4886325"/>
                <a:gd name="connsiteY75" fmla="*/ 582273 h 3248025"/>
                <a:gd name="connsiteX76" fmla="*/ 3331893 w 4886325"/>
                <a:gd name="connsiteY76" fmla="*/ 656434 h 3248025"/>
                <a:gd name="connsiteX77" fmla="*/ 3257731 w 4886325"/>
                <a:gd name="connsiteY77" fmla="*/ 582273 h 3248025"/>
                <a:gd name="connsiteX78" fmla="*/ 2895219 w 4886325"/>
                <a:gd name="connsiteY78" fmla="*/ 1093099 h 3248025"/>
                <a:gd name="connsiteX79" fmla="*/ 2580132 w 4886325"/>
                <a:gd name="connsiteY79" fmla="*/ 778012 h 3248025"/>
                <a:gd name="connsiteX80" fmla="*/ 2775880 w 4886325"/>
                <a:gd name="connsiteY80" fmla="*/ 582263 h 3248025"/>
                <a:gd name="connsiteX81" fmla="*/ 2988535 w 4886325"/>
                <a:gd name="connsiteY81" fmla="*/ 582263 h 3248025"/>
                <a:gd name="connsiteX82" fmla="*/ 3197285 w 4886325"/>
                <a:gd name="connsiteY82" fmla="*/ 791013 h 3248025"/>
                <a:gd name="connsiteX83" fmla="*/ 2895219 w 4886325"/>
                <a:gd name="connsiteY83" fmla="*/ 1093099 h 3248025"/>
                <a:gd name="connsiteX84" fmla="*/ 1995868 w 4886325"/>
                <a:gd name="connsiteY84" fmla="*/ 1093099 h 3248025"/>
                <a:gd name="connsiteX85" fmla="*/ 1693802 w 4886325"/>
                <a:gd name="connsiteY85" fmla="*/ 791023 h 3248025"/>
                <a:gd name="connsiteX86" fmla="*/ 1902552 w 4886325"/>
                <a:gd name="connsiteY86" fmla="*/ 582273 h 3248025"/>
                <a:gd name="connsiteX87" fmla="*/ 2115207 w 4886325"/>
                <a:gd name="connsiteY87" fmla="*/ 582273 h 3248025"/>
                <a:gd name="connsiteX88" fmla="*/ 2310956 w 4886325"/>
                <a:gd name="connsiteY88" fmla="*/ 778021 h 3248025"/>
                <a:gd name="connsiteX89" fmla="*/ 1995868 w 4886325"/>
                <a:gd name="connsiteY89" fmla="*/ 1093099 h 3248025"/>
                <a:gd name="connsiteX90" fmla="*/ 1179795 w 4886325"/>
                <a:gd name="connsiteY90" fmla="*/ 1035834 h 3248025"/>
                <a:gd name="connsiteX91" fmla="*/ 1179795 w 4886325"/>
                <a:gd name="connsiteY91" fmla="*/ 582273 h 3248025"/>
                <a:gd name="connsiteX92" fmla="*/ 1215857 w 4886325"/>
                <a:gd name="connsiteY92" fmla="*/ 582273 h 3248025"/>
                <a:gd name="connsiteX93" fmla="*/ 1424607 w 4886325"/>
                <a:gd name="connsiteY93" fmla="*/ 791023 h 3248025"/>
                <a:gd name="connsiteX94" fmla="*/ 1179795 w 4886325"/>
                <a:gd name="connsiteY94" fmla="*/ 1035834 h 3248025"/>
                <a:gd name="connsiteX95" fmla="*/ 1409557 w 4886325"/>
                <a:gd name="connsiteY95" fmla="*/ 1948596 h 3248025"/>
                <a:gd name="connsiteX96" fmla="*/ 1519819 w 4886325"/>
                <a:gd name="connsiteY96" fmla="*/ 1838335 h 3248025"/>
                <a:gd name="connsiteX97" fmla="*/ 1630080 w 4886325"/>
                <a:gd name="connsiteY97" fmla="*/ 1948596 h 3248025"/>
                <a:gd name="connsiteX98" fmla="*/ 1409557 w 4886325"/>
                <a:gd name="connsiteY98" fmla="*/ 1948596 h 3248025"/>
                <a:gd name="connsiteX99" fmla="*/ 2039731 w 4886325"/>
                <a:gd name="connsiteY99" fmla="*/ 1948587 h 3248025"/>
                <a:gd name="connsiteX100" fmla="*/ 1899276 w 4886325"/>
                <a:gd name="connsiteY100" fmla="*/ 1948587 h 3248025"/>
                <a:gd name="connsiteX101" fmla="*/ 1899276 w 4886325"/>
                <a:gd name="connsiteY101" fmla="*/ 1948596 h 3248025"/>
                <a:gd name="connsiteX102" fmla="*/ 1654416 w 4886325"/>
                <a:gd name="connsiteY102" fmla="*/ 1703737 h 3248025"/>
                <a:gd name="connsiteX103" fmla="*/ 1995868 w 4886325"/>
                <a:gd name="connsiteY103" fmla="*/ 1362285 h 3248025"/>
                <a:gd name="connsiteX104" fmla="*/ 2310956 w 4886325"/>
                <a:gd name="connsiteY104" fmla="*/ 1677372 h 3248025"/>
                <a:gd name="connsiteX105" fmla="*/ 2039731 w 4886325"/>
                <a:gd name="connsiteY105" fmla="*/ 1948587 h 3248025"/>
                <a:gd name="connsiteX106" fmla="*/ 2308917 w 4886325"/>
                <a:gd name="connsiteY106" fmla="*/ 1948596 h 3248025"/>
                <a:gd name="connsiteX107" fmla="*/ 2445544 w 4886325"/>
                <a:gd name="connsiteY107" fmla="*/ 1811969 h 3248025"/>
                <a:gd name="connsiteX108" fmla="*/ 2582170 w 4886325"/>
                <a:gd name="connsiteY108" fmla="*/ 1948596 h 3248025"/>
                <a:gd name="connsiteX109" fmla="*/ 2308917 w 4886325"/>
                <a:gd name="connsiteY109" fmla="*/ 1948596 h 3248025"/>
                <a:gd name="connsiteX110" fmla="*/ 2991803 w 4886325"/>
                <a:gd name="connsiteY110" fmla="*/ 1948606 h 3248025"/>
                <a:gd name="connsiteX111" fmla="*/ 2851347 w 4886325"/>
                <a:gd name="connsiteY111" fmla="*/ 1948606 h 3248025"/>
                <a:gd name="connsiteX112" fmla="*/ 2851347 w 4886325"/>
                <a:gd name="connsiteY112" fmla="*/ 1948596 h 3248025"/>
                <a:gd name="connsiteX113" fmla="*/ 2580132 w 4886325"/>
                <a:gd name="connsiteY113" fmla="*/ 1677381 h 3248025"/>
                <a:gd name="connsiteX114" fmla="*/ 2895219 w 4886325"/>
                <a:gd name="connsiteY114" fmla="*/ 1362294 h 3248025"/>
                <a:gd name="connsiteX115" fmla="*/ 3236671 w 4886325"/>
                <a:gd name="connsiteY115" fmla="*/ 1703746 h 3248025"/>
                <a:gd name="connsiteX116" fmla="*/ 2991803 w 4886325"/>
                <a:gd name="connsiteY116" fmla="*/ 1948606 h 3248025"/>
                <a:gd name="connsiteX117" fmla="*/ 3260998 w 4886325"/>
                <a:gd name="connsiteY117" fmla="*/ 1948596 h 3248025"/>
                <a:gd name="connsiteX118" fmla="*/ 3371259 w 4886325"/>
                <a:gd name="connsiteY118" fmla="*/ 1838335 h 3248025"/>
                <a:gd name="connsiteX119" fmla="*/ 3481521 w 4886325"/>
                <a:gd name="connsiteY119" fmla="*/ 1948596 h 3248025"/>
                <a:gd name="connsiteX120" fmla="*/ 3260998 w 4886325"/>
                <a:gd name="connsiteY120" fmla="*/ 1948596 h 3248025"/>
                <a:gd name="connsiteX121" fmla="*/ 3711292 w 4886325"/>
                <a:gd name="connsiteY121" fmla="*/ 1909182 h 3248025"/>
                <a:gd name="connsiteX122" fmla="*/ 3505848 w 4886325"/>
                <a:gd name="connsiteY122" fmla="*/ 1703737 h 3248025"/>
                <a:gd name="connsiteX123" fmla="*/ 3711292 w 4886325"/>
                <a:gd name="connsiteY123" fmla="*/ 1498292 h 3248025"/>
                <a:gd name="connsiteX124" fmla="*/ 3711292 w 4886325"/>
                <a:gd name="connsiteY124" fmla="*/ 1909182 h 3248025"/>
                <a:gd name="connsiteX125" fmla="*/ 3711292 w 4886325"/>
                <a:gd name="connsiteY125" fmla="*/ 1035844 h 3248025"/>
                <a:gd name="connsiteX126" fmla="*/ 3466481 w 4886325"/>
                <a:gd name="connsiteY126" fmla="*/ 791032 h 3248025"/>
                <a:gd name="connsiteX127" fmla="*/ 3675240 w 4886325"/>
                <a:gd name="connsiteY127" fmla="*/ 582282 h 3248025"/>
                <a:gd name="connsiteX128" fmla="*/ 3711302 w 4886325"/>
                <a:gd name="connsiteY128" fmla="*/ 582282 h 3248025"/>
                <a:gd name="connsiteX129" fmla="*/ 3711302 w 4886325"/>
                <a:gd name="connsiteY129" fmla="*/ 1035844 h 3248025"/>
                <a:gd name="connsiteX130" fmla="*/ 4308796 w 4886325"/>
                <a:gd name="connsiteY130" fmla="*/ 2771947 h 3248025"/>
                <a:gd name="connsiteX131" fmla="*/ 3901631 w 4886325"/>
                <a:gd name="connsiteY131" fmla="*/ 2019662 h 3248025"/>
                <a:gd name="connsiteX132" fmla="*/ 3901631 w 4886325"/>
                <a:gd name="connsiteY132" fmla="*/ 1268587 h 3248025"/>
                <a:gd name="connsiteX133" fmla="*/ 3901631 w 4886325"/>
                <a:gd name="connsiteY133" fmla="*/ 1268492 h 3248025"/>
                <a:gd name="connsiteX134" fmla="*/ 3901631 w 4886325"/>
                <a:gd name="connsiteY134" fmla="*/ 1265663 h 3248025"/>
                <a:gd name="connsiteX135" fmla="*/ 3901631 w 4886325"/>
                <a:gd name="connsiteY135" fmla="*/ 1265568 h 3248025"/>
                <a:gd name="connsiteX136" fmla="*/ 3901631 w 4886325"/>
                <a:gd name="connsiteY136" fmla="*/ 582273 h 3248025"/>
                <a:gd name="connsiteX137" fmla="*/ 4308796 w 4886325"/>
                <a:gd name="connsiteY137" fmla="*/ 582273 h 3248025"/>
                <a:gd name="connsiteX138" fmla="*/ 4308796 w 4886325"/>
                <a:gd name="connsiteY138" fmla="*/ 2771947 h 3248025"/>
                <a:gd name="connsiteX139" fmla="*/ 4693596 w 4886325"/>
                <a:gd name="connsiteY139" fmla="*/ 3052563 h 3248025"/>
                <a:gd name="connsiteX140" fmla="*/ 4499134 w 4886325"/>
                <a:gd name="connsiteY140" fmla="*/ 3052563 h 3248025"/>
                <a:gd name="connsiteX141" fmla="*/ 4499134 w 4886325"/>
                <a:gd name="connsiteY141" fmla="*/ 487099 h 3248025"/>
                <a:gd name="connsiteX142" fmla="*/ 4403960 w 4886325"/>
                <a:gd name="connsiteY142" fmla="*/ 391925 h 3248025"/>
                <a:gd name="connsiteX143" fmla="*/ 487118 w 4886325"/>
                <a:gd name="connsiteY143" fmla="*/ 391925 h 3248025"/>
                <a:gd name="connsiteX144" fmla="*/ 391944 w 4886325"/>
                <a:gd name="connsiteY144" fmla="*/ 487099 h 3248025"/>
                <a:gd name="connsiteX145" fmla="*/ 391944 w 4886325"/>
                <a:gd name="connsiteY145" fmla="*/ 3052553 h 3248025"/>
                <a:gd name="connsiteX146" fmla="*/ 197482 w 4886325"/>
                <a:gd name="connsiteY146" fmla="*/ 3052553 h 3248025"/>
                <a:gd name="connsiteX147" fmla="*/ 197482 w 4886325"/>
                <a:gd name="connsiteY147" fmla="*/ 503053 h 3248025"/>
                <a:gd name="connsiteX148" fmla="*/ 503053 w 4886325"/>
                <a:gd name="connsiteY148" fmla="*/ 197482 h 3248025"/>
                <a:gd name="connsiteX149" fmla="*/ 4388025 w 4886325"/>
                <a:gd name="connsiteY149" fmla="*/ 197482 h 3248025"/>
                <a:gd name="connsiteX150" fmla="*/ 4693596 w 4886325"/>
                <a:gd name="connsiteY150" fmla="*/ 503053 h 3248025"/>
                <a:gd name="connsiteX151" fmla="*/ 4693596 w 4886325"/>
                <a:gd name="connsiteY151" fmla="*/ 3052563 h 3248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</a:cxnLst>
              <a:rect l="l" t="t" r="r" b="b"/>
              <a:pathLst>
                <a:path w="4886325" h="3248025">
                  <a:moveTo>
                    <a:pt x="4388025" y="7144"/>
                  </a:moveTo>
                  <a:lnTo>
                    <a:pt x="503053" y="7144"/>
                  </a:lnTo>
                  <a:cubicBezTo>
                    <a:pt x="229610" y="7144"/>
                    <a:pt x="7144" y="229600"/>
                    <a:pt x="7144" y="503053"/>
                  </a:cubicBezTo>
                  <a:lnTo>
                    <a:pt x="7144" y="3147736"/>
                  </a:lnTo>
                  <a:cubicBezTo>
                    <a:pt x="7144" y="3200295"/>
                    <a:pt x="49759" y="3242910"/>
                    <a:pt x="102318" y="3242910"/>
                  </a:cubicBezTo>
                  <a:lnTo>
                    <a:pt x="486728" y="3242910"/>
                  </a:lnTo>
                  <a:cubicBezTo>
                    <a:pt x="486823" y="3242910"/>
                    <a:pt x="486928" y="3242929"/>
                    <a:pt x="487032" y="3242929"/>
                  </a:cubicBezTo>
                  <a:cubicBezTo>
                    <a:pt x="487128" y="3242929"/>
                    <a:pt x="487223" y="3242910"/>
                    <a:pt x="487309" y="3242910"/>
                  </a:cubicBezTo>
                  <a:lnTo>
                    <a:pt x="1255605" y="3242910"/>
                  </a:lnTo>
                  <a:cubicBezTo>
                    <a:pt x="1308154" y="3242910"/>
                    <a:pt x="1350778" y="3200305"/>
                    <a:pt x="1350778" y="3147736"/>
                  </a:cubicBezTo>
                  <a:cubicBezTo>
                    <a:pt x="1350778" y="3095168"/>
                    <a:pt x="1308164" y="3052563"/>
                    <a:pt x="1255605" y="3052563"/>
                  </a:cubicBezTo>
                  <a:lnTo>
                    <a:pt x="646843" y="3052563"/>
                  </a:lnTo>
                  <a:lnTo>
                    <a:pt x="1141324" y="2138934"/>
                  </a:lnTo>
                  <a:lnTo>
                    <a:pt x="1179595" y="2138934"/>
                  </a:lnTo>
                  <a:cubicBezTo>
                    <a:pt x="1179662" y="2138934"/>
                    <a:pt x="1179728" y="2138944"/>
                    <a:pt x="1179795" y="2138944"/>
                  </a:cubicBezTo>
                  <a:cubicBezTo>
                    <a:pt x="1179862" y="2138944"/>
                    <a:pt x="1179928" y="2138934"/>
                    <a:pt x="1179995" y="2138934"/>
                  </a:cubicBezTo>
                  <a:lnTo>
                    <a:pt x="2078965" y="2138934"/>
                  </a:lnTo>
                  <a:cubicBezTo>
                    <a:pt x="2079031" y="2138934"/>
                    <a:pt x="2079098" y="2138944"/>
                    <a:pt x="2079165" y="2138944"/>
                  </a:cubicBezTo>
                  <a:cubicBezTo>
                    <a:pt x="2079231" y="2138944"/>
                    <a:pt x="2079298" y="2138934"/>
                    <a:pt x="2079365" y="2138934"/>
                  </a:cubicBezTo>
                  <a:lnTo>
                    <a:pt x="2811761" y="2138934"/>
                  </a:lnTo>
                  <a:cubicBezTo>
                    <a:pt x="2811828" y="2138934"/>
                    <a:pt x="2811894" y="2138944"/>
                    <a:pt x="2811961" y="2138944"/>
                  </a:cubicBezTo>
                  <a:cubicBezTo>
                    <a:pt x="2812028" y="2138944"/>
                    <a:pt x="2812094" y="2138934"/>
                    <a:pt x="2812161" y="2138934"/>
                  </a:cubicBezTo>
                  <a:lnTo>
                    <a:pt x="3711131" y="2138934"/>
                  </a:lnTo>
                  <a:cubicBezTo>
                    <a:pt x="3711197" y="2138934"/>
                    <a:pt x="3711264" y="2138944"/>
                    <a:pt x="3711331" y="2138944"/>
                  </a:cubicBezTo>
                  <a:cubicBezTo>
                    <a:pt x="3711397" y="2138944"/>
                    <a:pt x="3711464" y="2138934"/>
                    <a:pt x="3711531" y="2138934"/>
                  </a:cubicBezTo>
                  <a:lnTo>
                    <a:pt x="3749802" y="2138934"/>
                  </a:lnTo>
                  <a:lnTo>
                    <a:pt x="4244283" y="3052563"/>
                  </a:lnTo>
                  <a:lnTo>
                    <a:pt x="3635521" y="3052563"/>
                  </a:lnTo>
                  <a:cubicBezTo>
                    <a:pt x="3582972" y="3052563"/>
                    <a:pt x="3540347" y="3095168"/>
                    <a:pt x="3540347" y="3147736"/>
                  </a:cubicBezTo>
                  <a:cubicBezTo>
                    <a:pt x="3540347" y="3200305"/>
                    <a:pt x="3582962" y="3242910"/>
                    <a:pt x="3635521" y="3242910"/>
                  </a:cubicBezTo>
                  <a:lnTo>
                    <a:pt x="4403817" y="3242910"/>
                  </a:lnTo>
                  <a:cubicBezTo>
                    <a:pt x="4403913" y="3242910"/>
                    <a:pt x="4404008" y="3242929"/>
                    <a:pt x="4404094" y="3242929"/>
                  </a:cubicBezTo>
                  <a:cubicBezTo>
                    <a:pt x="4404198" y="3242929"/>
                    <a:pt x="4404294" y="3242910"/>
                    <a:pt x="4404398" y="3242910"/>
                  </a:cubicBezTo>
                  <a:lnTo>
                    <a:pt x="4788818" y="3242910"/>
                  </a:lnTo>
                  <a:cubicBezTo>
                    <a:pt x="4795419" y="3242910"/>
                    <a:pt x="4798857" y="3242701"/>
                    <a:pt x="4799829" y="3242224"/>
                  </a:cubicBezTo>
                  <a:cubicBezTo>
                    <a:pt x="4847197" y="3236757"/>
                    <a:pt x="4883992" y="3196571"/>
                    <a:pt x="4883992" y="3147736"/>
                  </a:cubicBezTo>
                  <a:lnTo>
                    <a:pt x="4883992" y="503053"/>
                  </a:lnTo>
                  <a:cubicBezTo>
                    <a:pt x="4883944" y="229600"/>
                    <a:pt x="4661478" y="7144"/>
                    <a:pt x="4388025" y="7144"/>
                  </a:cubicBezTo>
                  <a:close/>
                  <a:moveTo>
                    <a:pt x="989457" y="1265558"/>
                  </a:moveTo>
                  <a:cubicBezTo>
                    <a:pt x="989457" y="1265587"/>
                    <a:pt x="989457" y="1265625"/>
                    <a:pt x="989457" y="1265653"/>
                  </a:cubicBezTo>
                  <a:lnTo>
                    <a:pt x="989457" y="1268482"/>
                  </a:lnTo>
                  <a:cubicBezTo>
                    <a:pt x="989457" y="1268511"/>
                    <a:pt x="989457" y="1268549"/>
                    <a:pt x="989457" y="1268578"/>
                  </a:cubicBezTo>
                  <a:lnTo>
                    <a:pt x="989457" y="2019653"/>
                  </a:lnTo>
                  <a:lnTo>
                    <a:pt x="582292" y="2771937"/>
                  </a:lnTo>
                  <a:lnTo>
                    <a:pt x="582292" y="582273"/>
                  </a:lnTo>
                  <a:lnTo>
                    <a:pt x="989457" y="582273"/>
                  </a:lnTo>
                  <a:lnTo>
                    <a:pt x="989457" y="1265558"/>
                  </a:lnTo>
                  <a:close/>
                  <a:moveTo>
                    <a:pt x="1179795" y="1909182"/>
                  </a:moveTo>
                  <a:lnTo>
                    <a:pt x="1179795" y="1498302"/>
                  </a:lnTo>
                  <a:lnTo>
                    <a:pt x="1385240" y="1703746"/>
                  </a:lnTo>
                  <a:lnTo>
                    <a:pt x="1179795" y="1909182"/>
                  </a:lnTo>
                  <a:close/>
                  <a:moveTo>
                    <a:pt x="1559204" y="925621"/>
                  </a:moveTo>
                  <a:lnTo>
                    <a:pt x="1861271" y="1227696"/>
                  </a:lnTo>
                  <a:lnTo>
                    <a:pt x="1519819" y="1569148"/>
                  </a:lnTo>
                  <a:lnTo>
                    <a:pt x="1217752" y="1267073"/>
                  </a:lnTo>
                  <a:lnTo>
                    <a:pt x="1559204" y="925621"/>
                  </a:lnTo>
                  <a:close/>
                  <a:moveTo>
                    <a:pt x="1485024" y="582273"/>
                  </a:moveTo>
                  <a:lnTo>
                    <a:pt x="1633347" y="582273"/>
                  </a:lnTo>
                  <a:lnTo>
                    <a:pt x="1559195" y="656434"/>
                  </a:lnTo>
                  <a:lnTo>
                    <a:pt x="1485024" y="582273"/>
                  </a:lnTo>
                  <a:close/>
                  <a:moveTo>
                    <a:pt x="2445544" y="912609"/>
                  </a:moveTo>
                  <a:lnTo>
                    <a:pt x="2760631" y="1227696"/>
                  </a:lnTo>
                  <a:lnTo>
                    <a:pt x="2445544" y="1542783"/>
                  </a:lnTo>
                  <a:lnTo>
                    <a:pt x="2130457" y="1227696"/>
                  </a:lnTo>
                  <a:lnTo>
                    <a:pt x="2445544" y="912609"/>
                  </a:lnTo>
                  <a:close/>
                  <a:moveTo>
                    <a:pt x="2384393" y="582282"/>
                  </a:moveTo>
                  <a:lnTo>
                    <a:pt x="2506695" y="582282"/>
                  </a:lnTo>
                  <a:lnTo>
                    <a:pt x="2445544" y="643423"/>
                  </a:lnTo>
                  <a:lnTo>
                    <a:pt x="2384393" y="582282"/>
                  </a:lnTo>
                  <a:close/>
                  <a:moveTo>
                    <a:pt x="3331874" y="925621"/>
                  </a:moveTo>
                  <a:lnTo>
                    <a:pt x="3673326" y="1267073"/>
                  </a:lnTo>
                  <a:lnTo>
                    <a:pt x="3371259" y="1569148"/>
                  </a:lnTo>
                  <a:lnTo>
                    <a:pt x="3029807" y="1227696"/>
                  </a:lnTo>
                  <a:lnTo>
                    <a:pt x="3331874" y="925621"/>
                  </a:lnTo>
                  <a:close/>
                  <a:moveTo>
                    <a:pt x="3257731" y="582273"/>
                  </a:moveTo>
                  <a:lnTo>
                    <a:pt x="3406054" y="582273"/>
                  </a:lnTo>
                  <a:lnTo>
                    <a:pt x="3331893" y="656434"/>
                  </a:lnTo>
                  <a:lnTo>
                    <a:pt x="3257731" y="582273"/>
                  </a:lnTo>
                  <a:close/>
                  <a:moveTo>
                    <a:pt x="2895219" y="1093099"/>
                  </a:moveTo>
                  <a:lnTo>
                    <a:pt x="2580132" y="778012"/>
                  </a:lnTo>
                  <a:lnTo>
                    <a:pt x="2775880" y="582263"/>
                  </a:lnTo>
                  <a:lnTo>
                    <a:pt x="2988535" y="582263"/>
                  </a:lnTo>
                  <a:lnTo>
                    <a:pt x="3197285" y="791013"/>
                  </a:lnTo>
                  <a:lnTo>
                    <a:pt x="2895219" y="1093099"/>
                  </a:lnTo>
                  <a:close/>
                  <a:moveTo>
                    <a:pt x="1995868" y="1093099"/>
                  </a:moveTo>
                  <a:lnTo>
                    <a:pt x="1693802" y="791023"/>
                  </a:lnTo>
                  <a:lnTo>
                    <a:pt x="1902552" y="582273"/>
                  </a:lnTo>
                  <a:lnTo>
                    <a:pt x="2115207" y="582273"/>
                  </a:lnTo>
                  <a:lnTo>
                    <a:pt x="2310956" y="778021"/>
                  </a:lnTo>
                  <a:lnTo>
                    <a:pt x="1995868" y="1093099"/>
                  </a:lnTo>
                  <a:close/>
                  <a:moveTo>
                    <a:pt x="1179795" y="1035834"/>
                  </a:moveTo>
                  <a:lnTo>
                    <a:pt x="1179795" y="582273"/>
                  </a:lnTo>
                  <a:lnTo>
                    <a:pt x="1215857" y="582273"/>
                  </a:lnTo>
                  <a:lnTo>
                    <a:pt x="1424607" y="791023"/>
                  </a:lnTo>
                  <a:lnTo>
                    <a:pt x="1179795" y="1035834"/>
                  </a:lnTo>
                  <a:close/>
                  <a:moveTo>
                    <a:pt x="1409557" y="1948596"/>
                  </a:moveTo>
                  <a:lnTo>
                    <a:pt x="1519819" y="1838335"/>
                  </a:lnTo>
                  <a:lnTo>
                    <a:pt x="1630080" y="1948596"/>
                  </a:lnTo>
                  <a:lnTo>
                    <a:pt x="1409557" y="1948596"/>
                  </a:lnTo>
                  <a:close/>
                  <a:moveTo>
                    <a:pt x="2039731" y="1948587"/>
                  </a:moveTo>
                  <a:lnTo>
                    <a:pt x="1899276" y="1948587"/>
                  </a:lnTo>
                  <a:lnTo>
                    <a:pt x="1899276" y="1948596"/>
                  </a:lnTo>
                  <a:lnTo>
                    <a:pt x="1654416" y="1703737"/>
                  </a:lnTo>
                  <a:lnTo>
                    <a:pt x="1995868" y="1362285"/>
                  </a:lnTo>
                  <a:lnTo>
                    <a:pt x="2310956" y="1677372"/>
                  </a:lnTo>
                  <a:lnTo>
                    <a:pt x="2039731" y="1948587"/>
                  </a:lnTo>
                  <a:close/>
                  <a:moveTo>
                    <a:pt x="2308917" y="1948596"/>
                  </a:moveTo>
                  <a:lnTo>
                    <a:pt x="2445544" y="1811969"/>
                  </a:lnTo>
                  <a:lnTo>
                    <a:pt x="2582170" y="1948596"/>
                  </a:lnTo>
                  <a:lnTo>
                    <a:pt x="2308917" y="1948596"/>
                  </a:lnTo>
                  <a:close/>
                  <a:moveTo>
                    <a:pt x="2991803" y="1948606"/>
                  </a:moveTo>
                  <a:lnTo>
                    <a:pt x="2851347" y="1948606"/>
                  </a:lnTo>
                  <a:lnTo>
                    <a:pt x="2851347" y="1948596"/>
                  </a:lnTo>
                  <a:lnTo>
                    <a:pt x="2580132" y="1677381"/>
                  </a:lnTo>
                  <a:lnTo>
                    <a:pt x="2895219" y="1362294"/>
                  </a:lnTo>
                  <a:lnTo>
                    <a:pt x="3236671" y="1703746"/>
                  </a:lnTo>
                  <a:lnTo>
                    <a:pt x="2991803" y="1948606"/>
                  </a:lnTo>
                  <a:close/>
                  <a:moveTo>
                    <a:pt x="3260998" y="1948596"/>
                  </a:moveTo>
                  <a:lnTo>
                    <a:pt x="3371259" y="1838335"/>
                  </a:lnTo>
                  <a:lnTo>
                    <a:pt x="3481521" y="1948596"/>
                  </a:lnTo>
                  <a:lnTo>
                    <a:pt x="3260998" y="1948596"/>
                  </a:lnTo>
                  <a:close/>
                  <a:moveTo>
                    <a:pt x="3711292" y="1909182"/>
                  </a:moveTo>
                  <a:lnTo>
                    <a:pt x="3505848" y="1703737"/>
                  </a:lnTo>
                  <a:lnTo>
                    <a:pt x="3711292" y="1498292"/>
                  </a:lnTo>
                  <a:lnTo>
                    <a:pt x="3711292" y="1909182"/>
                  </a:lnTo>
                  <a:close/>
                  <a:moveTo>
                    <a:pt x="3711292" y="1035844"/>
                  </a:moveTo>
                  <a:lnTo>
                    <a:pt x="3466481" y="791032"/>
                  </a:lnTo>
                  <a:lnTo>
                    <a:pt x="3675240" y="582282"/>
                  </a:lnTo>
                  <a:lnTo>
                    <a:pt x="3711302" y="582282"/>
                  </a:lnTo>
                  <a:lnTo>
                    <a:pt x="3711302" y="1035844"/>
                  </a:lnTo>
                  <a:close/>
                  <a:moveTo>
                    <a:pt x="4308796" y="2771947"/>
                  </a:moveTo>
                  <a:lnTo>
                    <a:pt x="3901631" y="2019662"/>
                  </a:lnTo>
                  <a:lnTo>
                    <a:pt x="3901631" y="1268587"/>
                  </a:lnTo>
                  <a:cubicBezTo>
                    <a:pt x="3901631" y="1268559"/>
                    <a:pt x="3901631" y="1268520"/>
                    <a:pt x="3901631" y="1268492"/>
                  </a:cubicBezTo>
                  <a:lnTo>
                    <a:pt x="3901631" y="1265663"/>
                  </a:lnTo>
                  <a:cubicBezTo>
                    <a:pt x="3901631" y="1265634"/>
                    <a:pt x="3901631" y="1265596"/>
                    <a:pt x="3901631" y="1265568"/>
                  </a:cubicBezTo>
                  <a:lnTo>
                    <a:pt x="3901631" y="582273"/>
                  </a:lnTo>
                  <a:lnTo>
                    <a:pt x="4308796" y="582273"/>
                  </a:lnTo>
                  <a:lnTo>
                    <a:pt x="4308796" y="2771947"/>
                  </a:lnTo>
                  <a:close/>
                  <a:moveTo>
                    <a:pt x="4693596" y="3052563"/>
                  </a:moveTo>
                  <a:lnTo>
                    <a:pt x="4499134" y="3052563"/>
                  </a:lnTo>
                  <a:lnTo>
                    <a:pt x="4499134" y="487099"/>
                  </a:lnTo>
                  <a:cubicBezTo>
                    <a:pt x="4499134" y="434540"/>
                    <a:pt x="4456519" y="391925"/>
                    <a:pt x="4403960" y="391925"/>
                  </a:cubicBezTo>
                  <a:lnTo>
                    <a:pt x="487118" y="391925"/>
                  </a:lnTo>
                  <a:cubicBezTo>
                    <a:pt x="434569" y="391925"/>
                    <a:pt x="391944" y="434531"/>
                    <a:pt x="391944" y="487099"/>
                  </a:cubicBezTo>
                  <a:lnTo>
                    <a:pt x="391944" y="3052553"/>
                  </a:lnTo>
                  <a:lnTo>
                    <a:pt x="197482" y="3052553"/>
                  </a:lnTo>
                  <a:lnTo>
                    <a:pt x="197482" y="503053"/>
                  </a:lnTo>
                  <a:cubicBezTo>
                    <a:pt x="197482" y="334556"/>
                    <a:pt x="334556" y="197482"/>
                    <a:pt x="503053" y="197482"/>
                  </a:cubicBezTo>
                  <a:lnTo>
                    <a:pt x="4388025" y="197482"/>
                  </a:lnTo>
                  <a:cubicBezTo>
                    <a:pt x="4556522" y="197482"/>
                    <a:pt x="4693596" y="334566"/>
                    <a:pt x="4693596" y="503053"/>
                  </a:cubicBezTo>
                  <a:lnTo>
                    <a:pt x="4693596" y="30525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3757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0" name="Freeform: Shape 180">
              <a:extLst>
                <a:ext uri="{FF2B5EF4-FFF2-40B4-BE49-F238E27FC236}">
                  <a16:creationId xmlns:a16="http://schemas.microsoft.com/office/drawing/2014/main" id="{3115BB62-8B8E-424D-953B-8111DAFDFDAD}"/>
                </a:ext>
              </a:extLst>
            </p:cNvPr>
            <p:cNvSpPr/>
            <p:nvPr/>
          </p:nvSpPr>
          <p:spPr>
            <a:xfrm>
              <a:off x="9743281" y="7459951"/>
              <a:ext cx="4886325" cy="1838325"/>
            </a:xfrm>
            <a:custGeom>
              <a:avLst/>
              <a:gdLst>
                <a:gd name="connsiteX0" fmla="*/ 4788770 w 4886325"/>
                <a:gd name="connsiteY0" fmla="*/ 1644053 h 1838325"/>
                <a:gd name="connsiteX1" fmla="*/ 3019644 w 4886325"/>
                <a:gd name="connsiteY1" fmla="*/ 1644053 h 1838325"/>
                <a:gd name="connsiteX2" fmla="*/ 3372869 w 4886325"/>
                <a:gd name="connsiteY2" fmla="*/ 922258 h 1838325"/>
                <a:gd name="connsiteX3" fmla="*/ 3357277 w 4886325"/>
                <a:gd name="connsiteY3" fmla="*/ 753875 h 1838325"/>
                <a:gd name="connsiteX4" fmla="*/ 3356677 w 4886325"/>
                <a:gd name="connsiteY4" fmla="*/ 750761 h 1838325"/>
                <a:gd name="connsiteX5" fmla="*/ 2457736 w 4886325"/>
                <a:gd name="connsiteY5" fmla="*/ 7144 h 1838325"/>
                <a:gd name="connsiteX6" fmla="*/ 1558776 w 4886325"/>
                <a:gd name="connsiteY6" fmla="*/ 750904 h 1838325"/>
                <a:gd name="connsiteX7" fmla="*/ 1558252 w 4886325"/>
                <a:gd name="connsiteY7" fmla="*/ 753647 h 1838325"/>
                <a:gd name="connsiteX8" fmla="*/ 1542612 w 4886325"/>
                <a:gd name="connsiteY8" fmla="*/ 922268 h 1838325"/>
                <a:gd name="connsiteX9" fmla="*/ 1895837 w 4886325"/>
                <a:gd name="connsiteY9" fmla="*/ 1644063 h 1838325"/>
                <a:gd name="connsiteX10" fmla="*/ 102318 w 4886325"/>
                <a:gd name="connsiteY10" fmla="*/ 1644063 h 1838325"/>
                <a:gd name="connsiteX11" fmla="*/ 7144 w 4886325"/>
                <a:gd name="connsiteY11" fmla="*/ 1739237 h 1838325"/>
                <a:gd name="connsiteX12" fmla="*/ 102318 w 4886325"/>
                <a:gd name="connsiteY12" fmla="*/ 1834410 h 1838325"/>
                <a:gd name="connsiteX13" fmla="*/ 4788780 w 4886325"/>
                <a:gd name="connsiteY13" fmla="*/ 1834410 h 1838325"/>
                <a:gd name="connsiteX14" fmla="*/ 4883953 w 4886325"/>
                <a:gd name="connsiteY14" fmla="*/ 1739237 h 1838325"/>
                <a:gd name="connsiteX15" fmla="*/ 4788770 w 4886325"/>
                <a:gd name="connsiteY15" fmla="*/ 1644053 h 1838325"/>
                <a:gd name="connsiteX16" fmla="*/ 2552891 w 4886325"/>
                <a:gd name="connsiteY16" fmla="*/ 203921 h 1838325"/>
                <a:gd name="connsiteX17" fmla="*/ 3139354 w 4886325"/>
                <a:gd name="connsiteY17" fmla="*/ 675942 h 1838325"/>
                <a:gd name="connsiteX18" fmla="*/ 2825210 w 4886325"/>
                <a:gd name="connsiteY18" fmla="*/ 675942 h 1838325"/>
                <a:gd name="connsiteX19" fmla="*/ 2552891 w 4886325"/>
                <a:gd name="connsiteY19" fmla="*/ 478098 h 1838325"/>
                <a:gd name="connsiteX20" fmla="*/ 2552891 w 4886325"/>
                <a:gd name="connsiteY20" fmla="*/ 203921 h 1838325"/>
                <a:gd name="connsiteX21" fmla="*/ 2712130 w 4886325"/>
                <a:gd name="connsiteY21" fmla="*/ 829066 h 1838325"/>
                <a:gd name="connsiteX22" fmla="*/ 2614965 w 4886325"/>
                <a:gd name="connsiteY22" fmla="*/ 1128122 h 1838325"/>
                <a:gd name="connsiteX23" fmla="*/ 2300507 w 4886325"/>
                <a:gd name="connsiteY23" fmla="*/ 1128122 h 1838325"/>
                <a:gd name="connsiteX24" fmla="*/ 2203342 w 4886325"/>
                <a:gd name="connsiteY24" fmla="*/ 829066 h 1838325"/>
                <a:gd name="connsiteX25" fmla="*/ 2457736 w 4886325"/>
                <a:gd name="connsiteY25" fmla="*/ 644233 h 1838325"/>
                <a:gd name="connsiteX26" fmla="*/ 2712130 w 4886325"/>
                <a:gd name="connsiteY26" fmla="*/ 829066 h 1838325"/>
                <a:gd name="connsiteX27" fmla="*/ 2362562 w 4886325"/>
                <a:gd name="connsiteY27" fmla="*/ 203921 h 1838325"/>
                <a:gd name="connsiteX28" fmla="*/ 2362562 w 4886325"/>
                <a:gd name="connsiteY28" fmla="*/ 478098 h 1838325"/>
                <a:gd name="connsiteX29" fmla="*/ 2090261 w 4886325"/>
                <a:gd name="connsiteY29" fmla="*/ 675942 h 1838325"/>
                <a:gd name="connsiteX30" fmla="*/ 1776108 w 4886325"/>
                <a:gd name="connsiteY30" fmla="*/ 675942 h 1838325"/>
                <a:gd name="connsiteX31" fmla="*/ 2362562 w 4886325"/>
                <a:gd name="connsiteY31" fmla="*/ 203921 h 1838325"/>
                <a:gd name="connsiteX32" fmla="*/ 1732950 w 4886325"/>
                <a:gd name="connsiteY32" fmla="*/ 922258 h 1838325"/>
                <a:gd name="connsiteX33" fmla="*/ 1735331 w 4886325"/>
                <a:gd name="connsiteY33" fmla="*/ 866280 h 1838325"/>
                <a:gd name="connsiteX34" fmla="*/ 2015300 w 4886325"/>
                <a:gd name="connsiteY34" fmla="*/ 866280 h 1838325"/>
                <a:gd name="connsiteX35" fmla="*/ 2129123 w 4886325"/>
                <a:gd name="connsiteY35" fmla="*/ 1216609 h 1838325"/>
                <a:gd name="connsiteX36" fmla="*/ 1954787 w 4886325"/>
                <a:gd name="connsiteY36" fmla="*/ 1443399 h 1838325"/>
                <a:gd name="connsiteX37" fmla="*/ 1732950 w 4886325"/>
                <a:gd name="connsiteY37" fmla="*/ 922258 h 1838325"/>
                <a:gd name="connsiteX38" fmla="*/ 2521810 w 4886325"/>
                <a:gd name="connsiteY38" fmla="*/ 1644044 h 1838325"/>
                <a:gd name="connsiteX39" fmla="*/ 2393642 w 4886325"/>
                <a:gd name="connsiteY39" fmla="*/ 1644044 h 1838325"/>
                <a:gd name="connsiteX40" fmla="*/ 2393642 w 4886325"/>
                <a:gd name="connsiteY40" fmla="*/ 1644053 h 1838325"/>
                <a:gd name="connsiteX41" fmla="*/ 2107759 w 4886325"/>
                <a:gd name="connsiteY41" fmla="*/ 1556690 h 1838325"/>
                <a:gd name="connsiteX42" fmla="*/ 2290886 w 4886325"/>
                <a:gd name="connsiteY42" fmla="*/ 1318460 h 1838325"/>
                <a:gd name="connsiteX43" fmla="*/ 2633015 w 4886325"/>
                <a:gd name="connsiteY43" fmla="*/ 1318460 h 1838325"/>
                <a:gd name="connsiteX44" fmla="*/ 2809199 w 4886325"/>
                <a:gd name="connsiteY44" fmla="*/ 1555814 h 1838325"/>
                <a:gd name="connsiteX45" fmla="*/ 2521810 w 4886325"/>
                <a:gd name="connsiteY45" fmla="*/ 1644044 h 1838325"/>
                <a:gd name="connsiteX46" fmla="*/ 2788825 w 4886325"/>
                <a:gd name="connsiteY46" fmla="*/ 1209009 h 1838325"/>
                <a:gd name="connsiteX47" fmla="*/ 2900182 w 4886325"/>
                <a:gd name="connsiteY47" fmla="*/ 866289 h 1838325"/>
                <a:gd name="connsiteX48" fmla="*/ 3180140 w 4886325"/>
                <a:gd name="connsiteY48" fmla="*/ 866289 h 1838325"/>
                <a:gd name="connsiteX49" fmla="*/ 3182522 w 4886325"/>
                <a:gd name="connsiteY49" fmla="*/ 922268 h 1838325"/>
                <a:gd name="connsiteX50" fmla="*/ 2961932 w 4886325"/>
                <a:gd name="connsiteY50" fmla="*/ 1442218 h 1838325"/>
                <a:gd name="connsiteX51" fmla="*/ 2788825 w 4886325"/>
                <a:gd name="connsiteY51" fmla="*/ 1209009 h 1838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4886325" h="1838325">
                  <a:moveTo>
                    <a:pt x="4788770" y="1644053"/>
                  </a:moveTo>
                  <a:lnTo>
                    <a:pt x="3019644" y="1644053"/>
                  </a:lnTo>
                  <a:cubicBezTo>
                    <a:pt x="3234471" y="1476442"/>
                    <a:pt x="3372869" y="1215219"/>
                    <a:pt x="3372869" y="922258"/>
                  </a:cubicBezTo>
                  <a:cubicBezTo>
                    <a:pt x="3372869" y="864746"/>
                    <a:pt x="3367478" y="808472"/>
                    <a:pt x="3357277" y="753875"/>
                  </a:cubicBezTo>
                  <a:cubicBezTo>
                    <a:pt x="3357086" y="752828"/>
                    <a:pt x="3356905" y="751789"/>
                    <a:pt x="3356677" y="750761"/>
                  </a:cubicBezTo>
                  <a:cubicBezTo>
                    <a:pt x="3276162" y="327860"/>
                    <a:pt x="2903725" y="7144"/>
                    <a:pt x="2457736" y="7144"/>
                  </a:cubicBezTo>
                  <a:cubicBezTo>
                    <a:pt x="2011699" y="7144"/>
                    <a:pt x="1639234" y="327927"/>
                    <a:pt x="1558776" y="750904"/>
                  </a:cubicBezTo>
                  <a:cubicBezTo>
                    <a:pt x="1558576" y="751809"/>
                    <a:pt x="1558423" y="752723"/>
                    <a:pt x="1558252" y="753647"/>
                  </a:cubicBezTo>
                  <a:cubicBezTo>
                    <a:pt x="1548032" y="808320"/>
                    <a:pt x="1542612" y="864670"/>
                    <a:pt x="1542612" y="922268"/>
                  </a:cubicBezTo>
                  <a:cubicBezTo>
                    <a:pt x="1542612" y="1215228"/>
                    <a:pt x="1681010" y="1476451"/>
                    <a:pt x="1895837" y="1644063"/>
                  </a:cubicBezTo>
                  <a:lnTo>
                    <a:pt x="102318" y="1644063"/>
                  </a:lnTo>
                  <a:cubicBezTo>
                    <a:pt x="49768" y="1644063"/>
                    <a:pt x="7144" y="1686668"/>
                    <a:pt x="7144" y="1739237"/>
                  </a:cubicBezTo>
                  <a:cubicBezTo>
                    <a:pt x="7144" y="1791796"/>
                    <a:pt x="49759" y="1834410"/>
                    <a:pt x="102318" y="1834410"/>
                  </a:cubicBezTo>
                  <a:lnTo>
                    <a:pt x="4788780" y="1834410"/>
                  </a:lnTo>
                  <a:cubicBezTo>
                    <a:pt x="4841329" y="1834410"/>
                    <a:pt x="4883953" y="1791805"/>
                    <a:pt x="4883953" y="1739237"/>
                  </a:cubicBezTo>
                  <a:cubicBezTo>
                    <a:pt x="4883944" y="1686668"/>
                    <a:pt x="4841329" y="1644053"/>
                    <a:pt x="4788770" y="1644053"/>
                  </a:cubicBezTo>
                  <a:close/>
                  <a:moveTo>
                    <a:pt x="2552891" y="203921"/>
                  </a:moveTo>
                  <a:cubicBezTo>
                    <a:pt x="2824220" y="239687"/>
                    <a:pt x="3048724" y="425920"/>
                    <a:pt x="3139354" y="675942"/>
                  </a:cubicBezTo>
                  <a:lnTo>
                    <a:pt x="2825210" y="675942"/>
                  </a:lnTo>
                  <a:lnTo>
                    <a:pt x="2552891" y="478098"/>
                  </a:lnTo>
                  <a:lnTo>
                    <a:pt x="2552891" y="203921"/>
                  </a:lnTo>
                  <a:close/>
                  <a:moveTo>
                    <a:pt x="2712130" y="829066"/>
                  </a:moveTo>
                  <a:lnTo>
                    <a:pt x="2614965" y="1128122"/>
                  </a:lnTo>
                  <a:lnTo>
                    <a:pt x="2300507" y="1128122"/>
                  </a:lnTo>
                  <a:lnTo>
                    <a:pt x="2203342" y="829066"/>
                  </a:lnTo>
                  <a:lnTo>
                    <a:pt x="2457736" y="644233"/>
                  </a:lnTo>
                  <a:lnTo>
                    <a:pt x="2712130" y="829066"/>
                  </a:lnTo>
                  <a:close/>
                  <a:moveTo>
                    <a:pt x="2362562" y="203921"/>
                  </a:moveTo>
                  <a:lnTo>
                    <a:pt x="2362562" y="478098"/>
                  </a:lnTo>
                  <a:lnTo>
                    <a:pt x="2090261" y="675942"/>
                  </a:lnTo>
                  <a:lnTo>
                    <a:pt x="1776108" y="675942"/>
                  </a:lnTo>
                  <a:cubicBezTo>
                    <a:pt x="1866748" y="425930"/>
                    <a:pt x="2091252" y="239687"/>
                    <a:pt x="2362562" y="203921"/>
                  </a:cubicBezTo>
                  <a:close/>
                  <a:moveTo>
                    <a:pt x="1732950" y="922258"/>
                  </a:moveTo>
                  <a:cubicBezTo>
                    <a:pt x="1732950" y="903408"/>
                    <a:pt x="1733903" y="884777"/>
                    <a:pt x="1735331" y="866280"/>
                  </a:cubicBezTo>
                  <a:lnTo>
                    <a:pt x="2015300" y="866280"/>
                  </a:lnTo>
                  <a:lnTo>
                    <a:pt x="2129123" y="1216609"/>
                  </a:lnTo>
                  <a:lnTo>
                    <a:pt x="1954787" y="1443399"/>
                  </a:lnTo>
                  <a:cubicBezTo>
                    <a:pt x="1818170" y="1311507"/>
                    <a:pt x="1732950" y="1126703"/>
                    <a:pt x="1732950" y="922258"/>
                  </a:cubicBezTo>
                  <a:close/>
                  <a:moveTo>
                    <a:pt x="2521810" y="1644044"/>
                  </a:moveTo>
                  <a:lnTo>
                    <a:pt x="2393642" y="1644044"/>
                  </a:lnTo>
                  <a:lnTo>
                    <a:pt x="2393642" y="1644053"/>
                  </a:lnTo>
                  <a:cubicBezTo>
                    <a:pt x="2290715" y="1634985"/>
                    <a:pt x="2193903" y="1604401"/>
                    <a:pt x="2107759" y="1556690"/>
                  </a:cubicBezTo>
                  <a:lnTo>
                    <a:pt x="2290886" y="1318460"/>
                  </a:lnTo>
                  <a:lnTo>
                    <a:pt x="2633015" y="1318460"/>
                  </a:lnTo>
                  <a:lnTo>
                    <a:pt x="2809199" y="1555814"/>
                  </a:lnTo>
                  <a:cubicBezTo>
                    <a:pt x="2722683" y="1604010"/>
                    <a:pt x="2625347" y="1634928"/>
                    <a:pt x="2521810" y="1644044"/>
                  </a:cubicBezTo>
                  <a:close/>
                  <a:moveTo>
                    <a:pt x="2788825" y="1209009"/>
                  </a:moveTo>
                  <a:lnTo>
                    <a:pt x="2900182" y="866289"/>
                  </a:lnTo>
                  <a:lnTo>
                    <a:pt x="3180140" y="866289"/>
                  </a:lnTo>
                  <a:cubicBezTo>
                    <a:pt x="3181560" y="884787"/>
                    <a:pt x="3182522" y="903418"/>
                    <a:pt x="3182522" y="922268"/>
                  </a:cubicBezTo>
                  <a:cubicBezTo>
                    <a:pt x="3182512" y="1126093"/>
                    <a:pt x="3097825" y="1310412"/>
                    <a:pt x="2961932" y="1442218"/>
                  </a:cubicBezTo>
                  <a:lnTo>
                    <a:pt x="2788825" y="120900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3757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1" name="Freeform: Shape 181">
              <a:extLst>
                <a:ext uri="{FF2B5EF4-FFF2-40B4-BE49-F238E27FC236}">
                  <a16:creationId xmlns:a16="http://schemas.microsoft.com/office/drawing/2014/main" id="{A64259BF-EB22-3B47-98D7-B7E484D57E8D}"/>
                </a:ext>
              </a:extLst>
            </p:cNvPr>
            <p:cNvSpPr/>
            <p:nvPr/>
          </p:nvSpPr>
          <p:spPr>
            <a:xfrm>
              <a:off x="12920859" y="7459942"/>
              <a:ext cx="200025" cy="200025"/>
            </a:xfrm>
            <a:custGeom>
              <a:avLst/>
              <a:gdLst>
                <a:gd name="connsiteX0" fmla="*/ 169602 w 200025"/>
                <a:gd name="connsiteY0" fmla="*/ 35033 h 200025"/>
                <a:gd name="connsiteX1" fmla="*/ 102318 w 200025"/>
                <a:gd name="connsiteY1" fmla="*/ 7144 h 200025"/>
                <a:gd name="connsiteX2" fmla="*/ 35033 w 200025"/>
                <a:gd name="connsiteY2" fmla="*/ 35033 h 200025"/>
                <a:gd name="connsiteX3" fmla="*/ 7144 w 200025"/>
                <a:gd name="connsiteY3" fmla="*/ 102317 h 200025"/>
                <a:gd name="connsiteX4" fmla="*/ 35033 w 200025"/>
                <a:gd name="connsiteY4" fmla="*/ 169602 h 200025"/>
                <a:gd name="connsiteX5" fmla="*/ 102318 w 200025"/>
                <a:gd name="connsiteY5" fmla="*/ 197491 h 200025"/>
                <a:gd name="connsiteX6" fmla="*/ 169602 w 200025"/>
                <a:gd name="connsiteY6" fmla="*/ 169602 h 200025"/>
                <a:gd name="connsiteX7" fmla="*/ 197491 w 200025"/>
                <a:gd name="connsiteY7" fmla="*/ 102317 h 200025"/>
                <a:gd name="connsiteX8" fmla="*/ 169602 w 200025"/>
                <a:gd name="connsiteY8" fmla="*/ 35033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0025" h="200025">
                  <a:moveTo>
                    <a:pt x="169602" y="35033"/>
                  </a:moveTo>
                  <a:cubicBezTo>
                    <a:pt x="151905" y="17335"/>
                    <a:pt x="127349" y="7144"/>
                    <a:pt x="102318" y="7144"/>
                  </a:cubicBezTo>
                  <a:cubicBezTo>
                    <a:pt x="77191" y="7144"/>
                    <a:pt x="52731" y="17326"/>
                    <a:pt x="35033" y="35033"/>
                  </a:cubicBezTo>
                  <a:cubicBezTo>
                    <a:pt x="17240" y="52730"/>
                    <a:pt x="7144" y="77286"/>
                    <a:pt x="7144" y="102317"/>
                  </a:cubicBezTo>
                  <a:cubicBezTo>
                    <a:pt x="7144" y="127349"/>
                    <a:pt x="17231" y="151905"/>
                    <a:pt x="35033" y="169602"/>
                  </a:cubicBezTo>
                  <a:cubicBezTo>
                    <a:pt x="52731" y="187299"/>
                    <a:pt x="77200" y="197491"/>
                    <a:pt x="102318" y="197491"/>
                  </a:cubicBezTo>
                  <a:cubicBezTo>
                    <a:pt x="127349" y="197491"/>
                    <a:pt x="151809" y="187299"/>
                    <a:pt x="169602" y="169602"/>
                  </a:cubicBezTo>
                  <a:cubicBezTo>
                    <a:pt x="187290" y="151905"/>
                    <a:pt x="197491" y="127349"/>
                    <a:pt x="197491" y="102317"/>
                  </a:cubicBezTo>
                  <a:cubicBezTo>
                    <a:pt x="197482" y="77286"/>
                    <a:pt x="187300" y="52740"/>
                    <a:pt x="169602" y="3503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3757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2" name="Freeform: Shape 182">
              <a:extLst>
                <a:ext uri="{FF2B5EF4-FFF2-40B4-BE49-F238E27FC236}">
                  <a16:creationId xmlns:a16="http://schemas.microsoft.com/office/drawing/2014/main" id="{6581AFF6-2DA6-C849-83A3-47258E87EAE3}"/>
                </a:ext>
              </a:extLst>
            </p:cNvPr>
            <p:cNvSpPr/>
            <p:nvPr/>
          </p:nvSpPr>
          <p:spPr>
            <a:xfrm>
              <a:off x="11252165" y="7459951"/>
              <a:ext cx="200025" cy="200025"/>
            </a:xfrm>
            <a:custGeom>
              <a:avLst/>
              <a:gdLst>
                <a:gd name="connsiteX0" fmla="*/ 169583 w 200025"/>
                <a:gd name="connsiteY0" fmla="*/ 35023 h 200025"/>
                <a:gd name="connsiteX1" fmla="*/ 102308 w 200025"/>
                <a:gd name="connsiteY1" fmla="*/ 7144 h 200025"/>
                <a:gd name="connsiteX2" fmla="*/ 35023 w 200025"/>
                <a:gd name="connsiteY2" fmla="*/ 35023 h 200025"/>
                <a:gd name="connsiteX3" fmla="*/ 7144 w 200025"/>
                <a:gd name="connsiteY3" fmla="*/ 102308 h 200025"/>
                <a:gd name="connsiteX4" fmla="*/ 35023 w 200025"/>
                <a:gd name="connsiteY4" fmla="*/ 169593 h 200025"/>
                <a:gd name="connsiteX5" fmla="*/ 102308 w 200025"/>
                <a:gd name="connsiteY5" fmla="*/ 197472 h 200025"/>
                <a:gd name="connsiteX6" fmla="*/ 169583 w 200025"/>
                <a:gd name="connsiteY6" fmla="*/ 169593 h 200025"/>
                <a:gd name="connsiteX7" fmla="*/ 197482 w 200025"/>
                <a:gd name="connsiteY7" fmla="*/ 102308 h 200025"/>
                <a:gd name="connsiteX8" fmla="*/ 169583 w 200025"/>
                <a:gd name="connsiteY8" fmla="*/ 35023 h 200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0025" h="200025">
                  <a:moveTo>
                    <a:pt x="169583" y="35023"/>
                  </a:moveTo>
                  <a:cubicBezTo>
                    <a:pt x="151895" y="17326"/>
                    <a:pt x="127426" y="7144"/>
                    <a:pt x="102308" y="7144"/>
                  </a:cubicBezTo>
                  <a:cubicBezTo>
                    <a:pt x="77276" y="7144"/>
                    <a:pt x="52721" y="17326"/>
                    <a:pt x="35023" y="35023"/>
                  </a:cubicBezTo>
                  <a:cubicBezTo>
                    <a:pt x="17326" y="52721"/>
                    <a:pt x="7144" y="77276"/>
                    <a:pt x="7144" y="102308"/>
                  </a:cubicBezTo>
                  <a:cubicBezTo>
                    <a:pt x="7144" y="127340"/>
                    <a:pt x="17317" y="151895"/>
                    <a:pt x="35023" y="169593"/>
                  </a:cubicBezTo>
                  <a:cubicBezTo>
                    <a:pt x="52731" y="187290"/>
                    <a:pt x="77276" y="197472"/>
                    <a:pt x="102308" y="197472"/>
                  </a:cubicBezTo>
                  <a:cubicBezTo>
                    <a:pt x="127435" y="197472"/>
                    <a:pt x="151895" y="187290"/>
                    <a:pt x="169583" y="169593"/>
                  </a:cubicBezTo>
                  <a:cubicBezTo>
                    <a:pt x="187376" y="151895"/>
                    <a:pt x="197482" y="127340"/>
                    <a:pt x="197482" y="102308"/>
                  </a:cubicBezTo>
                  <a:cubicBezTo>
                    <a:pt x="197482" y="77286"/>
                    <a:pt x="187385" y="52731"/>
                    <a:pt x="169583" y="350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3757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83" name="Budapest, 17 May">
            <a:extLst>
              <a:ext uri="{FF2B5EF4-FFF2-40B4-BE49-F238E27FC236}">
                <a16:creationId xmlns:a16="http://schemas.microsoft.com/office/drawing/2014/main" id="{C8CEA643-4BC5-4849-AF6E-951E11B4157E}"/>
              </a:ext>
            </a:extLst>
          </p:cNvPr>
          <p:cNvSpPr txBox="1"/>
          <p:nvPr/>
        </p:nvSpPr>
        <p:spPr>
          <a:xfrm>
            <a:off x="-24719" y="5535998"/>
            <a:ext cx="1302761" cy="7385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60928" tIns="60928" rIns="60928" bIns="60928" anchor="ctr">
            <a:spAutoFit/>
          </a:bodyPr>
          <a:lstStyle>
            <a:lvl1pPr algn="ctr" defTabSz="2438400">
              <a:defRPr sz="3000" b="1" spc="-58">
                <a:solidFill>
                  <a:srgbClr val="000000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marL="0" marR="0" lvl="0" indent="0" algn="ctr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000" b="1" i="0" u="none" strike="noStrike" kern="1200" cap="none" spc="-29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Beyond</a:t>
            </a:r>
            <a:r>
              <a:rPr kumimoji="0" lang="en-GB" sz="2000" b="1" i="0" u="none" strike="noStrike" kern="1200" cap="none" spc="-29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700</a:t>
            </a:r>
            <a:endParaRPr kumimoji="0" lang="en-US" sz="2000" b="1" i="0" u="none" strike="noStrike" kern="1200" cap="none" spc="-29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0941632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>
            <a:extLst>
              <a:ext uri="{FF2B5EF4-FFF2-40B4-BE49-F238E27FC236}">
                <a16:creationId xmlns:a16="http://schemas.microsoft.com/office/drawing/2014/main" id="{4C167328-860A-6BC2-DF9D-806CB542FBBD}"/>
              </a:ext>
            </a:extLst>
          </p:cNvPr>
          <p:cNvSpPr/>
          <p:nvPr/>
        </p:nvSpPr>
        <p:spPr>
          <a:xfrm>
            <a:off x="9781413" y="7155"/>
            <a:ext cx="2410587" cy="146414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E898DA5-9169-1810-8259-5D46CCE9B4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099D49-E9B0-4648-A2A0-22D531008F3A}" type="slidenum">
              <a:rPr lang="pl-PL" smtClean="0"/>
              <a:pPr/>
              <a:t>5</a:t>
            </a:fld>
            <a:endParaRPr lang="pl-P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1FB2CD-8602-6FB6-8F11-615B1082831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1457" y="253927"/>
            <a:ext cx="8806338" cy="679767"/>
          </a:xfrm>
        </p:spPr>
        <p:txBody>
          <a:bodyPr/>
          <a:lstStyle/>
          <a:p>
            <a:r>
              <a:rPr lang="en-GB" sz="3600" noProof="0" dirty="0">
                <a:latin typeface="Open Sans" pitchFamily="2" charset="0"/>
                <a:ea typeface="Open Sans" pitchFamily="2" charset="0"/>
                <a:cs typeface="Open Sans" pitchFamily="2" charset="0"/>
              </a:rPr>
              <a:t>ECA in a nutshell</a:t>
            </a:r>
            <a:endParaRPr lang="en-CH" sz="3600" noProof="0" dirty="0"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B6A39D8A-8353-9161-3A3A-9F5876E99EFE}"/>
              </a:ext>
            </a:extLst>
          </p:cNvPr>
          <p:cNvCxnSpPr>
            <a:cxnSpLocks/>
          </p:cNvCxnSpPr>
          <p:nvPr/>
        </p:nvCxnSpPr>
        <p:spPr>
          <a:xfrm flipH="1">
            <a:off x="6584602" y="2197138"/>
            <a:ext cx="1757330" cy="0"/>
          </a:xfrm>
          <a:prstGeom prst="straightConnector1">
            <a:avLst/>
          </a:prstGeom>
          <a:ln w="50800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B3327129-85D5-2F5A-8268-FB3540A5E0E4}"/>
              </a:ext>
            </a:extLst>
          </p:cNvPr>
          <p:cNvCxnSpPr>
            <a:cxnSpLocks/>
          </p:cNvCxnSpPr>
          <p:nvPr/>
        </p:nvCxnSpPr>
        <p:spPr>
          <a:xfrm>
            <a:off x="3335758" y="3513814"/>
            <a:ext cx="984566" cy="1"/>
          </a:xfrm>
          <a:prstGeom prst="straightConnector1">
            <a:avLst/>
          </a:prstGeom>
          <a:ln w="50800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>
            <a:extLst>
              <a:ext uri="{FF2B5EF4-FFF2-40B4-BE49-F238E27FC236}">
                <a16:creationId xmlns:a16="http://schemas.microsoft.com/office/drawing/2014/main" id="{D3AF6ECA-E670-EAA9-6B0C-8ED8E02A64B9}"/>
              </a:ext>
            </a:extLst>
          </p:cNvPr>
          <p:cNvSpPr/>
          <p:nvPr/>
        </p:nvSpPr>
        <p:spPr>
          <a:xfrm>
            <a:off x="7820979" y="4169033"/>
            <a:ext cx="1909555" cy="1899476"/>
          </a:xfrm>
          <a:prstGeom prst="ellipse">
            <a:avLst/>
          </a:prstGeom>
          <a:gradFill>
            <a:gsLst>
              <a:gs pos="5000">
                <a:schemeClr val="tx1"/>
              </a:gs>
              <a:gs pos="100000">
                <a:schemeClr val="tx1">
                  <a:lumMod val="50000"/>
                </a:schemeClr>
              </a:gs>
            </a:gsLst>
            <a:lin ang="16200000" scaled="0"/>
          </a:gradFill>
          <a:ln w="79375">
            <a:noFill/>
          </a:ln>
          <a:effectLst>
            <a:outerShdw blurRad="324718" dist="38100" dir="2700000" algn="tl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10000"/>
              </a:lnSpc>
            </a:pPr>
            <a:endParaRPr lang="en-US" sz="1400" dirty="0">
              <a:solidFill>
                <a:srgbClr val="525252"/>
              </a:solidFill>
              <a:latin typeface="Open San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7EBB88-246B-1560-6CBE-F6E0BE2FEDBE}"/>
              </a:ext>
            </a:extLst>
          </p:cNvPr>
          <p:cNvSpPr/>
          <p:nvPr/>
        </p:nvSpPr>
        <p:spPr>
          <a:xfrm>
            <a:off x="7990976" y="4587029"/>
            <a:ext cx="1392370" cy="147732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ternational Club</a:t>
            </a:r>
            <a:r>
              <a:rPr kumimoji="0" lang="en-US" sz="10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ompetition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ccess, Format and Revenue Distribution</a:t>
            </a:r>
          </a:p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gulations</a:t>
            </a:r>
          </a:p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01D8EDA-E218-4561-EF42-91059A58B188}"/>
              </a:ext>
            </a:extLst>
          </p:cNvPr>
          <p:cNvSpPr/>
          <p:nvPr/>
        </p:nvSpPr>
        <p:spPr>
          <a:xfrm>
            <a:off x="8237839" y="1118013"/>
            <a:ext cx="1909555" cy="1899476"/>
          </a:xfrm>
          <a:prstGeom prst="ellipse">
            <a:avLst/>
          </a:prstGeom>
          <a:gradFill>
            <a:gsLst>
              <a:gs pos="5000">
                <a:schemeClr val="tx1"/>
              </a:gs>
              <a:gs pos="100000">
                <a:schemeClr val="tx1">
                  <a:lumMod val="50000"/>
                </a:schemeClr>
              </a:gs>
            </a:gsLst>
            <a:lin ang="16200000" scaled="0"/>
          </a:gradFill>
          <a:ln w="79375">
            <a:noFill/>
          </a:ln>
          <a:effectLst>
            <a:outerShdw blurRad="324718" dist="38100" dir="2700000" algn="tl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10000"/>
              </a:lnSpc>
            </a:pPr>
            <a:endParaRPr lang="en-US" sz="1400">
              <a:solidFill>
                <a:srgbClr val="525252"/>
              </a:solidFill>
              <a:latin typeface="Open San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F639EF-99EE-EDF8-4A8B-B98265A9F186}"/>
              </a:ext>
            </a:extLst>
          </p:cNvPr>
          <p:cNvSpPr/>
          <p:nvPr/>
        </p:nvSpPr>
        <p:spPr>
          <a:xfrm>
            <a:off x="8515000" y="1874199"/>
            <a:ext cx="1576545" cy="55399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137160" indent="-13716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C</a:t>
            </a:r>
          </a:p>
          <a:p>
            <a:pPr marL="137160" indent="-13716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ws of the Game</a:t>
            </a:r>
          </a:p>
          <a:p>
            <a:pPr marL="137160" indent="-13716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STP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9F822A53-9304-63A0-7BEC-FAA54B3ED01C}"/>
              </a:ext>
            </a:extLst>
          </p:cNvPr>
          <p:cNvCxnSpPr>
            <a:cxnSpLocks/>
            <a:endCxn id="21" idx="6"/>
          </p:cNvCxnSpPr>
          <p:nvPr/>
        </p:nvCxnSpPr>
        <p:spPr>
          <a:xfrm flipV="1">
            <a:off x="6846429" y="4133980"/>
            <a:ext cx="2073841" cy="1"/>
          </a:xfrm>
          <a:prstGeom prst="straightConnector1">
            <a:avLst/>
          </a:prstGeom>
          <a:ln w="50800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1014E6B-9438-BB18-238A-F79435BC4490}"/>
              </a:ext>
            </a:extLst>
          </p:cNvPr>
          <p:cNvGrpSpPr/>
          <p:nvPr/>
        </p:nvGrpSpPr>
        <p:grpSpPr>
          <a:xfrm>
            <a:off x="4392897" y="1950777"/>
            <a:ext cx="2910778" cy="2910778"/>
            <a:chOff x="4671709" y="1537102"/>
            <a:chExt cx="2429542" cy="2429542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1DA51918-610C-642E-D22D-C76982BEEAD2}"/>
                </a:ext>
              </a:extLst>
            </p:cNvPr>
            <p:cNvSpPr/>
            <p:nvPr/>
          </p:nvSpPr>
          <p:spPr>
            <a:xfrm>
              <a:off x="4671709" y="1537102"/>
              <a:ext cx="2429542" cy="2429542"/>
            </a:xfrm>
            <a:prstGeom prst="ellipse">
              <a:avLst/>
            </a:prstGeom>
            <a:solidFill>
              <a:schemeClr val="bg1"/>
            </a:solidFill>
            <a:ln w="168275">
              <a:gradFill>
                <a:gsLst>
                  <a:gs pos="0">
                    <a:schemeClr val="tx1">
                      <a:lumMod val="50000"/>
                    </a:schemeClr>
                  </a:gs>
                  <a:gs pos="100000">
                    <a:schemeClr val="tx1"/>
                  </a:gs>
                </a:gsLst>
                <a:lin ang="17400000" scaled="0"/>
              </a:gradFill>
            </a:ln>
            <a:effectLst>
              <a:outerShdw blurRad="254552" dist="38100" dir="2700000" algn="tl" rotWithShape="0">
                <a:prstClr val="black">
                  <a:alpha val="20752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B0D48517-ACCF-5F6C-3059-164FFBF11000}"/>
                </a:ext>
              </a:extLst>
            </p:cNvPr>
            <p:cNvSpPr/>
            <p:nvPr/>
          </p:nvSpPr>
          <p:spPr>
            <a:xfrm>
              <a:off x="5065664" y="2030358"/>
              <a:ext cx="1611395" cy="815630"/>
            </a:xfrm>
            <a:prstGeom prst="roundRect">
              <a:avLst>
                <a:gd name="adj" fmla="val 50000"/>
              </a:avLst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  <a:effectLst>
              <a:outerShdw blurRad="256324" dist="38100" dir="2700000" algn="tl" rotWithShape="0">
                <a:prstClr val="black">
                  <a:alpha val="25347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5" name="Picture 8">
              <a:extLst>
                <a:ext uri="{FF2B5EF4-FFF2-40B4-BE49-F238E27FC236}">
                  <a16:creationId xmlns:a16="http://schemas.microsoft.com/office/drawing/2014/main" id="{B75B0AC9-D953-C2CC-6CF5-9B12EBF200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3789" y="2189273"/>
              <a:ext cx="1075146" cy="465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BE19D96-1C85-081A-354A-6B3EB0765F67}"/>
                </a:ext>
              </a:extLst>
            </p:cNvPr>
            <p:cNvSpPr txBox="1"/>
            <p:nvPr/>
          </p:nvSpPr>
          <p:spPr>
            <a:xfrm>
              <a:off x="5219545" y="2907281"/>
              <a:ext cx="1340861" cy="79636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CH" sz="2800" b="1">
                  <a:solidFill>
                    <a:srgbClr val="28A357"/>
                  </a:solidFill>
                  <a:latin typeface="Open Sans"/>
                  <a:ea typeface="Open Sans"/>
                  <a:cs typeface="Open Sans"/>
                </a:rPr>
                <a:t>70</a:t>
              </a:r>
              <a:r>
                <a:rPr kumimoji="0" lang="fr-CH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28A357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</a:rPr>
                <a:t>0+</a:t>
              </a:r>
              <a:endPara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28A357"/>
                </a:solidFill>
                <a:effectLst/>
                <a:uLnTx/>
                <a:uFillTx/>
                <a:latin typeface="Open Sans"/>
                <a:ea typeface="Open Sans"/>
                <a:cs typeface="Open San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25252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</a:rPr>
                <a:t>EUROPEAN </a:t>
              </a:r>
              <a:b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9A457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25252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</a:rPr>
                <a:t>CLUBS</a:t>
              </a:r>
            </a:p>
          </p:txBody>
        </p:sp>
      </p:grpSp>
      <p:sp>
        <p:nvSpPr>
          <p:cNvPr id="17" name="Oval 16">
            <a:extLst>
              <a:ext uri="{FF2B5EF4-FFF2-40B4-BE49-F238E27FC236}">
                <a16:creationId xmlns:a16="http://schemas.microsoft.com/office/drawing/2014/main" id="{B5FC0192-2777-7D82-EF27-4224A3C4CA9A}"/>
              </a:ext>
            </a:extLst>
          </p:cNvPr>
          <p:cNvSpPr/>
          <p:nvPr/>
        </p:nvSpPr>
        <p:spPr>
          <a:xfrm>
            <a:off x="1591102" y="2564076"/>
            <a:ext cx="1909555" cy="1899476"/>
          </a:xfrm>
          <a:prstGeom prst="ellipse">
            <a:avLst/>
          </a:prstGeom>
          <a:gradFill>
            <a:gsLst>
              <a:gs pos="5000">
                <a:schemeClr val="tx1"/>
              </a:gs>
              <a:gs pos="100000">
                <a:schemeClr val="tx1">
                  <a:lumMod val="50000"/>
                </a:schemeClr>
              </a:gs>
            </a:gsLst>
            <a:lin ang="16200000" scaled="0"/>
          </a:gradFill>
          <a:ln w="79375">
            <a:noFill/>
          </a:ln>
          <a:effectLst>
            <a:outerShdw blurRad="324718" dist="38100" dir="2700000" algn="tl" rotWithShape="0">
              <a:prstClr val="black">
                <a:alpha val="2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10000"/>
              </a:lnSpc>
            </a:pPr>
            <a:endParaRPr lang="en-US" sz="1400">
              <a:solidFill>
                <a:srgbClr val="525252"/>
              </a:solidFill>
              <a:latin typeface="Open San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CFE2F17-5B67-3990-BB3B-FE503199A74A}"/>
              </a:ext>
            </a:extLst>
          </p:cNvPr>
          <p:cNvSpPr/>
          <p:nvPr/>
        </p:nvSpPr>
        <p:spPr>
          <a:xfrm>
            <a:off x="1974775" y="2774129"/>
            <a:ext cx="1461677" cy="147732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gal Advice</a:t>
            </a:r>
          </a:p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mercial</a:t>
            </a:r>
          </a:p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nance</a:t>
            </a:r>
          </a:p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otball Operations</a:t>
            </a:r>
          </a:p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Youth</a:t>
            </a:r>
          </a:p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omen’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stainability</a:t>
            </a:r>
          </a:p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50DC187-A222-0810-991B-A07104AA2BC3}"/>
              </a:ext>
            </a:extLst>
          </p:cNvPr>
          <p:cNvSpPr/>
          <p:nvPr/>
        </p:nvSpPr>
        <p:spPr>
          <a:xfrm>
            <a:off x="3245575" y="3341100"/>
            <a:ext cx="345428" cy="34542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75000"/>
              </a:schemeClr>
            </a:solidFill>
          </a:ln>
          <a:effectLst>
            <a:outerShdw blurRad="118127" dist="38100" dir="2700000" algn="tl" rotWithShape="0">
              <a:prstClr val="black">
                <a:alpha val="25878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  <a:latin typeface="Open Sans"/>
              </a:rPr>
              <a:t>3</a:t>
            </a:r>
            <a:endParaRPr lang="en-US" sz="1200" b="1" dirty="0">
              <a:solidFill>
                <a:schemeClr val="tx1"/>
              </a:solidFill>
              <a:latin typeface="Open San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5CACF76-0073-4F0D-BF39-CFC2672767F2}"/>
              </a:ext>
            </a:extLst>
          </p:cNvPr>
          <p:cNvSpPr/>
          <p:nvPr/>
        </p:nvSpPr>
        <p:spPr>
          <a:xfrm>
            <a:off x="7983978" y="2024424"/>
            <a:ext cx="345428" cy="34542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75000"/>
              </a:schemeClr>
            </a:solidFill>
          </a:ln>
          <a:effectLst>
            <a:outerShdw blurRad="118127" dist="38100" dir="2700000" algn="tl" rotWithShape="0">
              <a:prstClr val="black">
                <a:alpha val="25878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Open Sans"/>
              </a:rPr>
              <a:t>1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0DF1846-0037-44AA-C915-5341EC24CB89}"/>
              </a:ext>
            </a:extLst>
          </p:cNvPr>
          <p:cNvSpPr/>
          <p:nvPr/>
        </p:nvSpPr>
        <p:spPr>
          <a:xfrm>
            <a:off x="8574842" y="3961266"/>
            <a:ext cx="345428" cy="34542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>
                <a:lumMod val="75000"/>
              </a:schemeClr>
            </a:solidFill>
          </a:ln>
          <a:effectLst>
            <a:outerShdw blurRad="118127" dist="38100" dir="2700000" algn="tl" rotWithShape="0">
              <a:prstClr val="black">
                <a:alpha val="25878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Open Sans"/>
              </a:rPr>
              <a:t>2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85401DE-E608-B86B-7CE1-223E521573E6}"/>
              </a:ext>
            </a:extLst>
          </p:cNvPr>
          <p:cNvGrpSpPr/>
          <p:nvPr/>
        </p:nvGrpSpPr>
        <p:grpSpPr>
          <a:xfrm>
            <a:off x="4182284" y="3286147"/>
            <a:ext cx="455335" cy="455335"/>
            <a:chOff x="4090485" y="4068730"/>
            <a:chExt cx="455335" cy="455335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E186978-B891-E9EA-2F70-EE48EE46FD0B}"/>
                </a:ext>
              </a:extLst>
            </p:cNvPr>
            <p:cNvSpPr/>
            <p:nvPr/>
          </p:nvSpPr>
          <p:spPr>
            <a:xfrm>
              <a:off x="4090485" y="4068730"/>
              <a:ext cx="455335" cy="455335"/>
            </a:xfrm>
            <a:prstGeom prst="ellipse">
              <a:avLst/>
            </a:prstGeom>
            <a:solidFill>
              <a:schemeClr val="tx1">
                <a:lumMod val="75000"/>
              </a:schemeClr>
            </a:solidFill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4" name="Grafika 38">
              <a:extLst>
                <a:ext uri="{FF2B5EF4-FFF2-40B4-BE49-F238E27FC236}">
                  <a16:creationId xmlns:a16="http://schemas.microsoft.com/office/drawing/2014/main" id="{3DE5D89A-1799-6010-9CD2-C1E5E9A70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202369" y="4163654"/>
              <a:ext cx="250689" cy="250689"/>
            </a:xfrm>
            <a:prstGeom prst="rect">
              <a:avLst/>
            </a:prstGeom>
            <a:effectLst>
              <a:outerShdw blurRad="118127" dist="38100" dir="2700000" algn="tl" rotWithShape="0">
                <a:prstClr val="black">
                  <a:alpha val="25878"/>
                </a:prstClr>
              </a:outerShdw>
            </a:effectLst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5B1AF37-2C35-3901-DE5E-C323A0E613F5}"/>
              </a:ext>
            </a:extLst>
          </p:cNvPr>
          <p:cNvGrpSpPr/>
          <p:nvPr/>
        </p:nvGrpSpPr>
        <p:grpSpPr>
          <a:xfrm>
            <a:off x="6330327" y="1978773"/>
            <a:ext cx="436731" cy="436731"/>
            <a:chOff x="7007447" y="2720304"/>
            <a:chExt cx="436731" cy="436731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AF41DD3F-CD38-4F2C-79AD-4282ED40672C}"/>
                </a:ext>
              </a:extLst>
            </p:cNvPr>
            <p:cNvSpPr/>
            <p:nvPr/>
          </p:nvSpPr>
          <p:spPr>
            <a:xfrm>
              <a:off x="7007447" y="2720304"/>
              <a:ext cx="436731" cy="436731"/>
            </a:xfrm>
            <a:prstGeom prst="ellipse">
              <a:avLst/>
            </a:prstGeom>
            <a:solidFill>
              <a:schemeClr val="tx1">
                <a:lumMod val="75000"/>
              </a:schemeClr>
            </a:solidFill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7" name="Grafika 9">
              <a:extLst>
                <a:ext uri="{FF2B5EF4-FFF2-40B4-BE49-F238E27FC236}">
                  <a16:creationId xmlns:a16="http://schemas.microsoft.com/office/drawing/2014/main" id="{8D7B3AF6-7A2B-2389-4159-DE54734ECDA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117821" y="2828861"/>
              <a:ext cx="203711" cy="203711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BAB5C04-480B-6230-D533-A634C42AE59F}"/>
              </a:ext>
            </a:extLst>
          </p:cNvPr>
          <p:cNvGrpSpPr/>
          <p:nvPr/>
        </p:nvGrpSpPr>
        <p:grpSpPr>
          <a:xfrm>
            <a:off x="6913499" y="3913304"/>
            <a:ext cx="441353" cy="441353"/>
            <a:chOff x="6836250" y="4378141"/>
            <a:chExt cx="441353" cy="441353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83B3010F-B022-1BCB-FB99-13C566AA8C83}"/>
                </a:ext>
              </a:extLst>
            </p:cNvPr>
            <p:cNvSpPr/>
            <p:nvPr/>
          </p:nvSpPr>
          <p:spPr>
            <a:xfrm>
              <a:off x="6836250" y="4378141"/>
              <a:ext cx="441353" cy="441353"/>
            </a:xfrm>
            <a:prstGeom prst="ellipse">
              <a:avLst/>
            </a:prstGeom>
            <a:solidFill>
              <a:schemeClr val="tx1">
                <a:lumMod val="75000"/>
              </a:schemeClr>
            </a:solidFill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C55E7B97-B041-5D11-5856-CB00DD717B4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952671" y="4500622"/>
              <a:ext cx="203219" cy="203219"/>
            </a:xfrm>
            <a:prstGeom prst="rect">
              <a:avLst/>
            </a:prstGeom>
          </p:spPr>
        </p:pic>
      </p:grpSp>
      <p:sp>
        <p:nvSpPr>
          <p:cNvPr id="31" name="Oval 30">
            <a:extLst>
              <a:ext uri="{FF2B5EF4-FFF2-40B4-BE49-F238E27FC236}">
                <a16:creationId xmlns:a16="http://schemas.microsoft.com/office/drawing/2014/main" id="{92A8747E-92FE-68FD-9DA9-73B75E45E3EE}"/>
              </a:ext>
            </a:extLst>
          </p:cNvPr>
          <p:cNvSpPr/>
          <p:nvPr/>
        </p:nvSpPr>
        <p:spPr>
          <a:xfrm>
            <a:off x="9562348" y="4514904"/>
            <a:ext cx="1268626" cy="1270917"/>
          </a:xfrm>
          <a:prstGeom prst="ellipse">
            <a:avLst/>
          </a:prstGeom>
          <a:solidFill>
            <a:schemeClr val="tx1"/>
          </a:solidFill>
          <a:ln w="168275">
            <a:noFill/>
          </a:ln>
          <a:effectLst>
            <a:outerShdw blurRad="254552" dist="38100" dir="2700000" algn="tl" rotWithShape="0">
              <a:prstClr val="black">
                <a:alpha val="20752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oint Ventures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en-GB" sz="10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r commercial matters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90FDF348-2E87-CF4C-050A-699728CF27C0}"/>
              </a:ext>
            </a:extLst>
          </p:cNvPr>
          <p:cNvGrpSpPr/>
          <p:nvPr/>
        </p:nvGrpSpPr>
        <p:grpSpPr>
          <a:xfrm>
            <a:off x="9366266" y="4299348"/>
            <a:ext cx="592922" cy="592922"/>
            <a:chOff x="9612762" y="1595075"/>
            <a:chExt cx="859718" cy="859718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5A8A6F6B-545B-F69E-70B4-E5D823070263}"/>
                </a:ext>
              </a:extLst>
            </p:cNvPr>
            <p:cNvSpPr/>
            <p:nvPr/>
          </p:nvSpPr>
          <p:spPr>
            <a:xfrm>
              <a:off x="9612762" y="1595075"/>
              <a:ext cx="859718" cy="85971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75000"/>
                </a:schemeClr>
              </a:solidFill>
            </a:ln>
            <a:effectLst>
              <a:outerShdw blurRad="118127" dist="38100" dir="2700000" algn="tl" rotWithShape="0">
                <a:prstClr val="black">
                  <a:alpha val="25878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="1">
                <a:solidFill>
                  <a:schemeClr val="tx1"/>
                </a:solidFill>
                <a:latin typeface="Open Sans"/>
              </a:endParaRPr>
            </a:p>
          </p:txBody>
        </p:sp>
        <p:pic>
          <p:nvPicPr>
            <p:cNvPr id="34" name="Picture 6">
              <a:extLst>
                <a:ext uri="{FF2B5EF4-FFF2-40B4-BE49-F238E27FC236}">
                  <a16:creationId xmlns:a16="http://schemas.microsoft.com/office/drawing/2014/main" id="{CA13AA9B-10F9-F812-0258-58E334C9CA4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63679" y="1745992"/>
              <a:ext cx="557885" cy="5578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0C3EA02-9971-1CA3-3567-C04930EB6F75}"/>
              </a:ext>
            </a:extLst>
          </p:cNvPr>
          <p:cNvGrpSpPr/>
          <p:nvPr/>
        </p:nvGrpSpPr>
        <p:grpSpPr>
          <a:xfrm>
            <a:off x="9553380" y="1104191"/>
            <a:ext cx="592922" cy="592922"/>
            <a:chOff x="8861153" y="394626"/>
            <a:chExt cx="859718" cy="859718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9E542DF9-1002-AEAC-109B-F5CC94535C35}"/>
                </a:ext>
              </a:extLst>
            </p:cNvPr>
            <p:cNvSpPr/>
            <p:nvPr/>
          </p:nvSpPr>
          <p:spPr>
            <a:xfrm>
              <a:off x="8861153" y="394626"/>
              <a:ext cx="859718" cy="85971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75000"/>
                </a:schemeClr>
              </a:solidFill>
            </a:ln>
            <a:effectLst>
              <a:outerShdw blurRad="118127" dist="38100" dir="2700000" algn="tl" rotWithShape="0">
                <a:prstClr val="black">
                  <a:alpha val="25878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="1">
                <a:solidFill>
                  <a:schemeClr val="tx1"/>
                </a:solidFill>
                <a:latin typeface="Open Sans"/>
              </a:endParaRPr>
            </a:p>
          </p:txBody>
        </p:sp>
        <p:pic>
          <p:nvPicPr>
            <p:cNvPr id="37" name="Picture 2">
              <a:extLst>
                <a:ext uri="{FF2B5EF4-FFF2-40B4-BE49-F238E27FC236}">
                  <a16:creationId xmlns:a16="http://schemas.microsoft.com/office/drawing/2014/main" id="{260C1F60-CA27-052C-4F78-C2456C47EB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06305" y="627096"/>
              <a:ext cx="569414" cy="3947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D4ACE95-2285-0B08-5654-DDD1FFB10144}"/>
              </a:ext>
            </a:extLst>
          </p:cNvPr>
          <p:cNvGrpSpPr/>
          <p:nvPr/>
        </p:nvGrpSpPr>
        <p:grpSpPr>
          <a:xfrm>
            <a:off x="8973350" y="818947"/>
            <a:ext cx="592922" cy="592922"/>
            <a:chOff x="9612762" y="1595075"/>
            <a:chExt cx="859718" cy="859718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AA883CBD-B85A-7E33-E3C6-AF8B1D8A0516}"/>
                </a:ext>
              </a:extLst>
            </p:cNvPr>
            <p:cNvSpPr/>
            <p:nvPr/>
          </p:nvSpPr>
          <p:spPr>
            <a:xfrm>
              <a:off x="9612762" y="1595075"/>
              <a:ext cx="859718" cy="85971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75000"/>
                </a:schemeClr>
              </a:solidFill>
            </a:ln>
            <a:effectLst>
              <a:outerShdw blurRad="118127" dist="38100" dir="2700000" algn="tl" rotWithShape="0">
                <a:prstClr val="black">
                  <a:alpha val="25878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="1">
                <a:solidFill>
                  <a:schemeClr val="tx1"/>
                </a:solidFill>
                <a:latin typeface="Open Sans"/>
              </a:endParaRPr>
            </a:p>
          </p:txBody>
        </p:sp>
        <p:pic>
          <p:nvPicPr>
            <p:cNvPr id="40" name="Picture 6">
              <a:extLst>
                <a:ext uri="{FF2B5EF4-FFF2-40B4-BE49-F238E27FC236}">
                  <a16:creationId xmlns:a16="http://schemas.microsoft.com/office/drawing/2014/main" id="{2C11D47C-B391-6E52-2DEC-D08FD17905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63679" y="1745992"/>
              <a:ext cx="557885" cy="5578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EE5C028-848E-941D-02D7-B20C43F7CFAD}"/>
              </a:ext>
            </a:extLst>
          </p:cNvPr>
          <p:cNvGrpSpPr/>
          <p:nvPr/>
        </p:nvGrpSpPr>
        <p:grpSpPr>
          <a:xfrm>
            <a:off x="8340892" y="1112516"/>
            <a:ext cx="585103" cy="585103"/>
            <a:chOff x="7946568" y="2226955"/>
            <a:chExt cx="859718" cy="859718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6A26C6F8-F565-40B4-E1C4-84B9C2DE2406}"/>
                </a:ext>
              </a:extLst>
            </p:cNvPr>
            <p:cNvSpPr/>
            <p:nvPr/>
          </p:nvSpPr>
          <p:spPr>
            <a:xfrm>
              <a:off x="7946568" y="2226955"/>
              <a:ext cx="859718" cy="85971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75000"/>
                </a:schemeClr>
              </a:solidFill>
            </a:ln>
            <a:effectLst>
              <a:outerShdw blurRad="118127" dist="38100" dir="2700000" algn="tl" rotWithShape="0">
                <a:prstClr val="black">
                  <a:alpha val="25878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="1">
                <a:solidFill>
                  <a:schemeClr val="tx1"/>
                </a:solidFill>
                <a:latin typeface="Open Sans"/>
              </a:endParaRPr>
            </a:p>
          </p:txBody>
        </p:sp>
        <p:pic>
          <p:nvPicPr>
            <p:cNvPr id="43" name="Picture 4" descr="Fédération internationale de football association — Wikipédia">
              <a:extLst>
                <a:ext uri="{FF2B5EF4-FFF2-40B4-BE49-F238E27FC236}">
                  <a16:creationId xmlns:a16="http://schemas.microsoft.com/office/drawing/2014/main" id="{8B489046-CC1D-E98A-57CA-2CB3481ADCE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14274" y="2570741"/>
              <a:ext cx="524306" cy="172147"/>
            </a:xfrm>
            <a:prstGeom prst="rect">
              <a:avLst/>
            </a:prstGeom>
            <a:solidFill>
              <a:schemeClr val="bg1"/>
            </a:solidFill>
            <a:ln w="28575">
              <a:noFill/>
            </a:ln>
            <a:effectLst/>
          </p:spPr>
        </p:pic>
      </p:grp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41B70B98-0892-4518-78F5-6610A820BF34}"/>
              </a:ext>
            </a:extLst>
          </p:cNvPr>
          <p:cNvSpPr/>
          <p:nvPr/>
        </p:nvSpPr>
        <p:spPr>
          <a:xfrm>
            <a:off x="8033022" y="2631124"/>
            <a:ext cx="2440543" cy="761315"/>
          </a:xfrm>
          <a:prstGeom prst="roundRect">
            <a:avLst>
              <a:gd name="adj" fmla="val 50000"/>
            </a:avLst>
          </a:prstGeom>
          <a:solidFill>
            <a:srgbClr val="002E1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F2AC9CAC-4D5C-6AB8-1125-F446D7C16B93}"/>
              </a:ext>
            </a:extLst>
          </p:cNvPr>
          <p:cNvSpPr/>
          <p:nvPr/>
        </p:nvSpPr>
        <p:spPr>
          <a:xfrm>
            <a:off x="8052796" y="2726063"/>
            <a:ext cx="2400994" cy="5714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presenting </a:t>
            </a:r>
            <a:b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uropean Clubs with Governing Bodies</a:t>
            </a:r>
            <a:r>
              <a:rPr kumimoji="0" lang="en-CH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/ Public </a:t>
            </a: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kumimoji="0" lang="en-CH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thorities</a:t>
            </a:r>
            <a:endParaRPr kumimoji="0" lang="en-GB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9ABCF085-6219-98C5-D10E-F76D33A05B5F}"/>
              </a:ext>
            </a:extLst>
          </p:cNvPr>
          <p:cNvSpPr/>
          <p:nvPr/>
        </p:nvSpPr>
        <p:spPr>
          <a:xfrm>
            <a:off x="7676803" y="5795339"/>
            <a:ext cx="2235889" cy="696833"/>
          </a:xfrm>
          <a:prstGeom prst="roundRect">
            <a:avLst>
              <a:gd name="adj" fmla="val 50000"/>
            </a:avLst>
          </a:prstGeom>
          <a:solidFill>
            <a:srgbClr val="002E1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21715AC-0350-3DD4-3D76-97BE00DCD96D}"/>
              </a:ext>
            </a:extLst>
          </p:cNvPr>
          <p:cNvSpPr/>
          <p:nvPr/>
        </p:nvSpPr>
        <p:spPr>
          <a:xfrm>
            <a:off x="7926767" y="5869760"/>
            <a:ext cx="1735960" cy="5714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oint engagement with UEFA </a:t>
            </a: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/ FIFA </a:t>
            </a:r>
            <a:r>
              <a:rPr kumimoji="0" lang="en-CH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 managing </a:t>
            </a: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Cs </a:t>
            </a:r>
            <a:r>
              <a:rPr kumimoji="0" lang="en-CH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ramework</a:t>
            </a:r>
            <a:endParaRPr kumimoji="0" lang="en-GB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8" name="Rounded Rectangle 47">
            <a:extLst>
              <a:ext uri="{FF2B5EF4-FFF2-40B4-BE49-F238E27FC236}">
                <a16:creationId xmlns:a16="http://schemas.microsoft.com/office/drawing/2014/main" id="{01AB2BD0-6A65-35A1-61B0-1A8FEEDE22DE}"/>
              </a:ext>
            </a:extLst>
          </p:cNvPr>
          <p:cNvSpPr/>
          <p:nvPr/>
        </p:nvSpPr>
        <p:spPr>
          <a:xfrm>
            <a:off x="1565182" y="4181279"/>
            <a:ext cx="1961394" cy="683864"/>
          </a:xfrm>
          <a:prstGeom prst="roundRect">
            <a:avLst>
              <a:gd name="adj" fmla="val 50000"/>
            </a:avLst>
          </a:prstGeom>
          <a:solidFill>
            <a:srgbClr val="002E1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5A5C9E0-F78F-AE3D-92F7-A313C673D7A6}"/>
              </a:ext>
            </a:extLst>
          </p:cNvPr>
          <p:cNvSpPr/>
          <p:nvPr/>
        </p:nvSpPr>
        <p:spPr>
          <a:xfrm>
            <a:off x="1783702" y="4237493"/>
            <a:ext cx="1524354" cy="5714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0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rvices provision across all club functions areas</a:t>
            </a:r>
            <a:endParaRPr kumimoji="0" lang="en-GB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0FC033DE-A786-24EB-F9BB-95900E7126F8}"/>
              </a:ext>
            </a:extLst>
          </p:cNvPr>
          <p:cNvGrpSpPr/>
          <p:nvPr/>
        </p:nvGrpSpPr>
        <p:grpSpPr>
          <a:xfrm>
            <a:off x="10420137" y="4286114"/>
            <a:ext cx="585103" cy="585103"/>
            <a:chOff x="7946568" y="2226955"/>
            <a:chExt cx="859718" cy="859718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B36A44C6-C5A8-8967-4BF2-C701119462EF}"/>
                </a:ext>
              </a:extLst>
            </p:cNvPr>
            <p:cNvSpPr/>
            <p:nvPr/>
          </p:nvSpPr>
          <p:spPr>
            <a:xfrm>
              <a:off x="7946568" y="2226955"/>
              <a:ext cx="859718" cy="85971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1">
                  <a:lumMod val="75000"/>
                </a:schemeClr>
              </a:solidFill>
            </a:ln>
            <a:effectLst>
              <a:outerShdw blurRad="118127" dist="38100" dir="2700000" algn="tl" rotWithShape="0">
                <a:prstClr val="black">
                  <a:alpha val="25878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="1">
                <a:solidFill>
                  <a:schemeClr val="tx1"/>
                </a:solidFill>
                <a:latin typeface="Open Sans"/>
              </a:endParaRPr>
            </a:p>
          </p:txBody>
        </p:sp>
        <p:pic>
          <p:nvPicPr>
            <p:cNvPr id="54" name="Picture 4" descr="Fédération internationale de football association — Wikipédia">
              <a:extLst>
                <a:ext uri="{FF2B5EF4-FFF2-40B4-BE49-F238E27FC236}">
                  <a16:creationId xmlns:a16="http://schemas.microsoft.com/office/drawing/2014/main" id="{9C8663CD-1E34-482D-7FAB-EFDF9554FD1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14274" y="2570741"/>
              <a:ext cx="524306" cy="172147"/>
            </a:xfrm>
            <a:prstGeom prst="rect">
              <a:avLst/>
            </a:prstGeom>
            <a:solidFill>
              <a:schemeClr val="bg1"/>
            </a:solidFill>
            <a:ln w="28575">
              <a:noFill/>
            </a:ln>
            <a:effectLst/>
          </p:spPr>
        </p:pic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9FDA7AE7-264C-10F8-B44C-FD1C12ADAA7A}"/>
              </a:ext>
            </a:extLst>
          </p:cNvPr>
          <p:cNvGrpSpPr/>
          <p:nvPr/>
        </p:nvGrpSpPr>
        <p:grpSpPr>
          <a:xfrm>
            <a:off x="10233652" y="291314"/>
            <a:ext cx="1373893" cy="752560"/>
            <a:chOff x="10506211" y="315080"/>
            <a:chExt cx="1223334" cy="670090"/>
          </a:xfrm>
        </p:grpSpPr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8F5B9D4D-E724-46F1-2856-16164463AA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-8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54553" y="838547"/>
              <a:ext cx="882870" cy="45719"/>
            </a:xfrm>
            <a:prstGeom prst="rect">
              <a:avLst/>
            </a:prstGeom>
          </p:spPr>
        </p:pic>
        <p:pic>
          <p:nvPicPr>
            <p:cNvPr id="59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E8A6563A-8DB5-FE04-3EC9-211DC12788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6211" y="315080"/>
              <a:ext cx="1223334" cy="6700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288912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 animBg="1"/>
      <p:bldP spid="10" grpId="0"/>
      <p:bldP spid="17" grpId="0" animBg="1"/>
      <p:bldP spid="18" grpId="0"/>
      <p:bldP spid="19" grpId="0" animBg="1"/>
      <p:bldP spid="20" grpId="0" animBg="1"/>
      <p:bldP spid="21" grpId="0" animBg="1"/>
      <p:bldP spid="31" grpId="0" animBg="1"/>
      <p:bldP spid="44" grpId="0" animBg="1"/>
      <p:bldP spid="45" grpId="0"/>
      <p:bldP spid="46" grpId="0" animBg="1"/>
      <p:bldP spid="47" grpId="0"/>
      <p:bldP spid="48" grpId="0" animBg="1"/>
      <p:bldP spid="4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4EF67F-758B-EDA5-9C97-E690EC36F7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1AF72EC-1919-1593-A76A-760C5AED1F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99D49-E9B0-4648-A2A0-22D531008F3A}" type="slidenum">
              <a:rPr kumimoji="0" lang="pl-PL" sz="1200" b="1" i="1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pl-PL" sz="1200" b="1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4DFDB006-7D7C-3C90-B0B2-4A8932D8F520}"/>
              </a:ext>
            </a:extLst>
          </p:cNvPr>
          <p:cNvSpPr/>
          <p:nvPr/>
        </p:nvSpPr>
        <p:spPr>
          <a:xfrm>
            <a:off x="0" y="-15043"/>
            <a:ext cx="12206990" cy="3755004"/>
          </a:xfrm>
          <a:custGeom>
            <a:avLst/>
            <a:gdLst>
              <a:gd name="connsiteX0" fmla="*/ 0 w 12165496"/>
              <a:gd name="connsiteY0" fmla="*/ 3617844 h 3617844"/>
              <a:gd name="connsiteX1" fmla="*/ 0 w 12165496"/>
              <a:gd name="connsiteY1" fmla="*/ 0 h 3617844"/>
              <a:gd name="connsiteX2" fmla="*/ 12165496 w 12165496"/>
              <a:gd name="connsiteY2" fmla="*/ 0 h 3617844"/>
              <a:gd name="connsiteX3" fmla="*/ 12165496 w 12165496"/>
              <a:gd name="connsiteY3" fmla="*/ 1490870 h 3617844"/>
              <a:gd name="connsiteX4" fmla="*/ 5128591 w 12165496"/>
              <a:gd name="connsiteY4" fmla="*/ 2166731 h 3617844"/>
              <a:gd name="connsiteX5" fmla="*/ 1113183 w 12165496"/>
              <a:gd name="connsiteY5" fmla="*/ 3279913 h 3617844"/>
              <a:gd name="connsiteX6" fmla="*/ 0 w 12165496"/>
              <a:gd name="connsiteY6" fmla="*/ 3617844 h 3617844"/>
              <a:gd name="connsiteX0" fmla="*/ 0 w 12165496"/>
              <a:gd name="connsiteY0" fmla="*/ 3755004 h 3755004"/>
              <a:gd name="connsiteX1" fmla="*/ 0 w 12165496"/>
              <a:gd name="connsiteY1" fmla="*/ 0 h 3755004"/>
              <a:gd name="connsiteX2" fmla="*/ 12165496 w 12165496"/>
              <a:gd name="connsiteY2" fmla="*/ 137160 h 3755004"/>
              <a:gd name="connsiteX3" fmla="*/ 12165496 w 12165496"/>
              <a:gd name="connsiteY3" fmla="*/ 1628030 h 3755004"/>
              <a:gd name="connsiteX4" fmla="*/ 5128591 w 12165496"/>
              <a:gd name="connsiteY4" fmla="*/ 2303891 h 3755004"/>
              <a:gd name="connsiteX5" fmla="*/ 1113183 w 12165496"/>
              <a:gd name="connsiteY5" fmla="*/ 3417073 h 3755004"/>
              <a:gd name="connsiteX6" fmla="*/ 0 w 12165496"/>
              <a:gd name="connsiteY6" fmla="*/ 3755004 h 3755004"/>
              <a:gd name="connsiteX0" fmla="*/ 0 w 12165496"/>
              <a:gd name="connsiteY0" fmla="*/ 3755004 h 3755004"/>
              <a:gd name="connsiteX1" fmla="*/ 0 w 12165496"/>
              <a:gd name="connsiteY1" fmla="*/ 0 h 3755004"/>
              <a:gd name="connsiteX2" fmla="*/ 12165496 w 12165496"/>
              <a:gd name="connsiteY2" fmla="*/ 11430 h 3755004"/>
              <a:gd name="connsiteX3" fmla="*/ 12165496 w 12165496"/>
              <a:gd name="connsiteY3" fmla="*/ 1628030 h 3755004"/>
              <a:gd name="connsiteX4" fmla="*/ 5128591 w 12165496"/>
              <a:gd name="connsiteY4" fmla="*/ 2303891 h 3755004"/>
              <a:gd name="connsiteX5" fmla="*/ 1113183 w 12165496"/>
              <a:gd name="connsiteY5" fmla="*/ 3417073 h 3755004"/>
              <a:gd name="connsiteX6" fmla="*/ 0 w 12165496"/>
              <a:gd name="connsiteY6" fmla="*/ 3755004 h 3755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65496" h="3755004">
                <a:moveTo>
                  <a:pt x="0" y="3755004"/>
                </a:moveTo>
                <a:lnTo>
                  <a:pt x="0" y="0"/>
                </a:lnTo>
                <a:lnTo>
                  <a:pt x="12165496" y="11430"/>
                </a:lnTo>
                <a:lnTo>
                  <a:pt x="12165496" y="1628030"/>
                </a:lnTo>
                <a:lnTo>
                  <a:pt x="5128591" y="2303891"/>
                </a:lnTo>
                <a:lnTo>
                  <a:pt x="1113183" y="3417073"/>
                </a:lnTo>
                <a:lnTo>
                  <a:pt x="0" y="375500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D91FE65-6D74-8E47-FCAD-6E7E1D71AFC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1582"/>
          <a:stretch/>
        </p:blipFill>
        <p:spPr>
          <a:xfrm>
            <a:off x="1" y="996655"/>
            <a:ext cx="12206990" cy="4864690"/>
          </a:xfrm>
          <a:custGeom>
            <a:avLst/>
            <a:gdLst>
              <a:gd name="connsiteX0" fmla="*/ 0 w 12192001"/>
              <a:gd name="connsiteY0" fmla="*/ 0 h 4858717"/>
              <a:gd name="connsiteX1" fmla="*/ 12192001 w 12192001"/>
              <a:gd name="connsiteY1" fmla="*/ 0 h 4858717"/>
              <a:gd name="connsiteX2" fmla="*/ 12192001 w 12192001"/>
              <a:gd name="connsiteY2" fmla="*/ 4795392 h 4858717"/>
              <a:gd name="connsiteX3" fmla="*/ 12172462 w 12192001"/>
              <a:gd name="connsiteY3" fmla="*/ 2499507 h 4858717"/>
              <a:gd name="connsiteX4" fmla="*/ 6959017 w 12192001"/>
              <a:gd name="connsiteY4" fmla="*/ 3673214 h 4858717"/>
              <a:gd name="connsiteX5" fmla="*/ 6951918 w 12192001"/>
              <a:gd name="connsiteY5" fmla="*/ 4858717 h 4858717"/>
              <a:gd name="connsiteX6" fmla="*/ 0 w 12192001"/>
              <a:gd name="connsiteY6" fmla="*/ 4858717 h 4858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1" h="4858717">
                <a:moveTo>
                  <a:pt x="0" y="0"/>
                </a:moveTo>
                <a:lnTo>
                  <a:pt x="12192001" y="0"/>
                </a:lnTo>
                <a:lnTo>
                  <a:pt x="12192001" y="4795392"/>
                </a:lnTo>
                <a:lnTo>
                  <a:pt x="12172462" y="2499507"/>
                </a:lnTo>
                <a:lnTo>
                  <a:pt x="6959017" y="3673214"/>
                </a:lnTo>
                <a:lnTo>
                  <a:pt x="6951918" y="4858717"/>
                </a:lnTo>
                <a:lnTo>
                  <a:pt x="0" y="4858717"/>
                </a:lnTo>
                <a:close/>
              </a:path>
            </a:pathLst>
          </a:cu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ADCF67ED-D964-F6B3-4F0B-2B63D454EAC0}"/>
              </a:ext>
            </a:extLst>
          </p:cNvPr>
          <p:cNvGrpSpPr/>
          <p:nvPr/>
        </p:nvGrpSpPr>
        <p:grpSpPr>
          <a:xfrm>
            <a:off x="10233652" y="291314"/>
            <a:ext cx="1373893" cy="752560"/>
            <a:chOff x="10506211" y="315080"/>
            <a:chExt cx="1223334" cy="67009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76264ABC-4CAB-4EFF-AB74-CF4BACE0B2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-8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54553" y="838547"/>
              <a:ext cx="882870" cy="45719"/>
            </a:xfrm>
            <a:prstGeom prst="rect">
              <a:avLst/>
            </a:prstGeom>
          </p:spPr>
        </p:pic>
        <p:pic>
          <p:nvPicPr>
            <p:cNvPr id="14" name="Obraz 9" descr="Obraz zawierający znak, zegar&#10;&#10;Opis wygenerowany automatycznie">
              <a:extLst>
                <a:ext uri="{FF2B5EF4-FFF2-40B4-BE49-F238E27FC236}">
                  <a16:creationId xmlns:a16="http://schemas.microsoft.com/office/drawing/2014/main" id="{B91B160D-8D56-FDBB-80ED-DA935359957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6211" y="315080"/>
              <a:ext cx="1223334" cy="670090"/>
            </a:xfrm>
            <a:prstGeom prst="rect">
              <a:avLst/>
            </a:prstGeom>
          </p:spPr>
        </p:pic>
      </p:grp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E44DA78-D99F-95BA-457A-D6CEBBA5195C}"/>
              </a:ext>
            </a:extLst>
          </p:cNvPr>
          <p:cNvSpPr txBox="1">
            <a:spLocks/>
          </p:cNvSpPr>
          <p:nvPr/>
        </p:nvSpPr>
        <p:spPr>
          <a:xfrm>
            <a:off x="828073" y="376338"/>
            <a:ext cx="9469214" cy="628580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lang="pl-PL" sz="2800" b="1" kern="1200" spc="-15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200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2168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704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131200" indent="-228600" algn="l" defTabSz="914400" rtl="0" eaLnBrk="1" latinLnBrk="0" hangingPunct="1">
              <a:lnSpc>
                <a:spcPct val="114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kumimoji="0" lang="en-CH" sz="2800" b="1" i="0" u="none" strike="noStrike" kern="1200" cap="none" spc="-150" normalizeH="0" baseline="0" noProof="0" dirty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With such a broad range of club perspectives, </a:t>
            </a:r>
            <a:r>
              <a:rPr kumimoji="0" lang="en-CH" sz="2800" b="1" i="0" u="none" strike="noStrike" kern="1200" cap="none" spc="-150" normalizeH="0" baseline="0" noProof="0" dirty="0" err="1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alanc</a:t>
            </a:r>
            <a:r>
              <a:rPr kumimoji="0" lang="en-GB" sz="2800" b="1" i="0" u="none" strike="noStrike" kern="1200" cap="none" spc="-150" normalizeH="0" baseline="0" noProof="0" dirty="0" err="1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ng</a:t>
            </a:r>
            <a:r>
              <a:rPr kumimoji="0" lang="en-CH" sz="2800" b="1" i="0" u="none" strike="noStrike" kern="1200" cap="none" spc="-150" normalizeH="0" baseline="0" noProof="0" dirty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2800" b="1" i="0" u="none" strike="noStrike" kern="1200" cap="none" spc="-150" normalizeH="0" baseline="0" noProof="0" dirty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“</a:t>
            </a:r>
            <a:r>
              <a:rPr kumimoji="0" lang="en-CH" sz="2800" b="1" i="0" u="none" strike="noStrike" kern="1200" cap="none" spc="-150" normalizeH="0" baseline="0" noProof="0" dirty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onsensus with compromise</a:t>
            </a:r>
            <a:r>
              <a:rPr kumimoji="0" lang="en-GB" sz="2800" b="1" i="0" u="none" strike="noStrike" kern="1200" cap="none" spc="-150" normalizeH="0" baseline="0" noProof="0" dirty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”</a:t>
            </a:r>
            <a:r>
              <a:rPr kumimoji="0" lang="en-CH" sz="2800" b="1" i="0" u="none" strike="noStrike" kern="1200" cap="none" spc="-150" normalizeH="0" baseline="0" noProof="0" dirty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2800" b="1" i="0" u="none" strike="noStrike" kern="1200" cap="none" spc="-150" normalizeH="0" baseline="0" noProof="0" dirty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s </a:t>
            </a:r>
            <a:r>
              <a:rPr kumimoji="0" lang="en-CH" sz="2800" b="1" i="0" u="none" strike="noStrike" kern="1200" cap="none" spc="-150" normalizeH="0" baseline="0" noProof="0" dirty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vital</a:t>
            </a:r>
            <a:endParaRPr kumimoji="0" lang="en-GB" sz="2800" b="1" i="0" u="none" strike="noStrike" kern="1200" cap="none" spc="-150" normalizeH="0" baseline="0" noProof="0" dirty="0">
              <a:ln>
                <a:noFill/>
              </a:ln>
              <a:solidFill>
                <a:srgbClr val="29A457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84EAD37-CAD6-1B81-9019-9A0D92326FFD}"/>
              </a:ext>
            </a:extLst>
          </p:cNvPr>
          <p:cNvSpPr txBox="1">
            <a:spLocks/>
          </p:cNvSpPr>
          <p:nvPr/>
        </p:nvSpPr>
        <p:spPr>
          <a:xfrm>
            <a:off x="1112154" y="1712138"/>
            <a:ext cx="4153759" cy="437803"/>
          </a:xfrm>
          <a:prstGeom prst="rect">
            <a:avLst/>
          </a:prstGeom>
        </p:spPr>
        <p:txBody>
          <a:bodyPr lIns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0784CB0-C5FE-D70C-D32E-76EDD65D4F5C}"/>
              </a:ext>
            </a:extLst>
          </p:cNvPr>
          <p:cNvSpPr/>
          <p:nvPr/>
        </p:nvSpPr>
        <p:spPr>
          <a:xfrm>
            <a:off x="475881" y="6334795"/>
            <a:ext cx="3417318" cy="343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</a:t>
            </a:r>
            <a:r>
              <a:rPr kumimoji="0" lang="en-CH" sz="1000" b="0" i="1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urce</a:t>
            </a:r>
            <a:r>
              <a:rPr kumimoji="0" lang="en-CH" sz="10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: Estimates based on UEFA, ECA and Deloitte</a:t>
            </a:r>
          </a:p>
        </p:txBody>
      </p:sp>
      <p:sp>
        <p:nvSpPr>
          <p:cNvPr id="4" name="Rounded Rectangle 2">
            <a:extLst>
              <a:ext uri="{FF2B5EF4-FFF2-40B4-BE49-F238E27FC236}">
                <a16:creationId xmlns:a16="http://schemas.microsoft.com/office/drawing/2014/main" id="{95275863-D2BC-2445-61A9-6B2D2F576BFA}"/>
              </a:ext>
            </a:extLst>
          </p:cNvPr>
          <p:cNvSpPr/>
          <p:nvPr/>
        </p:nvSpPr>
        <p:spPr>
          <a:xfrm>
            <a:off x="796384" y="2273754"/>
            <a:ext cx="10595394" cy="3881126"/>
          </a:xfrm>
          <a:prstGeom prst="roundRect">
            <a:avLst>
              <a:gd name="adj" fmla="val 3076"/>
            </a:avLst>
          </a:prstGeom>
          <a:solidFill>
            <a:schemeClr val="bg1"/>
          </a:solidFill>
          <a:ln>
            <a:noFill/>
          </a:ln>
          <a:effectLst>
            <a:outerShdw blurRad="617418" dist="149406" dir="1740000" algn="ctr" rotWithShape="0">
              <a:srgbClr val="000000">
                <a:alpha val="20664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91440" bIns="45720" rtlCol="0" anchor="ctr"/>
          <a:lstStyle/>
          <a:p>
            <a:pPr marL="40449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9A457"/>
              </a:buClr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F1218E33-1817-1527-10C7-F1F6DCAF6F7C}"/>
              </a:ext>
            </a:extLst>
          </p:cNvPr>
          <p:cNvGraphicFramePr>
            <a:graphicFrameLocks/>
          </p:cNvGraphicFramePr>
          <p:nvPr/>
        </p:nvGraphicFramePr>
        <p:xfrm>
          <a:off x="975361" y="2993565"/>
          <a:ext cx="10256268" cy="2999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Arrow: Right 34">
            <a:extLst>
              <a:ext uri="{FF2B5EF4-FFF2-40B4-BE49-F238E27FC236}">
                <a16:creationId xmlns:a16="http://schemas.microsoft.com/office/drawing/2014/main" id="{33BE76D0-EE84-82DB-F7FD-CC306151A558}"/>
              </a:ext>
            </a:extLst>
          </p:cNvPr>
          <p:cNvSpPr/>
          <p:nvPr/>
        </p:nvSpPr>
        <p:spPr>
          <a:xfrm>
            <a:off x="993229" y="2069405"/>
            <a:ext cx="10256268" cy="415694"/>
          </a:xfrm>
          <a:prstGeom prst="rightArrow">
            <a:avLst>
              <a:gd name="adj1" fmla="val 100000"/>
              <a:gd name="adj2" fmla="val 50000"/>
            </a:avLst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50000">
                <a:schemeClr val="tx1"/>
              </a:gs>
              <a:gs pos="82000">
                <a:schemeClr val="tx1">
                  <a:lumMod val="50000"/>
                </a:schemeClr>
              </a:gs>
              <a:gs pos="100000">
                <a:schemeClr val="tx1">
                  <a:lumMod val="5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lub Unity</a:t>
            </a:r>
            <a:endParaRPr kumimoji="0" lang="en-CH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7" name="Arrow: Right 33">
            <a:extLst>
              <a:ext uri="{FF2B5EF4-FFF2-40B4-BE49-F238E27FC236}">
                <a16:creationId xmlns:a16="http://schemas.microsoft.com/office/drawing/2014/main" id="{04ED246F-161D-A507-2B62-D73D9B83A850}"/>
              </a:ext>
            </a:extLst>
          </p:cNvPr>
          <p:cNvSpPr/>
          <p:nvPr/>
        </p:nvSpPr>
        <p:spPr>
          <a:xfrm>
            <a:off x="975360" y="2451941"/>
            <a:ext cx="1527769" cy="437803"/>
          </a:xfrm>
          <a:prstGeom prst="rightArrow">
            <a:avLst>
              <a:gd name="adj1" fmla="val 100000"/>
              <a:gd name="adj2" fmla="val 50000"/>
            </a:avLst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50000">
                <a:schemeClr val="tx1">
                  <a:lumMod val="75000"/>
                </a:schemeClr>
              </a:gs>
              <a:gs pos="82000">
                <a:schemeClr val="tx1">
                  <a:lumMod val="50000"/>
                </a:schemeClr>
              </a:gs>
              <a:gs pos="100000">
                <a:schemeClr val="tx1">
                  <a:lumMod val="5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mercial Power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6016328-C6B7-C548-AFC3-77F083F58EDC}"/>
              </a:ext>
            </a:extLst>
          </p:cNvPr>
          <p:cNvSpPr/>
          <p:nvPr/>
        </p:nvSpPr>
        <p:spPr>
          <a:xfrm>
            <a:off x="9599180" y="5536813"/>
            <a:ext cx="1811426" cy="3431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</a:t>
            </a:r>
            <a:r>
              <a:rPr kumimoji="0" lang="en-CH" sz="1200" b="1" i="0" u="none" strike="noStrike" kern="1200" cap="none" spc="0" normalizeH="0" baseline="0" noProof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A Members</a:t>
            </a:r>
          </a:p>
        </p:txBody>
      </p:sp>
      <p:sp>
        <p:nvSpPr>
          <p:cNvPr id="22" name="Tytuł 1">
            <a:extLst>
              <a:ext uri="{FF2B5EF4-FFF2-40B4-BE49-F238E27FC236}">
                <a16:creationId xmlns:a16="http://schemas.microsoft.com/office/drawing/2014/main" id="{53EDA2D3-90F4-2E84-9663-53E9093EBBA4}"/>
              </a:ext>
            </a:extLst>
          </p:cNvPr>
          <p:cNvSpPr txBox="1">
            <a:spLocks/>
          </p:cNvSpPr>
          <p:nvPr/>
        </p:nvSpPr>
        <p:spPr>
          <a:xfrm>
            <a:off x="142278" y="2878716"/>
            <a:ext cx="833081" cy="709045"/>
          </a:xfrm>
          <a:prstGeom prst="rect">
            <a:avLst/>
          </a:prstGeom>
        </p:spPr>
        <p:txBody>
          <a:bodyPr vert="horz" lIns="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l-PL" sz="1600" b="1" i="0" kern="1200" spc="0" dirty="0">
                <a:solidFill>
                  <a:schemeClr val="tx2"/>
                </a:solidFill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Open Sans SemiBold" panose="020B0606030504020204" pitchFamily="34" charset="0"/>
                <a:ea typeface="Open Sans SemiBold" panose="020B0606030504020204" pitchFamily="34" charset="0"/>
                <a:cs typeface="Open Sans SemiBold" panose="020B0606030504020204" pitchFamily="34" charset="0"/>
              </a:rPr>
              <a:t>M € of annual revenue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Open Sans SemiBold" panose="020B0606030504020204" pitchFamily="34" charset="0"/>
              <a:ea typeface="Open Sans SemiBold" panose="020B0606030504020204" pitchFamily="34" charset="0"/>
              <a:cs typeface="Open Sans SemiBold" panose="020B0606030504020204" pitchFamily="34" charset="0"/>
            </a:endParaRP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34E7EB51-80B5-AF8A-FBCC-6DD7D2761947}"/>
              </a:ext>
            </a:extLst>
          </p:cNvPr>
          <p:cNvSpPr/>
          <p:nvPr/>
        </p:nvSpPr>
        <p:spPr>
          <a:xfrm>
            <a:off x="3893199" y="2889744"/>
            <a:ext cx="4379673" cy="1144748"/>
          </a:xfrm>
          <a:prstGeom prst="roundRect">
            <a:avLst>
              <a:gd name="adj" fmla="val 30320"/>
            </a:avLst>
          </a:prstGeom>
          <a:solidFill>
            <a:schemeClr val="tx1">
              <a:lumMod val="50000"/>
            </a:schemeClr>
          </a:solidFill>
          <a:ln w="28575">
            <a:noFill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niting ECA Members </a:t>
            </a:r>
            <a:b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en-CH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ke</a:t>
            </a: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 ECA</a:t>
            </a:r>
            <a:r>
              <a:rPr kumimoji="0" lang="en-CH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tronger</a:t>
            </a:r>
            <a:endParaRPr kumimoji="0" lang="en-GB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0700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id="{A051D73C-2AB0-C5CF-49FE-9B974C148D7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6" y="0"/>
            <a:ext cx="12190412" cy="3428319"/>
          </a:xfrm>
          <a:prstGeom prst="rect">
            <a:avLst/>
          </a:prstGeom>
        </p:spPr>
      </p:pic>
      <p:sp>
        <p:nvSpPr>
          <p:cNvPr id="115" name="Rectangle: Single Corner Snipped 7">
            <a:extLst>
              <a:ext uri="{FF2B5EF4-FFF2-40B4-BE49-F238E27FC236}">
                <a16:creationId xmlns:a16="http://schemas.microsoft.com/office/drawing/2014/main" id="{7664B1D6-BCE8-12D4-1E44-5806DE007CEC}"/>
              </a:ext>
            </a:extLst>
          </p:cNvPr>
          <p:cNvSpPr/>
          <p:nvPr/>
        </p:nvSpPr>
        <p:spPr>
          <a:xfrm rot="10800000">
            <a:off x="-10890" y="0"/>
            <a:ext cx="12201304" cy="6861290"/>
          </a:xfrm>
          <a:prstGeom prst="rect">
            <a:avLst/>
          </a:prstGeom>
          <a:gradFill flip="none" rotWithShape="1">
            <a:gsLst>
              <a:gs pos="0">
                <a:srgbClr val="29A456">
                  <a:alpha val="93674"/>
                </a:srgbClr>
              </a:gs>
              <a:gs pos="59000">
                <a:srgbClr val="1F8444">
                  <a:alpha val="96183"/>
                </a:srgbClr>
              </a:gs>
              <a:gs pos="98000">
                <a:srgbClr val="0F4B25">
                  <a:alpha val="91776"/>
                </a:srgbClr>
              </a:gs>
            </a:gsLst>
            <a:lin ang="48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E8E332F-2DDF-107E-643A-F50AFAD89237}"/>
              </a:ext>
            </a:extLst>
          </p:cNvPr>
          <p:cNvSpPr/>
          <p:nvPr/>
        </p:nvSpPr>
        <p:spPr>
          <a:xfrm>
            <a:off x="-10891" y="3289110"/>
            <a:ext cx="12202890" cy="35688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8" name="Slide Number Placeholder 1">
            <a:extLst>
              <a:ext uri="{FF2B5EF4-FFF2-40B4-BE49-F238E27FC236}">
                <a16:creationId xmlns:a16="http://schemas.microsoft.com/office/drawing/2014/main" id="{6D41FC29-123A-15BB-C464-3DC0ACFB1CEA}"/>
              </a:ext>
            </a:extLst>
          </p:cNvPr>
          <p:cNvSpPr txBox="1">
            <a:spLocks/>
          </p:cNvSpPr>
          <p:nvPr/>
        </p:nvSpPr>
        <p:spPr>
          <a:xfrm>
            <a:off x="348342" y="6312807"/>
            <a:ext cx="10504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99D49-E9B0-4648-A2A0-22D531008F3A}" type="slidenum">
              <a:rPr kumimoji="0" lang="pl-PL" sz="1200" b="1" i="1" u="none" strike="noStrike" kern="1200" cap="none" spc="0" normalizeH="0" baseline="0" noProof="0" smtClean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l-PL" sz="1200" b="1" i="1" u="none" strike="noStrike" kern="1200" cap="none" spc="0" normalizeH="0" baseline="0" noProof="0">
              <a:ln>
                <a:noFill/>
              </a:ln>
              <a:solidFill>
                <a:srgbClr val="29A457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641C5B8A-DE63-365E-3B50-954B0733CE44}"/>
              </a:ext>
            </a:extLst>
          </p:cNvPr>
          <p:cNvSpPr/>
          <p:nvPr/>
        </p:nvSpPr>
        <p:spPr>
          <a:xfrm>
            <a:off x="3692068" y="1178061"/>
            <a:ext cx="4807864" cy="457200"/>
          </a:xfrm>
          <a:prstGeom prst="roundRect">
            <a:avLst>
              <a:gd name="adj" fmla="val 50000"/>
            </a:avLst>
          </a:prstGeom>
          <a:solidFill>
            <a:schemeClr val="bg1">
              <a:alpha val="6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A2D18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General Assembly –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0A2D18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.e.,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A2D18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our Members!</a:t>
            </a: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9467A0DF-27D4-7F69-C67E-5E515C723138}"/>
              </a:ext>
            </a:extLst>
          </p:cNvPr>
          <p:cNvSpPr/>
          <p:nvPr/>
        </p:nvSpPr>
        <p:spPr>
          <a:xfrm>
            <a:off x="3692069" y="1803540"/>
            <a:ext cx="4807864" cy="457200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 w="28575">
            <a:noFill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oard</a:t>
            </a:r>
          </a:p>
        </p:txBody>
      </p:sp>
      <p:sp>
        <p:nvSpPr>
          <p:cNvPr id="50" name="Rounded Rectangle 49">
            <a:extLst>
              <a:ext uri="{FF2B5EF4-FFF2-40B4-BE49-F238E27FC236}">
                <a16:creationId xmlns:a16="http://schemas.microsoft.com/office/drawing/2014/main" id="{398D73F4-0165-3619-990A-A8E3E9CA1F0F}"/>
              </a:ext>
            </a:extLst>
          </p:cNvPr>
          <p:cNvSpPr/>
          <p:nvPr/>
        </p:nvSpPr>
        <p:spPr>
          <a:xfrm>
            <a:off x="3692069" y="2429019"/>
            <a:ext cx="4807864" cy="457200"/>
          </a:xfrm>
          <a:prstGeom prst="roundRect">
            <a:avLst>
              <a:gd name="adj" fmla="val 50000"/>
            </a:avLst>
          </a:prstGeom>
          <a:solidFill>
            <a:srgbClr val="114625"/>
          </a:solidFill>
          <a:ln w="28575">
            <a:noFill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xecutive Committee</a:t>
            </a:r>
          </a:p>
        </p:txBody>
      </p:sp>
      <p:sp>
        <p:nvSpPr>
          <p:cNvPr id="51" name="Rounded Rectangle 50">
            <a:extLst>
              <a:ext uri="{FF2B5EF4-FFF2-40B4-BE49-F238E27FC236}">
                <a16:creationId xmlns:a16="http://schemas.microsoft.com/office/drawing/2014/main" id="{F47BEF04-7145-BFF3-7A0F-89CEA648E679}"/>
              </a:ext>
            </a:extLst>
          </p:cNvPr>
          <p:cNvSpPr/>
          <p:nvPr/>
        </p:nvSpPr>
        <p:spPr>
          <a:xfrm>
            <a:off x="3692069" y="3054498"/>
            <a:ext cx="4807864" cy="4572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28575">
            <a:noFill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Workstream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A8EC097-F50A-A576-4F84-27CEEE3A28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99D49-E9B0-4648-A2A0-22D531008F3A}" type="slidenum">
              <a:rPr kumimoji="0" lang="pl-PL" sz="1200" b="1" i="1" u="none" strike="noStrike" kern="1200" cap="none" spc="0" normalizeH="0" baseline="0" noProof="0" smtClean="0">
                <a:ln>
                  <a:noFill/>
                </a:ln>
                <a:solidFill>
                  <a:srgbClr val="28A35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l-PL" sz="1200" b="1" i="1" u="none" strike="noStrike" kern="1200" cap="none" spc="0" normalizeH="0" baseline="0" noProof="0">
              <a:ln>
                <a:noFill/>
              </a:ln>
              <a:solidFill>
                <a:srgbClr val="28A3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100BD9-8514-B3AA-26E3-CC58C71C633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kumimoji="0" lang="en-GB" sz="2800" b="1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CA’s </a:t>
            </a:r>
            <a:r>
              <a:rPr kumimoji="0" lang="en-CH" sz="2800" b="1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verall Governance Structure</a:t>
            </a:r>
          </a:p>
        </p:txBody>
      </p:sp>
      <p:sp>
        <p:nvSpPr>
          <p:cNvPr id="114" name="Rounded Rectangle 113">
            <a:extLst>
              <a:ext uri="{FF2B5EF4-FFF2-40B4-BE49-F238E27FC236}">
                <a16:creationId xmlns:a16="http://schemas.microsoft.com/office/drawing/2014/main" id="{D873B8FB-1F69-0D74-34A3-DDCD03AC5473}"/>
              </a:ext>
            </a:extLst>
          </p:cNvPr>
          <p:cNvSpPr/>
          <p:nvPr/>
        </p:nvSpPr>
        <p:spPr>
          <a:xfrm>
            <a:off x="846361" y="5549850"/>
            <a:ext cx="10507439" cy="440765"/>
          </a:xfrm>
          <a:prstGeom prst="roundRect">
            <a:avLst>
              <a:gd name="adj" fmla="val 50000"/>
            </a:avLst>
          </a:prstGeom>
          <a:solidFill>
            <a:schemeClr val="tx1">
              <a:lumMod val="50000"/>
            </a:schemeClr>
          </a:solidFill>
          <a:ln w="28575">
            <a:noFill/>
          </a:ln>
          <a:effectLst>
            <a:outerShdw blurRad="161563" dist="38100" dir="2700000" algn="tl" rotWithShape="0">
              <a:prstClr val="black">
                <a:alpha val="24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Working Groups / Bureaus / Panels / Task Forces / Committees – many hundreds of clubs!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59D0836-0735-EDE2-BFA9-BE81369A320B}"/>
              </a:ext>
            </a:extLst>
          </p:cNvPr>
          <p:cNvGrpSpPr/>
          <p:nvPr/>
        </p:nvGrpSpPr>
        <p:grpSpPr>
          <a:xfrm>
            <a:off x="235346" y="3765130"/>
            <a:ext cx="11812999" cy="1591846"/>
            <a:chOff x="246921" y="3765130"/>
            <a:chExt cx="11812999" cy="1591846"/>
          </a:xfrm>
        </p:grpSpPr>
        <p:sp>
          <p:nvSpPr>
            <p:cNvPr id="89" name="Rounded Rectangle 3">
              <a:extLst>
                <a:ext uri="{FF2B5EF4-FFF2-40B4-BE49-F238E27FC236}">
                  <a16:creationId xmlns:a16="http://schemas.microsoft.com/office/drawing/2014/main" id="{733A6EE2-DDC7-3E90-091A-7C361B1EC0BA}"/>
                </a:ext>
              </a:extLst>
            </p:cNvPr>
            <p:cNvSpPr/>
            <p:nvPr/>
          </p:nvSpPr>
          <p:spPr>
            <a:xfrm>
              <a:off x="246921" y="3765130"/>
              <a:ext cx="11812999" cy="1591846"/>
            </a:xfrm>
            <a:prstGeom prst="roundRect">
              <a:avLst/>
            </a:prstGeom>
            <a:solidFill>
              <a:schemeClr val="tx1">
                <a:lumMod val="20000"/>
                <a:lumOff val="80000"/>
              </a:schemeClr>
            </a:solidFill>
            <a:ln w="5397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3E18A6E1-582D-7125-B7C1-A86FBE1AE3F0}"/>
                </a:ext>
              </a:extLst>
            </p:cNvPr>
            <p:cNvGrpSpPr/>
            <p:nvPr/>
          </p:nvGrpSpPr>
          <p:grpSpPr>
            <a:xfrm>
              <a:off x="421731" y="3913866"/>
              <a:ext cx="11463378" cy="1291213"/>
              <a:chOff x="439000" y="3913866"/>
              <a:chExt cx="11463378" cy="1291213"/>
            </a:xfrm>
          </p:grpSpPr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18AFA4F2-94F9-2A6A-0522-FB0B8D71E60C}"/>
                  </a:ext>
                </a:extLst>
              </p:cNvPr>
              <p:cNvGrpSpPr/>
              <p:nvPr/>
            </p:nvGrpSpPr>
            <p:grpSpPr>
              <a:xfrm>
                <a:off x="439000" y="3913866"/>
                <a:ext cx="1148018" cy="1291213"/>
                <a:chOff x="439000" y="3906539"/>
                <a:chExt cx="1148018" cy="1291213"/>
              </a:xfrm>
            </p:grpSpPr>
            <p:sp>
              <p:nvSpPr>
                <p:cNvPr id="90" name="Rounded Rectangle 89">
                  <a:extLst>
                    <a:ext uri="{FF2B5EF4-FFF2-40B4-BE49-F238E27FC236}">
                      <a16:creationId xmlns:a16="http://schemas.microsoft.com/office/drawing/2014/main" id="{DB172457-338A-19DC-260C-AC6C0663B6AC}"/>
                    </a:ext>
                  </a:extLst>
                </p:cNvPr>
                <p:cNvSpPr/>
                <p:nvPr/>
              </p:nvSpPr>
              <p:spPr>
                <a:xfrm>
                  <a:off x="439000" y="4017521"/>
                  <a:ext cx="1148018" cy="1180231"/>
                </a:xfrm>
                <a:prstGeom prst="roundRect">
                  <a:avLst>
                    <a:gd name="adj" fmla="val 20382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Rounded Rectangle 13">
                  <a:extLst>
                    <a:ext uri="{FF2B5EF4-FFF2-40B4-BE49-F238E27FC236}">
                      <a16:creationId xmlns:a16="http://schemas.microsoft.com/office/drawing/2014/main" id="{E732D2D1-681B-E5B1-8DE0-8D0D75650A8C}"/>
                    </a:ext>
                  </a:extLst>
                </p:cNvPr>
                <p:cNvSpPr/>
                <p:nvPr/>
              </p:nvSpPr>
              <p:spPr>
                <a:xfrm>
                  <a:off x="439000" y="3906539"/>
                  <a:ext cx="1148018" cy="46460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1"/>
                </a:solidFill>
                <a:ln w="28575">
                  <a:noFill/>
                </a:ln>
                <a:effectLst>
                  <a:outerShdw blurRad="161563" dist="38100" dir="2700000" algn="tl" rotWithShape="0">
                    <a:prstClr val="black">
                      <a:alpha val="24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>
                          <a:lumMod val="95000"/>
                        </a:srgbClr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rPr>
                    <a:t>1 x </a:t>
                  </a:r>
                  <a:r>
                    <a:rPr kumimoji="0" lang="en-US" sz="14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>
                          <a:lumMod val="95000"/>
                        </a:srgbClr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rPr>
                    <a:t>ExCo</a:t>
                  </a:r>
                  <a:endPara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95000"/>
                      </a:srgbClr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TextBox 91">
                  <a:extLst>
                    <a:ext uri="{FF2B5EF4-FFF2-40B4-BE49-F238E27FC236}">
                      <a16:creationId xmlns:a16="http://schemas.microsoft.com/office/drawing/2014/main" id="{07D45DA4-21EB-2DE9-738F-AFC253DF602E}"/>
                    </a:ext>
                  </a:extLst>
                </p:cNvPr>
                <p:cNvSpPr txBox="1"/>
                <p:nvPr/>
              </p:nvSpPr>
              <p:spPr>
                <a:xfrm>
                  <a:off x="516329" y="4481416"/>
                  <a:ext cx="993362" cy="41063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525252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rPr>
                    <a:t>Men’s Football</a:t>
                  </a:r>
                </a:p>
              </p:txBody>
            </p:sp>
          </p:grp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6103F278-752E-EFAA-6B03-12CB18EACB83}"/>
                  </a:ext>
                </a:extLst>
              </p:cNvPr>
              <p:cNvGrpSpPr/>
              <p:nvPr/>
            </p:nvGrpSpPr>
            <p:grpSpPr>
              <a:xfrm>
                <a:off x="1728420" y="3913866"/>
                <a:ext cx="1148018" cy="1291213"/>
                <a:chOff x="1717658" y="3906539"/>
                <a:chExt cx="1148018" cy="1291213"/>
              </a:xfrm>
            </p:grpSpPr>
            <p:sp>
              <p:nvSpPr>
                <p:cNvPr id="93" name="Rounded Rectangle 92">
                  <a:extLst>
                    <a:ext uri="{FF2B5EF4-FFF2-40B4-BE49-F238E27FC236}">
                      <a16:creationId xmlns:a16="http://schemas.microsoft.com/office/drawing/2014/main" id="{82D04AE7-D971-802B-0718-FB208AA91700}"/>
                    </a:ext>
                  </a:extLst>
                </p:cNvPr>
                <p:cNvSpPr/>
                <p:nvPr/>
              </p:nvSpPr>
              <p:spPr>
                <a:xfrm>
                  <a:off x="1717658" y="4017521"/>
                  <a:ext cx="1148018" cy="1180231"/>
                </a:xfrm>
                <a:prstGeom prst="roundRect">
                  <a:avLst>
                    <a:gd name="adj" fmla="val 20382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94" name="Rounded Rectangle 13">
                  <a:extLst>
                    <a:ext uri="{FF2B5EF4-FFF2-40B4-BE49-F238E27FC236}">
                      <a16:creationId xmlns:a16="http://schemas.microsoft.com/office/drawing/2014/main" id="{55AE9A46-9CF7-6E91-D1A4-2EB572AC728A}"/>
                    </a:ext>
                  </a:extLst>
                </p:cNvPr>
                <p:cNvSpPr/>
                <p:nvPr/>
              </p:nvSpPr>
              <p:spPr>
                <a:xfrm>
                  <a:off x="1717658" y="3906539"/>
                  <a:ext cx="1148018" cy="46460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1"/>
                </a:solidFill>
                <a:ln w="28575">
                  <a:noFill/>
                </a:ln>
                <a:effectLst>
                  <a:outerShdw blurRad="161563" dist="38100" dir="2700000" algn="tl" rotWithShape="0">
                    <a:prstClr val="black">
                      <a:alpha val="24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>
                          <a:lumMod val="95000"/>
                        </a:srgbClr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rPr>
                    <a:t>1 x ExCo</a:t>
                  </a:r>
                </a:p>
              </p:txBody>
            </p:sp>
            <p:sp>
              <p:nvSpPr>
                <p:cNvPr id="95" name="TextBox 94">
                  <a:extLst>
                    <a:ext uri="{FF2B5EF4-FFF2-40B4-BE49-F238E27FC236}">
                      <a16:creationId xmlns:a16="http://schemas.microsoft.com/office/drawing/2014/main" id="{770B1F83-E296-8031-9EC7-C69BBE8DCB6F}"/>
                    </a:ext>
                  </a:extLst>
                </p:cNvPr>
                <p:cNvSpPr txBox="1"/>
                <p:nvPr/>
              </p:nvSpPr>
              <p:spPr>
                <a:xfrm>
                  <a:off x="1794987" y="4481416"/>
                  <a:ext cx="993362" cy="41063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525252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rPr>
                    <a:t>Women’s Football</a:t>
                  </a:r>
                </a:p>
              </p:txBody>
            </p: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F627912D-62AB-ACC1-51CF-B06F0F197EDA}"/>
                  </a:ext>
                </a:extLst>
              </p:cNvPr>
              <p:cNvGrpSpPr/>
              <p:nvPr/>
            </p:nvGrpSpPr>
            <p:grpSpPr>
              <a:xfrm>
                <a:off x="3017840" y="3913866"/>
                <a:ext cx="1148018" cy="1291212"/>
                <a:chOff x="3006731" y="3916382"/>
                <a:chExt cx="1148018" cy="1291212"/>
              </a:xfrm>
            </p:grpSpPr>
            <p:sp>
              <p:nvSpPr>
                <p:cNvPr id="96" name="Rounded Rectangle 95">
                  <a:extLst>
                    <a:ext uri="{FF2B5EF4-FFF2-40B4-BE49-F238E27FC236}">
                      <a16:creationId xmlns:a16="http://schemas.microsoft.com/office/drawing/2014/main" id="{19BBC228-0DFE-E4CD-AAE3-359E4892F33B}"/>
                    </a:ext>
                  </a:extLst>
                </p:cNvPr>
                <p:cNvSpPr/>
                <p:nvPr/>
              </p:nvSpPr>
              <p:spPr>
                <a:xfrm>
                  <a:off x="3006731" y="4027363"/>
                  <a:ext cx="1148018" cy="1180231"/>
                </a:xfrm>
                <a:prstGeom prst="roundRect">
                  <a:avLst>
                    <a:gd name="adj" fmla="val 20382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Rounded Rectangle 13">
                  <a:extLst>
                    <a:ext uri="{FF2B5EF4-FFF2-40B4-BE49-F238E27FC236}">
                      <a16:creationId xmlns:a16="http://schemas.microsoft.com/office/drawing/2014/main" id="{23034819-CCE2-C9EF-44A7-5EF95916FF25}"/>
                    </a:ext>
                  </a:extLst>
                </p:cNvPr>
                <p:cNvSpPr/>
                <p:nvPr/>
              </p:nvSpPr>
              <p:spPr>
                <a:xfrm>
                  <a:off x="3006731" y="3916382"/>
                  <a:ext cx="1148018" cy="46460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1"/>
                </a:solidFill>
                <a:ln w="28575">
                  <a:noFill/>
                </a:ln>
                <a:effectLst>
                  <a:outerShdw blurRad="161563" dist="38100" dir="2700000" algn="tl" rotWithShape="0">
                    <a:prstClr val="black">
                      <a:alpha val="24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>
                          <a:lumMod val="95000"/>
                        </a:srgbClr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rPr>
                    <a:t>1 x ExCo</a:t>
                  </a:r>
                </a:p>
              </p:txBody>
            </p:sp>
            <p:sp>
              <p:nvSpPr>
                <p:cNvPr id="98" name="TextBox 97">
                  <a:extLst>
                    <a:ext uri="{FF2B5EF4-FFF2-40B4-BE49-F238E27FC236}">
                      <a16:creationId xmlns:a16="http://schemas.microsoft.com/office/drawing/2014/main" id="{59943961-5CD7-C534-88C1-DE85F9086960}"/>
                    </a:ext>
                  </a:extLst>
                </p:cNvPr>
                <p:cNvSpPr txBox="1"/>
                <p:nvPr/>
              </p:nvSpPr>
              <p:spPr>
                <a:xfrm>
                  <a:off x="3084059" y="4481416"/>
                  <a:ext cx="993362" cy="41063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525252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rPr>
                    <a:t>Youth Football</a:t>
                  </a:r>
                </a:p>
              </p:txBody>
            </p:sp>
          </p:grp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66A0453B-3B48-F165-E8BE-51995AAB180F}"/>
                  </a:ext>
                </a:extLst>
              </p:cNvPr>
              <p:cNvGrpSpPr/>
              <p:nvPr/>
            </p:nvGrpSpPr>
            <p:grpSpPr>
              <a:xfrm>
                <a:off x="4307260" y="3913866"/>
                <a:ext cx="1148018" cy="1291212"/>
                <a:chOff x="4285388" y="3916382"/>
                <a:chExt cx="1148018" cy="1291212"/>
              </a:xfrm>
            </p:grpSpPr>
            <p:sp>
              <p:nvSpPr>
                <p:cNvPr id="99" name="Rounded Rectangle 98">
                  <a:extLst>
                    <a:ext uri="{FF2B5EF4-FFF2-40B4-BE49-F238E27FC236}">
                      <a16:creationId xmlns:a16="http://schemas.microsoft.com/office/drawing/2014/main" id="{FDB9BC07-3015-E5BD-BC40-AD8841DD31E4}"/>
                    </a:ext>
                  </a:extLst>
                </p:cNvPr>
                <p:cNvSpPr/>
                <p:nvPr/>
              </p:nvSpPr>
              <p:spPr>
                <a:xfrm>
                  <a:off x="4285388" y="4027363"/>
                  <a:ext cx="1148018" cy="1180231"/>
                </a:xfrm>
                <a:prstGeom prst="roundRect">
                  <a:avLst>
                    <a:gd name="adj" fmla="val 20382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0" name="Rounded Rectangle 13">
                  <a:extLst>
                    <a:ext uri="{FF2B5EF4-FFF2-40B4-BE49-F238E27FC236}">
                      <a16:creationId xmlns:a16="http://schemas.microsoft.com/office/drawing/2014/main" id="{025FE6BD-19DE-124B-DBFE-AFD6277B016E}"/>
                    </a:ext>
                  </a:extLst>
                </p:cNvPr>
                <p:cNvSpPr/>
                <p:nvPr/>
              </p:nvSpPr>
              <p:spPr>
                <a:xfrm>
                  <a:off x="4285388" y="3916382"/>
                  <a:ext cx="1148018" cy="46460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1"/>
                </a:solidFill>
                <a:ln w="28575">
                  <a:noFill/>
                </a:ln>
                <a:effectLst>
                  <a:outerShdw blurRad="161563" dist="38100" dir="2700000" algn="tl" rotWithShape="0">
                    <a:prstClr val="black">
                      <a:alpha val="24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>
                          <a:lumMod val="95000"/>
                        </a:srgbClr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rPr>
                    <a:t>1 x ExCo</a:t>
                  </a:r>
                </a:p>
              </p:txBody>
            </p:sp>
            <p:sp>
              <p:nvSpPr>
                <p:cNvPr id="101" name="TextBox 100">
                  <a:extLst>
                    <a:ext uri="{FF2B5EF4-FFF2-40B4-BE49-F238E27FC236}">
                      <a16:creationId xmlns:a16="http://schemas.microsoft.com/office/drawing/2014/main" id="{3337F56F-6A46-9496-B3F7-B587796788A3}"/>
                    </a:ext>
                  </a:extLst>
                </p:cNvPr>
                <p:cNvSpPr txBox="1"/>
                <p:nvPr/>
              </p:nvSpPr>
              <p:spPr>
                <a:xfrm>
                  <a:off x="4313048" y="4481416"/>
                  <a:ext cx="1092698" cy="41063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25252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rPr>
                    <a:t>Commercial &amp; Innovation</a:t>
                  </a:r>
                </a:p>
              </p:txBody>
            </p:sp>
          </p:grp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43269BBA-A3F4-BCC3-4B22-9769160E0602}"/>
                  </a:ext>
                </a:extLst>
              </p:cNvPr>
              <p:cNvGrpSpPr/>
              <p:nvPr/>
            </p:nvGrpSpPr>
            <p:grpSpPr>
              <a:xfrm>
                <a:off x="5596680" y="3913866"/>
                <a:ext cx="1148018" cy="1291213"/>
                <a:chOff x="5590489" y="3911350"/>
                <a:chExt cx="1148018" cy="1291213"/>
              </a:xfrm>
            </p:grpSpPr>
            <p:sp>
              <p:nvSpPr>
                <p:cNvPr id="102" name="Rounded Rectangle 101">
                  <a:extLst>
                    <a:ext uri="{FF2B5EF4-FFF2-40B4-BE49-F238E27FC236}">
                      <a16:creationId xmlns:a16="http://schemas.microsoft.com/office/drawing/2014/main" id="{DD64DAA3-6FEB-0A0F-2A3D-BFA43B142468}"/>
                    </a:ext>
                  </a:extLst>
                </p:cNvPr>
                <p:cNvSpPr/>
                <p:nvPr/>
              </p:nvSpPr>
              <p:spPr>
                <a:xfrm>
                  <a:off x="5590489" y="4022332"/>
                  <a:ext cx="1148018" cy="1180231"/>
                </a:xfrm>
                <a:prstGeom prst="roundRect">
                  <a:avLst>
                    <a:gd name="adj" fmla="val 20382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Rounded Rectangle 13">
                  <a:extLst>
                    <a:ext uri="{FF2B5EF4-FFF2-40B4-BE49-F238E27FC236}">
                      <a16:creationId xmlns:a16="http://schemas.microsoft.com/office/drawing/2014/main" id="{161BB18E-50D9-54D1-EC28-DDDB1BE96868}"/>
                    </a:ext>
                  </a:extLst>
                </p:cNvPr>
                <p:cNvSpPr/>
                <p:nvPr/>
              </p:nvSpPr>
              <p:spPr>
                <a:xfrm>
                  <a:off x="5590489" y="3911350"/>
                  <a:ext cx="1148018" cy="46460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1"/>
                </a:solidFill>
                <a:ln w="28575">
                  <a:noFill/>
                </a:ln>
                <a:effectLst>
                  <a:outerShdw blurRad="161563" dist="38100" dir="2700000" algn="tl" rotWithShape="0">
                    <a:prstClr val="black">
                      <a:alpha val="24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>
                          <a:lumMod val="95000"/>
                        </a:srgbClr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rPr>
                    <a:t>1 x ExCo</a:t>
                  </a:r>
                </a:p>
              </p:txBody>
            </p:sp>
            <p:sp>
              <p:nvSpPr>
                <p:cNvPr id="104" name="TextBox 103">
                  <a:extLst>
                    <a:ext uri="{FF2B5EF4-FFF2-40B4-BE49-F238E27FC236}">
                      <a16:creationId xmlns:a16="http://schemas.microsoft.com/office/drawing/2014/main" id="{BBB418D8-A544-27F3-112E-17A667E4D345}"/>
                    </a:ext>
                  </a:extLst>
                </p:cNvPr>
                <p:cNvSpPr txBox="1"/>
                <p:nvPr/>
              </p:nvSpPr>
              <p:spPr>
                <a:xfrm>
                  <a:off x="5667817" y="4481416"/>
                  <a:ext cx="993362" cy="24931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525252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rPr>
                    <a:t>Finance</a:t>
                  </a:r>
                </a:p>
              </p:txBody>
            </p: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8014D3D9-15E4-A0F1-66E7-45F5AD949C4A}"/>
                  </a:ext>
                </a:extLst>
              </p:cNvPr>
              <p:cNvGrpSpPr/>
              <p:nvPr/>
            </p:nvGrpSpPr>
            <p:grpSpPr>
              <a:xfrm>
                <a:off x="6886100" y="3913866"/>
                <a:ext cx="1148018" cy="1291213"/>
                <a:chOff x="6879561" y="3921192"/>
                <a:chExt cx="1148018" cy="1291213"/>
              </a:xfrm>
            </p:grpSpPr>
            <p:sp>
              <p:nvSpPr>
                <p:cNvPr id="105" name="Rounded Rectangle 104">
                  <a:extLst>
                    <a:ext uri="{FF2B5EF4-FFF2-40B4-BE49-F238E27FC236}">
                      <a16:creationId xmlns:a16="http://schemas.microsoft.com/office/drawing/2014/main" id="{85A399C5-E23E-0084-F9A7-2FF8C56D0220}"/>
                    </a:ext>
                  </a:extLst>
                </p:cNvPr>
                <p:cNvSpPr/>
                <p:nvPr/>
              </p:nvSpPr>
              <p:spPr>
                <a:xfrm>
                  <a:off x="6879561" y="4032174"/>
                  <a:ext cx="1148018" cy="1180231"/>
                </a:xfrm>
                <a:prstGeom prst="roundRect">
                  <a:avLst>
                    <a:gd name="adj" fmla="val 20382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Rounded Rectangle 13">
                  <a:extLst>
                    <a:ext uri="{FF2B5EF4-FFF2-40B4-BE49-F238E27FC236}">
                      <a16:creationId xmlns:a16="http://schemas.microsoft.com/office/drawing/2014/main" id="{CDE8AB84-271E-84E1-DB35-D5E5536CED66}"/>
                    </a:ext>
                  </a:extLst>
                </p:cNvPr>
                <p:cNvSpPr/>
                <p:nvPr/>
              </p:nvSpPr>
              <p:spPr>
                <a:xfrm>
                  <a:off x="6879561" y="3921192"/>
                  <a:ext cx="1148018" cy="46460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1"/>
                </a:solidFill>
                <a:ln w="28575">
                  <a:noFill/>
                </a:ln>
                <a:effectLst>
                  <a:outerShdw blurRad="161563" dist="38100" dir="2700000" algn="tl" rotWithShape="0">
                    <a:prstClr val="black">
                      <a:alpha val="24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>
                          <a:lumMod val="95000"/>
                        </a:srgbClr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rPr>
                    <a:t>1 x ExCo</a:t>
                  </a:r>
                </a:p>
              </p:txBody>
            </p:sp>
            <p:sp>
              <p:nvSpPr>
                <p:cNvPr id="107" name="TextBox 106">
                  <a:extLst>
                    <a:ext uri="{FF2B5EF4-FFF2-40B4-BE49-F238E27FC236}">
                      <a16:creationId xmlns:a16="http://schemas.microsoft.com/office/drawing/2014/main" id="{35DB9380-88A9-D612-11ED-9F3338F6A800}"/>
                    </a:ext>
                  </a:extLst>
                </p:cNvPr>
                <p:cNvSpPr txBox="1"/>
                <p:nvPr/>
              </p:nvSpPr>
              <p:spPr>
                <a:xfrm>
                  <a:off x="6905965" y="4481416"/>
                  <a:ext cx="1095210" cy="41063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525252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rPr>
                    <a:t>Legal &amp; Regulatory</a:t>
                  </a:r>
                </a:p>
              </p:txBody>
            </p:sp>
          </p:grp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83D6A78D-ED38-01A1-A4D3-0DBD6FB6D0C8}"/>
                  </a:ext>
                </a:extLst>
              </p:cNvPr>
              <p:cNvGrpSpPr/>
              <p:nvPr/>
            </p:nvGrpSpPr>
            <p:grpSpPr>
              <a:xfrm>
                <a:off x="8175520" y="3913866"/>
                <a:ext cx="1148018" cy="1291213"/>
                <a:chOff x="8158220" y="3921192"/>
                <a:chExt cx="1148018" cy="1291213"/>
              </a:xfrm>
            </p:grpSpPr>
            <p:sp>
              <p:nvSpPr>
                <p:cNvPr id="108" name="Rounded Rectangle 107">
                  <a:extLst>
                    <a:ext uri="{FF2B5EF4-FFF2-40B4-BE49-F238E27FC236}">
                      <a16:creationId xmlns:a16="http://schemas.microsoft.com/office/drawing/2014/main" id="{0BC7B13A-28CD-E02B-DA3C-02B36AFC1103}"/>
                    </a:ext>
                  </a:extLst>
                </p:cNvPr>
                <p:cNvSpPr/>
                <p:nvPr/>
              </p:nvSpPr>
              <p:spPr>
                <a:xfrm>
                  <a:off x="8158220" y="4032174"/>
                  <a:ext cx="1148018" cy="1180231"/>
                </a:xfrm>
                <a:prstGeom prst="roundRect">
                  <a:avLst>
                    <a:gd name="adj" fmla="val 20382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Rounded Rectangle 13">
                  <a:extLst>
                    <a:ext uri="{FF2B5EF4-FFF2-40B4-BE49-F238E27FC236}">
                      <a16:creationId xmlns:a16="http://schemas.microsoft.com/office/drawing/2014/main" id="{7663639F-BCDF-F3DD-6C87-8E278AAD1B61}"/>
                    </a:ext>
                  </a:extLst>
                </p:cNvPr>
                <p:cNvSpPr/>
                <p:nvPr/>
              </p:nvSpPr>
              <p:spPr>
                <a:xfrm>
                  <a:off x="8158220" y="3921192"/>
                  <a:ext cx="1148018" cy="46460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1"/>
                </a:solidFill>
                <a:ln w="28575">
                  <a:noFill/>
                </a:ln>
                <a:effectLst>
                  <a:outerShdw blurRad="161563" dist="38100" dir="2700000" algn="tl" rotWithShape="0">
                    <a:prstClr val="black">
                      <a:alpha val="24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>
                          <a:lumMod val="95000"/>
                        </a:srgbClr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rPr>
                    <a:t>1 x ExCo</a:t>
                  </a:r>
                </a:p>
              </p:txBody>
            </p:sp>
            <p:sp>
              <p:nvSpPr>
                <p:cNvPr id="110" name="TextBox 109">
                  <a:extLst>
                    <a:ext uri="{FF2B5EF4-FFF2-40B4-BE49-F238E27FC236}">
                      <a16:creationId xmlns:a16="http://schemas.microsoft.com/office/drawing/2014/main" id="{D3E11CBC-C4D5-520D-BCC1-EAA3426C926B}"/>
                    </a:ext>
                  </a:extLst>
                </p:cNvPr>
                <p:cNvSpPr txBox="1"/>
                <p:nvPr/>
              </p:nvSpPr>
              <p:spPr>
                <a:xfrm>
                  <a:off x="8194279" y="4481416"/>
                  <a:ext cx="1075898" cy="24931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525252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rPr>
                    <a:t>Sustainability</a:t>
                  </a:r>
                </a:p>
              </p:txBody>
            </p:sp>
          </p:grp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21125E66-2DD2-66B9-DA7E-72490FE3F640}"/>
                  </a:ext>
                </a:extLst>
              </p:cNvPr>
              <p:cNvGrpSpPr/>
              <p:nvPr/>
            </p:nvGrpSpPr>
            <p:grpSpPr>
              <a:xfrm>
                <a:off x="9464940" y="3913866"/>
                <a:ext cx="1148018" cy="1291212"/>
                <a:chOff x="9451369" y="3916382"/>
                <a:chExt cx="1148018" cy="1291212"/>
              </a:xfrm>
            </p:grpSpPr>
            <p:sp>
              <p:nvSpPr>
                <p:cNvPr id="111" name="Rounded Rectangle 110">
                  <a:extLst>
                    <a:ext uri="{FF2B5EF4-FFF2-40B4-BE49-F238E27FC236}">
                      <a16:creationId xmlns:a16="http://schemas.microsoft.com/office/drawing/2014/main" id="{EE9A9492-E101-D0A2-CD23-6D514839D4E0}"/>
                    </a:ext>
                  </a:extLst>
                </p:cNvPr>
                <p:cNvSpPr/>
                <p:nvPr/>
              </p:nvSpPr>
              <p:spPr>
                <a:xfrm>
                  <a:off x="9451369" y="4027363"/>
                  <a:ext cx="1148018" cy="1180231"/>
                </a:xfrm>
                <a:prstGeom prst="roundRect">
                  <a:avLst>
                    <a:gd name="adj" fmla="val 20382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Rounded Rectangle 13">
                  <a:extLst>
                    <a:ext uri="{FF2B5EF4-FFF2-40B4-BE49-F238E27FC236}">
                      <a16:creationId xmlns:a16="http://schemas.microsoft.com/office/drawing/2014/main" id="{1B617FEF-6683-D757-1D9C-F4AB560116BB}"/>
                    </a:ext>
                  </a:extLst>
                </p:cNvPr>
                <p:cNvSpPr/>
                <p:nvPr/>
              </p:nvSpPr>
              <p:spPr>
                <a:xfrm>
                  <a:off x="9451369" y="3916382"/>
                  <a:ext cx="1148018" cy="46460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1"/>
                </a:solidFill>
                <a:ln w="28575">
                  <a:noFill/>
                </a:ln>
                <a:effectLst>
                  <a:outerShdw blurRad="161563" dist="38100" dir="2700000" algn="tl" rotWithShape="0">
                    <a:prstClr val="black">
                      <a:alpha val="24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>
                          <a:lumMod val="95000"/>
                        </a:srgbClr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rPr>
                    <a:t>1 x ExCo</a:t>
                  </a:r>
                </a:p>
              </p:txBody>
            </p:sp>
            <p:sp>
              <p:nvSpPr>
                <p:cNvPr id="113" name="TextBox 112">
                  <a:extLst>
                    <a:ext uri="{FF2B5EF4-FFF2-40B4-BE49-F238E27FC236}">
                      <a16:creationId xmlns:a16="http://schemas.microsoft.com/office/drawing/2014/main" id="{86B6F3FC-C02B-A931-2D17-90F4A4A6FA83}"/>
                    </a:ext>
                  </a:extLst>
                </p:cNvPr>
                <p:cNvSpPr txBox="1"/>
                <p:nvPr/>
              </p:nvSpPr>
              <p:spPr>
                <a:xfrm>
                  <a:off x="9466785" y="4481416"/>
                  <a:ext cx="1117186" cy="571957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25252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rPr>
                    <a:t>ECA Governance &amp; Development</a:t>
                  </a:r>
                </a:p>
              </p:txBody>
            </p:sp>
          </p:grpSp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2149AA43-F213-1CA6-6757-1767F1101107}"/>
                  </a:ext>
                </a:extLst>
              </p:cNvPr>
              <p:cNvGrpSpPr/>
              <p:nvPr/>
            </p:nvGrpSpPr>
            <p:grpSpPr>
              <a:xfrm>
                <a:off x="10754360" y="3913866"/>
                <a:ext cx="1148018" cy="1291212"/>
                <a:chOff x="10754360" y="3916382"/>
                <a:chExt cx="1148018" cy="1291212"/>
              </a:xfrm>
            </p:grpSpPr>
            <p:sp>
              <p:nvSpPr>
                <p:cNvPr id="3" name="Rounded Rectangle 110">
                  <a:extLst>
                    <a:ext uri="{FF2B5EF4-FFF2-40B4-BE49-F238E27FC236}">
                      <a16:creationId xmlns:a16="http://schemas.microsoft.com/office/drawing/2014/main" id="{DE260BFF-5466-C9FB-6B11-D30C22B4CDF5}"/>
                    </a:ext>
                  </a:extLst>
                </p:cNvPr>
                <p:cNvSpPr/>
                <p:nvPr/>
              </p:nvSpPr>
              <p:spPr>
                <a:xfrm>
                  <a:off x="10754360" y="4027363"/>
                  <a:ext cx="1148018" cy="1180231"/>
                </a:xfrm>
                <a:prstGeom prst="roundRect">
                  <a:avLst>
                    <a:gd name="adj" fmla="val 20382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sp>
              <p:nvSpPr>
                <p:cNvPr id="5" name="Rounded Rectangle 13">
                  <a:extLst>
                    <a:ext uri="{FF2B5EF4-FFF2-40B4-BE49-F238E27FC236}">
                      <a16:creationId xmlns:a16="http://schemas.microsoft.com/office/drawing/2014/main" id="{60B1126D-A9F6-5374-48AC-231CB2EF80E6}"/>
                    </a:ext>
                  </a:extLst>
                </p:cNvPr>
                <p:cNvSpPr/>
                <p:nvPr/>
              </p:nvSpPr>
              <p:spPr>
                <a:xfrm>
                  <a:off x="10754360" y="3916382"/>
                  <a:ext cx="1148018" cy="46460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1"/>
                </a:solidFill>
                <a:ln w="28575">
                  <a:noFill/>
                </a:ln>
                <a:effectLst>
                  <a:outerShdw blurRad="161563" dist="38100" dir="2700000" algn="tl" rotWithShape="0">
                    <a:prstClr val="black">
                      <a:alpha val="24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>
                          <a:lumMod val="95000"/>
                        </a:srgbClr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rPr>
                    <a:t>1 x ExCo</a:t>
                  </a:r>
                </a:p>
              </p:txBody>
            </p:sp>
            <p:sp>
              <p:nvSpPr>
                <p:cNvPr id="6" name="TextBox 5">
                  <a:extLst>
                    <a:ext uri="{FF2B5EF4-FFF2-40B4-BE49-F238E27FC236}">
                      <a16:creationId xmlns:a16="http://schemas.microsoft.com/office/drawing/2014/main" id="{3ED5B6D8-D9D9-CEC5-3812-EC45CA482A0F}"/>
                    </a:ext>
                  </a:extLst>
                </p:cNvPr>
                <p:cNvSpPr txBox="1"/>
                <p:nvPr/>
              </p:nvSpPr>
              <p:spPr>
                <a:xfrm>
                  <a:off x="10769776" y="4481416"/>
                  <a:ext cx="1117186" cy="26161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CH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25252"/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rPr>
                    <a:t>Fans</a:t>
                  </a:r>
                  <a:endPara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25252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5DC1F8B-99AB-CB92-8B38-27F5932E9F78}"/>
              </a:ext>
            </a:extLst>
          </p:cNvPr>
          <p:cNvGrpSpPr/>
          <p:nvPr/>
        </p:nvGrpSpPr>
        <p:grpSpPr>
          <a:xfrm>
            <a:off x="11499497" y="4496238"/>
            <a:ext cx="205018" cy="205018"/>
            <a:chOff x="3487323" y="6349920"/>
            <a:chExt cx="205018" cy="205018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778585D5-F1F5-9F12-49A7-2C730D794AA4}"/>
                </a:ext>
              </a:extLst>
            </p:cNvPr>
            <p:cNvSpPr/>
            <p:nvPr/>
          </p:nvSpPr>
          <p:spPr>
            <a:xfrm>
              <a:off x="3487323" y="6349920"/>
              <a:ext cx="205018" cy="205018"/>
            </a:xfrm>
            <a:prstGeom prst="ellipse">
              <a:avLst/>
            </a:prstGeom>
            <a:solidFill>
              <a:schemeClr val="accent2"/>
            </a:solidFill>
            <a:ln w="349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C5E73F43-B9B9-52DD-D225-30F31CD1BE2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526582" y="6387415"/>
              <a:ext cx="130028" cy="130028"/>
            </a:xfrm>
            <a:prstGeom prst="rect">
              <a:avLst/>
            </a:prstGeom>
            <a:effectLst/>
          </p:spPr>
        </p:pic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8FAA18D6-B0EF-C2EB-72D2-5DFEC00F222D}"/>
              </a:ext>
            </a:extLst>
          </p:cNvPr>
          <p:cNvSpPr txBox="1"/>
          <p:nvPr/>
        </p:nvSpPr>
        <p:spPr>
          <a:xfrm>
            <a:off x="9959468" y="6508264"/>
            <a:ext cx="223094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000" b="0" i="0" u="none" strike="noStrike" kern="1200" cap="none" spc="0" normalizeH="0" baseline="0" noProof="0" dirty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New workstream from this season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25252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4C03750-7D7B-F92C-69C3-CBC7B331F5BD}"/>
              </a:ext>
            </a:extLst>
          </p:cNvPr>
          <p:cNvGrpSpPr/>
          <p:nvPr/>
        </p:nvGrpSpPr>
        <p:grpSpPr>
          <a:xfrm>
            <a:off x="9791768" y="6528866"/>
            <a:ext cx="205018" cy="205018"/>
            <a:chOff x="3487323" y="6349920"/>
            <a:chExt cx="205018" cy="205018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0BDA7CB1-CDD3-06F9-BF73-9A94D001446E}"/>
                </a:ext>
              </a:extLst>
            </p:cNvPr>
            <p:cNvSpPr/>
            <p:nvPr/>
          </p:nvSpPr>
          <p:spPr>
            <a:xfrm>
              <a:off x="3487323" y="6349920"/>
              <a:ext cx="205018" cy="205018"/>
            </a:xfrm>
            <a:prstGeom prst="ellipse">
              <a:avLst/>
            </a:prstGeom>
            <a:solidFill>
              <a:schemeClr val="accent2"/>
            </a:solidFill>
            <a:ln w="349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525252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54DCC02D-3BDA-BE21-B3E8-74B4D9916B0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526582" y="6387415"/>
              <a:ext cx="130028" cy="130028"/>
            </a:xfrm>
            <a:prstGeom prst="rect">
              <a:avLst/>
            </a:prstGeom>
            <a:effectLst/>
          </p:spPr>
        </p:pic>
      </p:grpSp>
    </p:spTree>
    <p:extLst>
      <p:ext uri="{BB962C8B-B14F-4D97-AF65-F5344CB8AC3E}">
        <p14:creationId xmlns:p14="http://schemas.microsoft.com/office/powerpoint/2010/main" val="20067650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B71EB87-4E48-84CA-4D8E-BDD1BA3D158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F1BF2E3-84DA-EF07-2D4F-2463B2B63C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99D49-E9B0-4648-A2A0-22D531008F3A}" type="slidenum">
              <a:rPr kumimoji="0" lang="pl-PL" sz="1200" b="1" i="1" u="none" strike="noStrike" kern="1200" cap="none" spc="0" normalizeH="0" baseline="0" noProof="0" smtClean="0">
                <a:ln>
                  <a:noFill/>
                </a:ln>
                <a:solidFill>
                  <a:srgbClr val="29A457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l-PL" sz="1200" b="1" i="1" u="none" strike="noStrike" kern="1200" cap="none" spc="0" normalizeH="0" baseline="0" noProof="0">
              <a:ln>
                <a:noFill/>
              </a:ln>
              <a:solidFill>
                <a:srgbClr val="29A457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13464C-D20E-E4E3-DA32-4366A6F2FB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63" y="0"/>
            <a:ext cx="1208567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004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8DB67B-A981-AC02-21F5-4AD63C8DBA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099D49-E9B0-4648-A2A0-22D531008F3A}" type="slidenum">
              <a:rPr lang="pl-PL" smtClean="0"/>
              <a:pPr/>
              <a:t>9</a:t>
            </a:fld>
            <a:endParaRPr lang="pl-PL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5542321-034C-DBB8-7BD4-1E75FEA69B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B08034-9DF1-FCC7-8C30-0BB5D2976B4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C78A024-C1A6-4E0B-0A6B-F0E987592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CH"/>
          </a:p>
        </p:txBody>
      </p:sp>
      <p:pic>
        <p:nvPicPr>
          <p:cNvPr id="8" name="Online Media 7" title="Workstreams - Opening">
            <a:hlinkClick r:id="" action="ppaction://media"/>
            <a:extLst>
              <a:ext uri="{FF2B5EF4-FFF2-40B4-BE49-F238E27FC236}">
                <a16:creationId xmlns:a16="http://schemas.microsoft.com/office/drawing/2014/main" id="{09366DF0-D38C-2EC1-FCA3-7C1E1A5CCDD0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0" y="-15240"/>
            <a:ext cx="12192000" cy="688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480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Motyw pakietu Office">
  <a:themeElements>
    <a:clrScheme name="Niestandardowy 11">
      <a:dk1>
        <a:srgbClr val="29A457"/>
      </a:dk1>
      <a:lt1>
        <a:srgbClr val="FFFFFF"/>
      </a:lt1>
      <a:dk2>
        <a:srgbClr val="525252"/>
      </a:dk2>
      <a:lt2>
        <a:srgbClr val="FFFFFF"/>
      </a:lt2>
      <a:accent1>
        <a:srgbClr val="29A457"/>
      </a:accent1>
      <a:accent2>
        <a:srgbClr val="4A4A4A"/>
      </a:accent2>
      <a:accent3>
        <a:srgbClr val="A5A5A5"/>
      </a:accent3>
      <a:accent4>
        <a:srgbClr val="FFC000"/>
      </a:accent4>
      <a:accent5>
        <a:srgbClr val="525252"/>
      </a:accent5>
      <a:accent6>
        <a:srgbClr val="70AD47"/>
      </a:accent6>
      <a:hlink>
        <a:srgbClr val="0563C1"/>
      </a:hlink>
      <a:folHlink>
        <a:srgbClr val="954F72"/>
      </a:folHlink>
    </a:clrScheme>
    <a:fontScheme name="Niestandardowy 3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UEFA_Corporate_16x9">
  <a:themeElements>
    <a:clrScheme name="UEFA_Corporate">
      <a:dk1>
        <a:sysClr val="windowText" lastClr="000000"/>
      </a:dk1>
      <a:lt1>
        <a:sysClr val="window" lastClr="FFFFFF"/>
      </a:lt1>
      <a:dk2>
        <a:srgbClr val="123985"/>
      </a:dk2>
      <a:lt2>
        <a:srgbClr val="0080C6"/>
      </a:lt2>
      <a:accent1>
        <a:srgbClr val="001B59"/>
      </a:accent1>
      <a:accent2>
        <a:srgbClr val="0080C6"/>
      </a:accent2>
      <a:accent3>
        <a:srgbClr val="384F5A"/>
      </a:accent3>
      <a:accent4>
        <a:srgbClr val="D8E2E7"/>
      </a:accent4>
      <a:accent5>
        <a:srgbClr val="006254"/>
      </a:accent5>
      <a:accent6>
        <a:srgbClr val="54026E"/>
      </a:accent6>
      <a:hlink>
        <a:srgbClr val="00B9F2"/>
      </a:hlink>
      <a:folHlink>
        <a:srgbClr val="384F5A"/>
      </a:folHlink>
    </a:clrScheme>
    <a:fontScheme name="UEFA_Corporate">
      <a:majorFont>
        <a:latin typeface="UEFA Colosseum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EFA_Corporate_16x9.potx" id="{01536667-2E91-4BAC-8A2F-BFC42F179E02}" vid="{08119298-BC55-4E36-9F8D-07EF51D4990D}"/>
    </a:ext>
  </a:extLst>
</a:theme>
</file>

<file path=ppt/theme/theme3.xml><?xml version="1.0" encoding="utf-8"?>
<a:theme xmlns:a="http://schemas.openxmlformats.org/drawingml/2006/main" name="1_UEFA_Corporate_16x9">
  <a:themeElements>
    <a:clrScheme name="UEFA_Corporate">
      <a:dk1>
        <a:sysClr val="windowText" lastClr="000000"/>
      </a:dk1>
      <a:lt1>
        <a:sysClr val="window" lastClr="FFFFFF"/>
      </a:lt1>
      <a:dk2>
        <a:srgbClr val="123985"/>
      </a:dk2>
      <a:lt2>
        <a:srgbClr val="0080C6"/>
      </a:lt2>
      <a:accent1>
        <a:srgbClr val="001B59"/>
      </a:accent1>
      <a:accent2>
        <a:srgbClr val="0080C6"/>
      </a:accent2>
      <a:accent3>
        <a:srgbClr val="384F5A"/>
      </a:accent3>
      <a:accent4>
        <a:srgbClr val="D8E2E7"/>
      </a:accent4>
      <a:accent5>
        <a:srgbClr val="006254"/>
      </a:accent5>
      <a:accent6>
        <a:srgbClr val="54026E"/>
      </a:accent6>
      <a:hlink>
        <a:srgbClr val="00B9F2"/>
      </a:hlink>
      <a:folHlink>
        <a:srgbClr val="384F5A"/>
      </a:folHlink>
    </a:clrScheme>
    <a:fontScheme name="UEFA_Corporate">
      <a:majorFont>
        <a:latin typeface="UEFA Colosseum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15C6A478-FC33-4930-9AAA-5F99EBDA5818}" vid="{18F0A616-294E-4185-A9BC-9693D14C5CAC}"/>
    </a:ext>
  </a:extLst>
</a:theme>
</file>

<file path=ppt/theme/theme4.xml><?xml version="1.0" encoding="utf-8"?>
<a:theme xmlns:a="http://schemas.openxmlformats.org/drawingml/2006/main" name="1_Office Theme">
  <a:themeElements>
    <a:clrScheme name="Custom 2">
      <a:dk1>
        <a:srgbClr val="28A357"/>
      </a:dk1>
      <a:lt1>
        <a:srgbClr val="FFFFFF"/>
      </a:lt1>
      <a:dk2>
        <a:srgbClr val="525252"/>
      </a:dk2>
      <a:lt2>
        <a:srgbClr val="E7E6E6"/>
      </a:lt2>
      <a:accent1>
        <a:srgbClr val="4472C4"/>
      </a:accent1>
      <a:accent2>
        <a:srgbClr val="28A357"/>
      </a:accent2>
      <a:accent3>
        <a:srgbClr val="494949"/>
      </a:accent3>
      <a:accent4>
        <a:srgbClr val="A4A4A4"/>
      </a:accent4>
      <a:accent5>
        <a:srgbClr val="525252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CA_PPT_Template.pptx" id="{F9A61DDC-16A5-40ED-B485-91B288084068}" vid="{67ABD9EA-E025-481D-9CFC-8DAF36092D1E}"/>
    </a:ext>
  </a:extLst>
</a:theme>
</file>

<file path=ppt/theme/theme5.xml><?xml version="1.0" encoding="utf-8"?>
<a:theme xmlns:a="http://schemas.openxmlformats.org/drawingml/2006/main" name="Light">
  <a:themeElements>
    <a:clrScheme name="ECA">
      <a:dk1>
        <a:sysClr val="windowText" lastClr="000000"/>
      </a:dk1>
      <a:lt1>
        <a:sysClr val="window" lastClr="FFFFFF"/>
      </a:lt1>
      <a:dk2>
        <a:srgbClr val="026402"/>
      </a:dk2>
      <a:lt2>
        <a:srgbClr val="F2F2F2"/>
      </a:lt2>
      <a:accent1>
        <a:srgbClr val="026402"/>
      </a:accent1>
      <a:accent2>
        <a:srgbClr val="96F500"/>
      </a:accent2>
      <a:accent3>
        <a:srgbClr val="000000"/>
      </a:accent3>
      <a:accent4>
        <a:srgbClr val="339137"/>
      </a:accent4>
      <a:accent5>
        <a:srgbClr val="2ADEB8"/>
      </a:accent5>
      <a:accent6>
        <a:srgbClr val="BBDBF3"/>
      </a:accent6>
      <a:hlink>
        <a:srgbClr val="257724"/>
      </a:hlink>
      <a:folHlink>
        <a:srgbClr val="339137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CA_20240321.potx" id="{3B687983-B354-4460-84B1-B44C18828BAE}" vid="{38972BCE-505A-4F5A-8989-FEEBE17E39C6}"/>
    </a:ext>
  </a:extLst>
</a:theme>
</file>

<file path=ppt/theme/theme6.xml><?xml version="1.0" encoding="utf-8"?>
<a:theme xmlns:a="http://schemas.openxmlformats.org/drawingml/2006/main" name="Motyw pakietu Office">
  <a:themeElements>
    <a:clrScheme name="Niestandardowy 11">
      <a:dk1>
        <a:srgbClr val="29A457"/>
      </a:dk1>
      <a:lt1>
        <a:srgbClr val="FFFFFF"/>
      </a:lt1>
      <a:dk2>
        <a:srgbClr val="525252"/>
      </a:dk2>
      <a:lt2>
        <a:srgbClr val="FFFFFF"/>
      </a:lt2>
      <a:accent1>
        <a:srgbClr val="29A457"/>
      </a:accent1>
      <a:accent2>
        <a:srgbClr val="4A4A4A"/>
      </a:accent2>
      <a:accent3>
        <a:srgbClr val="A5A5A5"/>
      </a:accent3>
      <a:accent4>
        <a:srgbClr val="FFC000"/>
      </a:accent4>
      <a:accent5>
        <a:srgbClr val="525252"/>
      </a:accent5>
      <a:accent6>
        <a:srgbClr val="70AD47"/>
      </a:accent6>
      <a:hlink>
        <a:srgbClr val="0563C1"/>
      </a:hlink>
      <a:folHlink>
        <a:srgbClr val="954F72"/>
      </a:folHlink>
    </a:clrScheme>
    <a:fontScheme name="Niestandardowy 3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FFFF00"/>
        </a:solidFill>
      </a:spPr>
      <a:bodyPr wrap="square" rtlCol="0">
        <a:spAutoFit/>
      </a:bodyPr>
      <a:lstStyle>
        <a:defPPr algn="l">
          <a:defRPr dirty="0" smtClean="0">
            <a:solidFill>
              <a:srgbClr val="FF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31130_ECA Presentation Poland" id="{3722CEAB-7F95-FF4E-A959-8B6661D384B7}" vid="{96A4D30C-21F9-6848-9360-9B38ECEA431A}"/>
    </a:ext>
  </a:extLst>
</a:theme>
</file>

<file path=ppt/theme/theme7.xml><?xml version="1.0" encoding="utf-8"?>
<a:theme xmlns:a="http://schemas.openxmlformats.org/drawingml/2006/main" name="Custom Design">
  <a:themeElements>
    <a:clrScheme name="ECA">
      <a:dk1>
        <a:srgbClr val="737572"/>
      </a:dk1>
      <a:lt1>
        <a:srgbClr val="FFFFFF"/>
      </a:lt1>
      <a:dk2>
        <a:srgbClr val="445469"/>
      </a:dk2>
      <a:lt2>
        <a:srgbClr val="FFFFFF"/>
      </a:lt2>
      <a:accent1>
        <a:srgbClr val="0C210A"/>
      </a:accent1>
      <a:accent2>
        <a:srgbClr val="114420"/>
      </a:accent2>
      <a:accent3>
        <a:srgbClr val="247723"/>
      </a:accent3>
      <a:accent4>
        <a:srgbClr val="339037"/>
      </a:accent4>
      <a:accent5>
        <a:srgbClr val="00F802"/>
      </a:accent5>
      <a:accent6>
        <a:srgbClr val="B9EF69"/>
      </a:accent6>
      <a:hlink>
        <a:srgbClr val="12431F"/>
      </a:hlink>
      <a:folHlink>
        <a:srgbClr val="0EA3FF"/>
      </a:folHlink>
    </a:clrScheme>
    <a:fontScheme name="Custom 829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231130_ECA Presentation Poland" id="{3722CEAB-7F95-FF4E-A959-8B6661D384B7}" vid="{6598BFAD-2133-294C-A0A2-FACA7EDD9265}"/>
    </a:ext>
  </a:extLst>
</a:theme>
</file>

<file path=ppt/theme/theme8.xml><?xml version="1.0" encoding="utf-8"?>
<a:theme xmlns:a="http://schemas.openxmlformats.org/drawingml/2006/main" name="1_Motyw pakietu Office">
  <a:themeElements>
    <a:clrScheme name="Niestandardowy 11">
      <a:dk1>
        <a:srgbClr val="29A457"/>
      </a:dk1>
      <a:lt1>
        <a:srgbClr val="FFFFFF"/>
      </a:lt1>
      <a:dk2>
        <a:srgbClr val="525252"/>
      </a:dk2>
      <a:lt2>
        <a:srgbClr val="FFFFFF"/>
      </a:lt2>
      <a:accent1>
        <a:srgbClr val="29A457"/>
      </a:accent1>
      <a:accent2>
        <a:srgbClr val="4A4A4A"/>
      </a:accent2>
      <a:accent3>
        <a:srgbClr val="A5A5A5"/>
      </a:accent3>
      <a:accent4>
        <a:srgbClr val="FFC000"/>
      </a:accent4>
      <a:accent5>
        <a:srgbClr val="525252"/>
      </a:accent5>
      <a:accent6>
        <a:srgbClr val="70AD47"/>
      </a:accent6>
      <a:hlink>
        <a:srgbClr val="0563C1"/>
      </a:hlink>
      <a:folHlink>
        <a:srgbClr val="954F72"/>
      </a:folHlink>
    </a:clrScheme>
    <a:fontScheme name="Niestandardowy 3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FFFF00"/>
        </a:solidFill>
      </a:spPr>
      <a:bodyPr wrap="square" rtlCol="0">
        <a:spAutoFit/>
      </a:bodyPr>
      <a:lstStyle>
        <a:defPPr algn="l">
          <a:defRPr dirty="0" smtClean="0">
            <a:solidFill>
              <a:srgbClr val="FF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8D66DE76CF2F24BAB8721F68A5FEDAE" ma:contentTypeVersion="14" ma:contentTypeDescription="Crée un document." ma:contentTypeScope="" ma:versionID="60319fec9afcedea5a103479fa5fc7bd">
  <xsd:schema xmlns:xsd="http://www.w3.org/2001/XMLSchema" xmlns:xs="http://www.w3.org/2001/XMLSchema" xmlns:p="http://schemas.microsoft.com/office/2006/metadata/properties" xmlns:ns2="102b4d9f-b8c9-4730-8219-9377dc76abf2" xmlns:ns3="f4ed7ee3-8a77-4f47-9077-bbed3f46ec2d" targetNamespace="http://schemas.microsoft.com/office/2006/metadata/properties" ma:root="true" ma:fieldsID="1513d727192ec63883648458b6653ade" ns2:_="" ns3:_="">
    <xsd:import namespace="102b4d9f-b8c9-4730-8219-9377dc76abf2"/>
    <xsd:import namespace="f4ed7ee3-8a77-4f47-9077-bbed3f46ec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2b4d9f-b8c9-4730-8219-9377dc76ab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alises d’images" ma:readOnly="false" ma:fieldId="{5cf76f15-5ced-4ddc-b409-7134ff3c332f}" ma:taxonomyMulti="true" ma:sspId="edbf93af-6f1e-45d7-ae82-0274fb577b4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ed7ee3-8a77-4f47-9077-bbed3f46ec2d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Colonne Attraper tout de Taxonomie" ma:hidden="true" ma:list="{cf2814d7-8dab-4dc2-8d98-bd7b4522c6b1}" ma:internalName="TaxCatchAll" ma:showField="CatchAllData" ma:web="f4ed7ee3-8a77-4f47-9077-bbed3f46ec2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4ed7ee3-8a77-4f47-9077-bbed3f46ec2d">
      <UserInfo>
        <DisplayName>Robert Faulkner</DisplayName>
        <AccountId>27</AccountId>
        <AccountType/>
      </UserInfo>
      <UserInfo>
        <DisplayName>Alan Hamer</DisplayName>
        <AccountId>28</AccountId>
        <AccountType/>
      </UserInfo>
      <UserInfo>
        <DisplayName>Hugo Hamon</DisplayName>
        <AccountId>17</AccountId>
        <AccountType/>
      </UserInfo>
      <UserInfo>
        <DisplayName>Diederik Dewaele</DisplayName>
        <AccountId>29</AccountId>
        <AccountType/>
      </UserInfo>
      <UserInfo>
        <DisplayName>Lasse Wolter</DisplayName>
        <AccountId>30</AccountId>
        <AccountType/>
      </UserInfo>
      <UserInfo>
        <DisplayName>José Luis Andrade</DisplayName>
        <AccountId>31</AccountId>
        <AccountType/>
      </UserInfo>
      <UserInfo>
        <DisplayName>Michael Short</DisplayName>
        <AccountId>32</AccountId>
        <AccountType/>
      </UserInfo>
      <UserInfo>
        <DisplayName>Jeremy Cottino</DisplayName>
        <AccountId>33</AccountId>
        <AccountType/>
      </UserInfo>
      <UserInfo>
        <DisplayName>Salome Gimenez</DisplayName>
        <AccountId>34</AccountId>
        <AccountType/>
      </UserInfo>
      <UserInfo>
        <DisplayName>Jennifer Canu</DisplayName>
        <AccountId>35</AccountId>
        <AccountType/>
      </UserInfo>
      <UserInfo>
        <DisplayName>Hannah Jones</DisplayName>
        <AccountId>11</AccountId>
        <AccountType/>
      </UserInfo>
      <UserInfo>
        <DisplayName>Gaia Pretner</DisplayName>
        <AccountId>42</AccountId>
        <AccountType/>
      </UserInfo>
      <UserInfo>
        <DisplayName>Elena Mastrota</DisplayName>
        <AccountId>70</AccountId>
        <AccountType/>
      </UserInfo>
      <UserInfo>
        <DisplayName>Alban Pré</DisplayName>
        <AccountId>10</AccountId>
        <AccountType/>
      </UserInfo>
      <UserInfo>
        <DisplayName>Claire Bloomfield</DisplayName>
        <AccountId>38</AccountId>
        <AccountType/>
      </UserInfo>
      <UserInfo>
        <DisplayName>Charlie Marshall</DisplayName>
        <AccountId>13</AccountId>
        <AccountType/>
      </UserInfo>
      <UserInfo>
        <DisplayName>Mario Papa</DisplayName>
        <AccountId>37</AccountId>
        <AccountType/>
      </UserInfo>
      <UserInfo>
        <DisplayName>Zaneta Corr</DisplayName>
        <AccountId>122</AccountId>
        <AccountType/>
      </UserInfo>
      <UserInfo>
        <DisplayName>Beatrice Riva</DisplayName>
        <AccountId>39</AccountId>
        <AccountType/>
      </UserInfo>
      <UserInfo>
        <DisplayName>Pouya Yaghoubinia</DisplayName>
        <AccountId>36</AccountId>
        <AccountType/>
      </UserInfo>
      <UserInfo>
        <DisplayName>Sara Williams</DisplayName>
        <AccountId>40</AccountId>
        <AccountType/>
      </UserInfo>
      <UserInfo>
        <DisplayName>Sarah Solémalé</DisplayName>
        <AccountId>236</AccountId>
        <AccountType/>
      </UserInfo>
      <UserInfo>
        <DisplayName>Daniel Cerejido</DisplayName>
        <AccountId>237</AccountId>
        <AccountType/>
      </UserInfo>
      <UserInfo>
        <DisplayName>Maxime Guillien</DisplayName>
        <AccountId>98</AccountId>
        <AccountType/>
      </UserInfo>
      <UserInfo>
        <DisplayName>Carolina Komel</DisplayName>
        <AccountId>121</AccountId>
        <AccountType/>
      </UserInfo>
      <UserInfo>
        <DisplayName>Mario Flores</DisplayName>
        <AccountId>47</AccountId>
        <AccountType/>
      </UserInfo>
      <UserInfo>
        <DisplayName>Asim Munshi</DisplayName>
        <AccountId>226</AccountId>
        <AccountType/>
      </UserInfo>
      <UserInfo>
        <DisplayName>Davide Galimberti</DisplayName>
        <AccountId>278</AccountId>
        <AccountType/>
      </UserInfo>
      <UserInfo>
        <DisplayName>Iida Kambur</DisplayName>
        <AccountId>283</AccountId>
        <AccountType/>
      </UserInfo>
      <UserInfo>
        <DisplayName>Eric Cuenca</DisplayName>
        <AccountId>285</AccountId>
        <AccountType/>
      </UserInfo>
    </SharedWithUsers>
    <lcf76f155ced4ddcb4097134ff3c332f xmlns="102b4d9f-b8c9-4730-8219-9377dc76abf2">
      <Terms xmlns="http://schemas.microsoft.com/office/infopath/2007/PartnerControls"/>
    </lcf76f155ced4ddcb4097134ff3c332f>
    <TaxCatchAll xmlns="f4ed7ee3-8a77-4f47-9077-bbed3f46ec2d" xsi:nil="true"/>
  </documentManagement>
</p:properties>
</file>

<file path=customXml/itemProps1.xml><?xml version="1.0" encoding="utf-8"?>
<ds:datastoreItem xmlns:ds="http://schemas.openxmlformats.org/officeDocument/2006/customXml" ds:itemID="{F1A2071C-F0B5-46B4-BDFA-59AC44328AE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F887B4B-3E40-4B68-BFAC-5EC83E2802D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02b4d9f-b8c9-4730-8219-9377dc76abf2"/>
    <ds:schemaRef ds:uri="f4ed7ee3-8a77-4f47-9077-bbed3f46ec2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F61D6E2-CD23-4395-86C1-1AAEEF4E04D1}">
  <ds:schemaRefs>
    <ds:schemaRef ds:uri="http://purl.org/dc/dcmitype/"/>
    <ds:schemaRef ds:uri="http://purl.org/dc/elements/1.1/"/>
    <ds:schemaRef ds:uri="http://purl.org/dc/terms/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f4ed7ee3-8a77-4f47-9077-bbed3f46ec2d"/>
    <ds:schemaRef ds:uri="102b4d9f-b8c9-4730-8219-9377dc76abf2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0</TotalTime>
  <Words>1219</Words>
  <Application>Microsoft Office PowerPoint</Application>
  <PresentationFormat>Widescreen</PresentationFormat>
  <Paragraphs>273</Paragraphs>
  <Slides>19</Slides>
  <Notes>12</Notes>
  <HiddenSlides>0</HiddenSlides>
  <MMClips>3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42" baseType="lpstr">
      <vt:lpstr>Aptos Narrow</vt:lpstr>
      <vt:lpstr>Arial</vt:lpstr>
      <vt:lpstr>Calibri</vt:lpstr>
      <vt:lpstr>Calibri Light</vt:lpstr>
      <vt:lpstr>Courier New</vt:lpstr>
      <vt:lpstr>Open Sans</vt:lpstr>
      <vt:lpstr>Open Sans Extrabold</vt:lpstr>
      <vt:lpstr>Open Sans Light</vt:lpstr>
      <vt:lpstr>Open Sans SemiBold</vt:lpstr>
      <vt:lpstr>Open Sans SemiBold</vt:lpstr>
      <vt:lpstr>Segoe UI</vt:lpstr>
      <vt:lpstr>System Font Regular</vt:lpstr>
      <vt:lpstr>UEFA Colosseum</vt:lpstr>
      <vt:lpstr>Wingdings</vt:lpstr>
      <vt:lpstr>2_Motyw pakietu Office</vt:lpstr>
      <vt:lpstr>UEFA_Corporate_16x9</vt:lpstr>
      <vt:lpstr>1_UEFA_Corporate_16x9</vt:lpstr>
      <vt:lpstr>1_Office Theme</vt:lpstr>
      <vt:lpstr>Light</vt:lpstr>
      <vt:lpstr>Motyw pakietu Office</vt:lpstr>
      <vt:lpstr>Custom Design</vt:lpstr>
      <vt:lpstr>1_Motyw pakietu Office</vt:lpstr>
      <vt:lpstr>think-cell Slide</vt:lpstr>
      <vt:lpstr>EHC Hockey Business Forum   ECA and its role in football… …and what Hockey can learn</vt:lpstr>
      <vt:lpstr>PowerPoint Presentation</vt:lpstr>
      <vt:lpstr>PowerPoint Presentation</vt:lpstr>
      <vt:lpstr>ECA toda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CA Executive Board</dc:title>
  <dc:creator>Hugo Hamon</dc:creator>
  <cp:lastModifiedBy>Szymon Szemberg E.H.C.</cp:lastModifiedBy>
  <cp:revision>8</cp:revision>
  <cp:lastPrinted>2024-09-02T12:55:08Z</cp:lastPrinted>
  <dcterms:created xsi:type="dcterms:W3CDTF">2023-02-28T12:42:47Z</dcterms:created>
  <dcterms:modified xsi:type="dcterms:W3CDTF">2024-10-29T21:08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D66DE76CF2F24BAB8721F68A5FEDAE</vt:lpwstr>
  </property>
  <property fmtid="{D5CDD505-2E9C-101B-9397-08002B2CF9AE}" pid="3" name="MediaServiceImageTags">
    <vt:lpwstr/>
  </property>
</Properties>
</file>